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notesSlides/notesSlide4.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charts/chart15.xml" ContentType="application/vnd.openxmlformats-officedocument.drawingml.chart+xml"/>
  <Override PartName="/ppt/charts/chart16.xml" ContentType="application/vnd.openxmlformats-officedocument.drawingml.chart+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charts/chart17.xml" ContentType="application/vnd.openxmlformats-officedocument.drawingml.chart+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charts/chart18.xml" ContentType="application/vnd.openxmlformats-officedocument.drawingml.chart+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charts/chart19.xml" ContentType="application/vnd.openxmlformats-officedocument.drawingml.chart+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charts/chart20.xml" ContentType="application/vnd.openxmlformats-officedocument.drawingml.chart+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charts/chart21.xml" ContentType="application/vnd.openxmlformats-officedocument.drawingml.chart+xml"/>
  <Override PartName="/ppt/charts/chart22.xml" ContentType="application/vnd.openxmlformats-officedocument.drawingml.chart+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charts/chart23.xml" ContentType="application/vnd.openxmlformats-officedocument.drawingml.chart+xml"/>
  <Override PartName="/ppt/charts/chart24.xml" ContentType="application/vnd.openxmlformats-officedocument.drawingml.chart+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charts/chart25.xml" ContentType="application/vnd.openxmlformats-officedocument.drawingml.chart+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charts/chart26.xml" ContentType="application/vnd.openxmlformats-officedocument.drawingml.chart+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Lst>
  <p:notesMasterIdLst>
    <p:notesMasterId r:id="rId73"/>
  </p:notesMasterIdLst>
  <p:handoutMasterIdLst>
    <p:handoutMasterId r:id="rId74"/>
  </p:handoutMasterIdLst>
  <p:sldIdLst>
    <p:sldId id="568" r:id="rId2"/>
    <p:sldId id="2147470377" r:id="rId3"/>
    <p:sldId id="2147470440" r:id="rId4"/>
    <p:sldId id="381" r:id="rId5"/>
    <p:sldId id="639" r:id="rId6"/>
    <p:sldId id="469" r:id="rId7"/>
    <p:sldId id="669" r:id="rId8"/>
    <p:sldId id="2147470309" r:id="rId9"/>
    <p:sldId id="2147470311" r:id="rId10"/>
    <p:sldId id="640" r:id="rId11"/>
    <p:sldId id="527" r:id="rId12"/>
    <p:sldId id="477" r:id="rId13"/>
    <p:sldId id="2147470428" r:id="rId14"/>
    <p:sldId id="663" r:id="rId15"/>
    <p:sldId id="382" r:id="rId16"/>
    <p:sldId id="627" r:id="rId17"/>
    <p:sldId id="2147470337" r:id="rId18"/>
    <p:sldId id="2147470326" r:id="rId19"/>
    <p:sldId id="2147470327" r:id="rId20"/>
    <p:sldId id="2147470328" r:id="rId21"/>
    <p:sldId id="2147470329" r:id="rId22"/>
    <p:sldId id="2147470336" r:id="rId23"/>
    <p:sldId id="2147470340" r:id="rId24"/>
    <p:sldId id="542" r:id="rId25"/>
    <p:sldId id="2147470331" r:id="rId26"/>
    <p:sldId id="529" r:id="rId27"/>
    <p:sldId id="485" r:id="rId28"/>
    <p:sldId id="486" r:id="rId29"/>
    <p:sldId id="2147470338" r:id="rId30"/>
    <p:sldId id="2147470353" r:id="rId31"/>
    <p:sldId id="690" r:id="rId32"/>
    <p:sldId id="2147470431" r:id="rId33"/>
    <p:sldId id="2147470339" r:id="rId34"/>
    <p:sldId id="2147470429" r:id="rId35"/>
    <p:sldId id="2147470430" r:id="rId36"/>
    <p:sldId id="650" r:id="rId37"/>
    <p:sldId id="737" r:id="rId38"/>
    <p:sldId id="712" r:id="rId39"/>
    <p:sldId id="666" r:id="rId40"/>
    <p:sldId id="681" r:id="rId41"/>
    <p:sldId id="682" r:id="rId42"/>
    <p:sldId id="2147470312" r:id="rId43"/>
    <p:sldId id="2147470433" r:id="rId44"/>
    <p:sldId id="2147470434" r:id="rId45"/>
    <p:sldId id="2147470435" r:id="rId46"/>
    <p:sldId id="2147470436" r:id="rId47"/>
    <p:sldId id="714" r:id="rId48"/>
    <p:sldId id="2147470378" r:id="rId49"/>
    <p:sldId id="2147470376" r:id="rId50"/>
    <p:sldId id="674" r:id="rId51"/>
    <p:sldId id="2147470439" r:id="rId52"/>
    <p:sldId id="2147470437" r:id="rId53"/>
    <p:sldId id="2147470316" r:id="rId54"/>
    <p:sldId id="691" r:id="rId55"/>
    <p:sldId id="2147470334" r:id="rId56"/>
    <p:sldId id="2147470335" r:id="rId57"/>
    <p:sldId id="557" r:id="rId58"/>
    <p:sldId id="451" r:id="rId59"/>
    <p:sldId id="652" r:id="rId60"/>
    <p:sldId id="2147470313" r:id="rId61"/>
    <p:sldId id="642" r:id="rId62"/>
    <p:sldId id="2147470438" r:id="rId63"/>
    <p:sldId id="683" r:id="rId64"/>
    <p:sldId id="687" r:id="rId65"/>
    <p:sldId id="599" r:id="rId66"/>
    <p:sldId id="600" r:id="rId67"/>
    <p:sldId id="644" r:id="rId68"/>
    <p:sldId id="602" r:id="rId69"/>
    <p:sldId id="603" r:id="rId70"/>
    <p:sldId id="673" r:id="rId71"/>
    <p:sldId id="686" r:id="rId72"/>
  </p:sldIdLst>
  <p:sldSz cx="9906000" cy="6858000" type="A4"/>
  <p:notesSz cx="6807200" cy="9939338"/>
  <p:custDataLst>
    <p:tags r:id="rId7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156" userDrawn="1">
          <p15:clr>
            <a:srgbClr val="A4A3A4"/>
          </p15:clr>
        </p15:guide>
        <p15:guide id="7" pos="6114" userDrawn="1">
          <p15:clr>
            <a:srgbClr val="A4A3A4"/>
          </p15:clr>
        </p15:guide>
        <p15:guide id="8" orient="horz" pos="1979" userDrawn="1">
          <p15:clr>
            <a:srgbClr val="A4A3A4"/>
          </p15:clr>
        </p15:guide>
        <p15:guide id="10" pos="1669" userDrawn="1">
          <p15:clr>
            <a:srgbClr val="A4A3A4"/>
          </p15:clr>
        </p15:guide>
        <p15:guide id="11" pos="126" userDrawn="1">
          <p15:clr>
            <a:srgbClr val="A4A3A4"/>
          </p15:clr>
        </p15:guide>
        <p15:guide id="13" orient="horz" pos="709" userDrawn="1">
          <p15:clr>
            <a:srgbClr val="A4A3A4"/>
          </p15:clr>
        </p15:guide>
        <p15:guide id="14" orient="horz" pos="3566" userDrawn="1">
          <p15:clr>
            <a:srgbClr val="A4A3A4"/>
          </p15:clr>
        </p15:guide>
        <p15:guide id="15" orient="horz" pos="2387">
          <p15:clr>
            <a:srgbClr val="A4A3A4"/>
          </p15:clr>
        </p15:guide>
        <p15:guide id="16" pos="3120">
          <p15:clr>
            <a:srgbClr val="A4A3A4"/>
          </p15:clr>
        </p15:guide>
        <p15:guide id="17" pos="5524">
          <p15:clr>
            <a:srgbClr val="A4A3A4"/>
          </p15:clr>
        </p15:guide>
        <p15:guide id="18" pos="716">
          <p15:clr>
            <a:srgbClr val="A4A3A4"/>
          </p15:clr>
        </p15:guide>
        <p15:guide id="19" orient="horz" pos="216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9" name="Author" initials="A" lastIdx="0" clrIdx="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a:srgbClr val="3D6AA7"/>
    <a:srgbClr val="FFFF00"/>
    <a:srgbClr val="868686"/>
    <a:srgbClr val="D2E0E6"/>
    <a:srgbClr val="ECE5F4"/>
    <a:srgbClr val="EBEFCF"/>
    <a:srgbClr val="F3F3F3"/>
    <a:srgbClr val="FFFF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CF5D7BD-A46F-44D7-A868-7D0F25A8766D}" v="51" dt="2023-03-28T05:16:46.800"/>
    <p1510:client id="{E5C1FD38-3108-4469-BFED-728DD7687DED}" v="37" dt="2023-03-28T06:39:00.748"/>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05" autoAdjust="0"/>
    <p:restoredTop sz="94464" autoAdjust="0"/>
  </p:normalViewPr>
  <p:slideViewPr>
    <p:cSldViewPr>
      <p:cViewPr varScale="1">
        <p:scale>
          <a:sx n="62" d="100"/>
          <a:sy n="62" d="100"/>
        </p:scale>
        <p:origin x="1160" y="40"/>
      </p:cViewPr>
      <p:guideLst>
        <p:guide orient="horz" pos="4156"/>
        <p:guide pos="6114"/>
        <p:guide orient="horz" pos="1979"/>
        <p:guide pos="1669"/>
        <p:guide pos="126"/>
        <p:guide orient="horz" pos="709"/>
        <p:guide orient="horz" pos="3566"/>
        <p:guide orient="horz" pos="2387"/>
        <p:guide pos="3120"/>
        <p:guide pos="5524"/>
        <p:guide pos="716"/>
        <p:guide orient="horz" pos="216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3688"/>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handoutMaster" Target="handoutMasters/handoutMaster1.xml"/><Relationship Id="rId79" Type="http://schemas.openxmlformats.org/officeDocument/2006/relationships/theme" Target="theme/theme1.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notesMaster" Target="notesMasters/notesMaster1.xml"/><Relationship Id="rId78" Type="http://schemas.openxmlformats.org/officeDocument/2006/relationships/viewProps" Target="viewProps.xml"/><Relationship Id="rId81"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commentAuthors" Target="commentAuthor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158185268242197E-2"/>
          <c:y val="7.1593533487297925E-2"/>
          <c:w val="0.92927376229084013"/>
          <c:h val="0.85681293302540418"/>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532332563510392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B3F-4F0B-B23A-BC8E4B559E68}"/>
                </c:ext>
              </c:extLst>
            </c:dLbl>
            <c:dLbl>
              <c:idx val="1"/>
              <c:layout>
                <c:manualLayout>
                  <c:x val="0"/>
                  <c:y val="-0.4168591224018475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B3F-4F0B-B23A-BC8E4B559E68}"/>
                </c:ext>
              </c:extLst>
            </c:dLbl>
            <c:dLbl>
              <c:idx val="2"/>
              <c:layout>
                <c:manualLayout>
                  <c:x val="0"/>
                  <c:y val="-0.2528868360277136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B3F-4F0B-B23A-BC8E4B559E68}"/>
                </c:ext>
              </c:extLst>
            </c:dLbl>
            <c:dLbl>
              <c:idx val="3"/>
              <c:layout>
                <c:manualLayout>
                  <c:x val="0"/>
                  <c:y val="-0.2551963048498845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B3F-4F0B-B23A-BC8E4B559E68}"/>
                </c:ext>
              </c:extLst>
            </c:dLbl>
            <c:dLbl>
              <c:idx val="4"/>
              <c:layout>
                <c:manualLayout>
                  <c:x val="0"/>
                  <c:y val="-0.2563510392609699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B3F-4F0B-B23A-BC8E4B559E68}"/>
                </c:ext>
              </c:extLst>
            </c:dLbl>
            <c:dLbl>
              <c:idx val="6"/>
              <c:layout>
                <c:manualLayout>
                  <c:x val="0"/>
                  <c:y val="-0.2655889145496535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B3F-4F0B-B23A-BC8E4B559E68}"/>
                </c:ext>
              </c:extLst>
            </c:dLbl>
            <c:dLbl>
              <c:idx val="7"/>
              <c:layout>
                <c:manualLayout>
                  <c:x val="0"/>
                  <c:y val="-0.2736720554272517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B3F-4F0B-B23A-BC8E4B559E68}"/>
                </c:ext>
              </c:extLst>
            </c:dLbl>
            <c:dLbl>
              <c:idx val="8"/>
              <c:layout>
                <c:manualLayout>
                  <c:x val="0"/>
                  <c:y val="-0.2806004618937644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B3F-4F0B-B23A-BC8E4B559E68}"/>
                </c:ext>
              </c:extLst>
            </c:dLbl>
            <c:dLbl>
              <c:idx val="9"/>
              <c:layout>
                <c:manualLayout>
                  <c:x val="0"/>
                  <c:y val="-0.2886836027713625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B3F-4F0B-B23A-BC8E4B559E68}"/>
                </c:ext>
              </c:extLst>
            </c:dLbl>
            <c:dLbl>
              <c:idx val="12"/>
              <c:layout>
                <c:manualLayout>
                  <c:x val="0"/>
                  <c:y val="-0.3048498845265588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B3F-4F0B-B23A-BC8E4B559E68}"/>
                </c:ext>
              </c:extLst>
            </c:dLbl>
            <c:dLbl>
              <c:idx val="13"/>
              <c:layout>
                <c:manualLayout>
                  <c:x val="0"/>
                  <c:y val="-0.3083140877598152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B3F-4F0B-B23A-BC8E4B559E68}"/>
                </c:ext>
              </c:extLst>
            </c:dLbl>
            <c:dLbl>
              <c:idx val="14"/>
              <c:layout>
                <c:manualLayout>
                  <c:x val="0"/>
                  <c:y val="-0.3129330254041570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B3F-4F0B-B23A-BC8E4B559E68}"/>
                </c:ext>
              </c:extLst>
            </c:dLbl>
            <c:dLbl>
              <c:idx val="15"/>
              <c:layout>
                <c:manualLayout>
                  <c:x val="0"/>
                  <c:y val="-0.3152424942263279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B3F-4F0B-B23A-BC8E4B559E68}"/>
                </c:ext>
              </c:extLst>
            </c:dLbl>
            <c:dLbl>
              <c:idx val="16"/>
              <c:layout>
                <c:manualLayout>
                  <c:x val="0"/>
                  <c:y val="-0.318706697459584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B3F-4F0B-B23A-BC8E4B559E68}"/>
                </c:ext>
              </c:extLst>
            </c:dLbl>
            <c:dLbl>
              <c:idx val="17"/>
              <c:layout>
                <c:manualLayout>
                  <c:x val="0"/>
                  <c:y val="-0.3210161662817552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B3F-4F0B-B23A-BC8E4B559E68}"/>
                </c:ext>
              </c:extLst>
            </c:dLbl>
            <c:dLbl>
              <c:idx val="18"/>
              <c:layout>
                <c:manualLayout>
                  <c:x val="0"/>
                  <c:y val="-0.3233256351039260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B3F-4F0B-B23A-BC8E4B559E68}"/>
                </c:ext>
              </c:extLst>
            </c:dLbl>
            <c:dLbl>
              <c:idx val="19"/>
              <c:layout>
                <c:manualLayout>
                  <c:x val="0"/>
                  <c:y val="-0.3256351039260970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B3F-4F0B-B23A-BC8E4B559E68}"/>
                </c:ext>
              </c:extLst>
            </c:dLbl>
            <c:dLbl>
              <c:idx val="20"/>
              <c:layout>
                <c:manualLayout>
                  <c:x val="0"/>
                  <c:y val="-0.3267898383371824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B3F-4F0B-B23A-BC8E4B559E68}"/>
                </c:ext>
              </c:extLst>
            </c:dLbl>
            <c:dLbl>
              <c:idx val="21"/>
              <c:layout>
                <c:manualLayout>
                  <c:x val="0"/>
                  <c:y val="-0.3279445727482678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B3F-4F0B-B23A-BC8E4B559E68}"/>
                </c:ext>
              </c:extLst>
            </c:dLbl>
            <c:dLbl>
              <c:idx val="22"/>
              <c:layout>
                <c:manualLayout>
                  <c:x val="0"/>
                  <c:y val="-0.3418013856812933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B3F-4F0B-B23A-BC8E4B559E68}"/>
                </c:ext>
              </c:extLst>
            </c:dLbl>
            <c:dLbl>
              <c:idx val="23"/>
              <c:layout>
                <c:manualLayout>
                  <c:x val="0"/>
                  <c:y val="-0.3487297921478060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B3F-4F0B-B23A-BC8E4B559E68}"/>
                </c:ext>
              </c:extLst>
            </c:dLbl>
            <c:dLbl>
              <c:idx val="24"/>
              <c:layout>
                <c:manualLayout>
                  <c:x val="0"/>
                  <c:y val="-0.3452655889145496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B3F-4F0B-B23A-BC8E4B559E6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4.0536029999999998</c:v>
                </c:pt>
                <c:pt idx="1">
                  <c:v>4.1213369999999996</c:v>
                </c:pt>
                <c:pt idx="2">
                  <c:v>4.1767940000000001</c:v>
                </c:pt>
                <c:pt idx="3">
                  <c:v>4.2264140000000001</c:v>
                </c:pt>
                <c:pt idx="4">
                  <c:v>4.2704019999999998</c:v>
                </c:pt>
                <c:pt idx="5">
                  <c:v>4.3446379999999998</c:v>
                </c:pt>
                <c:pt idx="6">
                  <c:v>4.4865830000000004</c:v>
                </c:pt>
                <c:pt idx="7">
                  <c:v>4.6632559999999996</c:v>
                </c:pt>
                <c:pt idx="8">
                  <c:v>4.8384020000000003</c:v>
                </c:pt>
                <c:pt idx="9">
                  <c:v>5.0107039999999996</c:v>
                </c:pt>
                <c:pt idx="10">
                  <c:v>5.1635900000000001</c:v>
                </c:pt>
                <c:pt idx="11">
                  <c:v>5.2813439999999998</c:v>
                </c:pt>
                <c:pt idx="12">
                  <c:v>5.381005</c:v>
                </c:pt>
                <c:pt idx="13">
                  <c:v>5.4780550000000003</c:v>
                </c:pt>
                <c:pt idx="14">
                  <c:v>5.5705020000000003</c:v>
                </c:pt>
                <c:pt idx="15">
                  <c:v>5.6500180000000002</c:v>
                </c:pt>
                <c:pt idx="16">
                  <c:v>5.7119330000000001</c:v>
                </c:pt>
                <c:pt idx="17">
                  <c:v>5.7644869999999999</c:v>
                </c:pt>
                <c:pt idx="18">
                  <c:v>5.8145369999999996</c:v>
                </c:pt>
                <c:pt idx="19">
                  <c:v>5.8664050000000003</c:v>
                </c:pt>
                <c:pt idx="20">
                  <c:v>5.9098699999999997</c:v>
                </c:pt>
                <c:pt idx="21">
                  <c:v>5.9410610000000004</c:v>
                </c:pt>
                <c:pt idx="22">
                  <c:v>6.2519879999999999</c:v>
                </c:pt>
                <c:pt idx="23">
                  <c:v>6.4077359999999999</c:v>
                </c:pt>
                <c:pt idx="24">
                  <c:v>6.3372349999999997</c:v>
                </c:pt>
              </c:numCache>
            </c:numRef>
          </c:val>
          <c:extLst>
            <c:ext xmlns:c16="http://schemas.microsoft.com/office/drawing/2014/chart" uri="{C3380CC4-5D6E-409C-BE32-E72D297353CC}">
              <c16:uniqueId val="{00000016-1B3F-4F0B-B23A-BC8E4B559E68}"/>
            </c:ext>
          </c:extLst>
        </c:ser>
        <c:dLbls>
          <c:showLegendKey val="0"/>
          <c:showVal val="0"/>
          <c:showCatName val="0"/>
          <c:showSerName val="0"/>
          <c:showPercent val="0"/>
          <c:showBubbleSize val="0"/>
        </c:dLbls>
        <c:gapWidth val="60"/>
        <c:overlap val="100"/>
        <c:axId val="117129567"/>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Pt>
            <c:idx val="22"/>
            <c:marker>
              <c:symbol val="none"/>
            </c:marker>
            <c:bubble3D val="0"/>
            <c:extLst>
              <c:ext xmlns:c16="http://schemas.microsoft.com/office/drawing/2014/chart" uri="{C3380CC4-5D6E-409C-BE32-E72D297353CC}">
                <c16:uniqueId val="{00000017-1B3F-4F0B-B23A-BC8E4B559E68}"/>
              </c:ext>
            </c:extLst>
          </c:dPt>
          <c:dPt>
            <c:idx val="23"/>
            <c:marker>
              <c:symbol val="none"/>
            </c:marker>
            <c:bubble3D val="0"/>
            <c:extLst>
              <c:ext xmlns:c16="http://schemas.microsoft.com/office/drawing/2014/chart" uri="{C3380CC4-5D6E-409C-BE32-E72D297353CC}">
                <c16:uniqueId val="{00000018-1B3F-4F0B-B23A-BC8E4B559E68}"/>
              </c:ext>
            </c:extLst>
          </c:dPt>
          <c:dPt>
            <c:idx val="24"/>
            <c:marker>
              <c:symbol val="none"/>
            </c:marker>
            <c:bubble3D val="0"/>
            <c:extLst>
              <c:ext xmlns:c16="http://schemas.microsoft.com/office/drawing/2014/chart" uri="{C3380CC4-5D6E-409C-BE32-E72D297353CC}">
                <c16:uniqueId val="{00000019-1B3F-4F0B-B23A-BC8E4B559E68}"/>
              </c:ext>
            </c:extLst>
          </c:dPt>
          <c:dLbls>
            <c:dLbl>
              <c:idx val="0"/>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1B3F-4F0B-B23A-BC8E4B559E68}"/>
                </c:ext>
              </c:extLst>
            </c:dLbl>
            <c:dLbl>
              <c:idx val="1"/>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1B3F-4F0B-B23A-BC8E4B559E68}"/>
                </c:ext>
              </c:extLst>
            </c:dLbl>
            <c:dLbl>
              <c:idx val="2"/>
              <c:layout>
                <c:manualLayout>
                  <c:x val="-1.3800241504226323E-3"/>
                  <c:y val="0.23325635103926096"/>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1B3F-4F0B-B23A-BC8E4B559E68}"/>
                </c:ext>
              </c:extLst>
            </c:dLbl>
            <c:dLbl>
              <c:idx val="5"/>
              <c:layout>
                <c:manualLayout>
                  <c:x val="-1.2075211316198034E-3"/>
                  <c:y val="-0.2967667436489607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1B3F-4F0B-B23A-BC8E4B559E68}"/>
                </c:ext>
              </c:extLst>
            </c:dLbl>
            <c:dLbl>
              <c:idx val="7"/>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1B3F-4F0B-B23A-BC8E4B559E68}"/>
                </c:ext>
              </c:extLst>
            </c:dLbl>
            <c:dLbl>
              <c:idx val="8"/>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1B3F-4F0B-B23A-BC8E4B559E68}"/>
                </c:ext>
              </c:extLst>
            </c:dLbl>
            <c:dLbl>
              <c:idx val="9"/>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1B3F-4F0B-B23A-BC8E4B559E68}"/>
                </c:ext>
              </c:extLst>
            </c:dLbl>
            <c:dLbl>
              <c:idx val="10"/>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1B3F-4F0B-B23A-BC8E4B559E68}"/>
                </c:ext>
              </c:extLst>
            </c:dLbl>
            <c:dLbl>
              <c:idx val="11"/>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1B3F-4F0B-B23A-BC8E4B559E68}"/>
                </c:ext>
              </c:extLst>
            </c:dLbl>
            <c:dLbl>
              <c:idx val="12"/>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1B3F-4F0B-B23A-BC8E4B559E68}"/>
                </c:ext>
              </c:extLst>
            </c:dLbl>
            <c:dLbl>
              <c:idx val="13"/>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1B3F-4F0B-B23A-BC8E4B559E68}"/>
                </c:ext>
              </c:extLst>
            </c:dLbl>
            <c:dLbl>
              <c:idx val="14"/>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1B3F-4F0B-B23A-BC8E4B559E68}"/>
                </c:ext>
              </c:extLst>
            </c:dLbl>
            <c:dLbl>
              <c:idx val="15"/>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1B3F-4F0B-B23A-BC8E4B559E68}"/>
                </c:ext>
              </c:extLst>
            </c:dLbl>
            <c:dLbl>
              <c:idx val="16"/>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1B3F-4F0B-B23A-BC8E4B559E68}"/>
                </c:ext>
              </c:extLst>
            </c:dLbl>
            <c:dLbl>
              <c:idx val="17"/>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1B3F-4F0B-B23A-BC8E4B559E68}"/>
                </c:ext>
              </c:extLst>
            </c:dLbl>
            <c:dLbl>
              <c:idx val="18"/>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1B3F-4F0B-B23A-BC8E4B559E68}"/>
                </c:ext>
              </c:extLst>
            </c:dLbl>
            <c:dLbl>
              <c:idx val="19"/>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1B3F-4F0B-B23A-BC8E4B559E6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2.1964299850598001</c:v>
                </c:pt>
                <c:pt idx="1">
                  <c:v>1.6709579107771377</c:v>
                </c:pt>
                <c:pt idx="2">
                  <c:v>1.345607020246109</c:v>
                </c:pt>
                <c:pt idx="3">
                  <c:v>1.1879925129178126</c:v>
                </c:pt>
                <c:pt idx="4">
                  <c:v>1.0407877694896817</c:v>
                </c:pt>
                <c:pt idx="5">
                  <c:v>1.7383843488271156</c:v>
                </c:pt>
                <c:pt idx="6">
                  <c:v>3.2671306562249924</c:v>
                </c:pt>
                <c:pt idx="7">
                  <c:v>3.9378074583708678</c:v>
                </c:pt>
                <c:pt idx="8">
                  <c:v>3.7558735784610775</c:v>
                </c:pt>
                <c:pt idx="9">
                  <c:v>3.5611344406686118</c:v>
                </c:pt>
                <c:pt idx="10">
                  <c:v>3.0511880166938621</c:v>
                </c:pt>
                <c:pt idx="11">
                  <c:v>2.2804676591286155</c:v>
                </c:pt>
                <c:pt idx="12">
                  <c:v>1.8870386022951768</c:v>
                </c:pt>
                <c:pt idx="13">
                  <c:v>1.8035664341512492</c:v>
                </c:pt>
                <c:pt idx="14">
                  <c:v>1.6875880216609795</c:v>
                </c:pt>
                <c:pt idx="15">
                  <c:v>1.4274476519351431</c:v>
                </c:pt>
                <c:pt idx="16">
                  <c:v>1.095837216801776</c:v>
                </c:pt>
                <c:pt idx="17">
                  <c:v>0.92007381739245275</c:v>
                </c:pt>
                <c:pt idx="18">
                  <c:v>0.86824725253087376</c:v>
                </c:pt>
                <c:pt idx="19">
                  <c:v>0.89204007129028984</c:v>
                </c:pt>
                <c:pt idx="20">
                  <c:v>0.74091372825435542</c:v>
                </c:pt>
                <c:pt idx="21">
                  <c:v>0.52777810679422998</c:v>
                </c:pt>
              </c:numCache>
            </c:numRef>
          </c:val>
          <c:smooth val="0"/>
          <c:extLst>
            <c:ext xmlns:c16="http://schemas.microsoft.com/office/drawing/2014/chart" uri="{C3380CC4-5D6E-409C-BE32-E72D297353CC}">
              <c16:uniqueId val="{0000002B-1B3F-4F0B-B23A-BC8E4B559E68}"/>
            </c:ext>
          </c:extLst>
        </c:ser>
        <c:dLbls>
          <c:showLegendKey val="0"/>
          <c:showVal val="0"/>
          <c:showCatName val="0"/>
          <c:showSerName val="0"/>
          <c:showPercent val="0"/>
          <c:showBubbleSize val="0"/>
        </c:dLbls>
        <c:marker val="1"/>
        <c:smooth val="0"/>
        <c:axId val="3"/>
        <c:axId val="2"/>
      </c:lineChart>
      <c:catAx>
        <c:axId val="11712956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17129567"/>
        <c:crosses val="min"/>
        <c:crossBetween val="between"/>
        <c:majorUnit val="10"/>
      </c:valAx>
      <c:valAx>
        <c:axId val="2"/>
        <c:scaling>
          <c:orientation val="minMax"/>
          <c:max val="4"/>
          <c:min val="0"/>
        </c:scaling>
        <c:delete val="0"/>
        <c:axPos val="r"/>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
        <c:crosses val="max"/>
        <c:crossBetween val="between"/>
        <c:majorUnit val="1"/>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FA35-4F8F-A231-10B343E2B383}"/>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FA35-4F8F-A231-10B343E2B383}"/>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FA35-4F8F-A231-10B343E2B383}"/>
              </c:ext>
            </c:extLst>
          </c:dPt>
          <c:dLbls>
            <c:dLbl>
              <c:idx val="0"/>
              <c:layout>
                <c:manualLayout>
                  <c:x val="3.6912751677852351E-2"/>
                  <c:y val="8.6689419795221836E-2"/>
                </c:manualLayout>
              </c:layout>
              <c:numFmt formatCode="#,##0.0&quot;%&quot;;&quot;-&quot;#,##0.0&quot;%&quot;" sourceLinked="0"/>
              <c:spPr>
                <a:noFill/>
                <a:ln>
                  <a:noFill/>
                </a:ln>
              </c:spPr>
              <c:txPr>
                <a:bodyPr wrap="none"/>
                <a:lstStyle/>
                <a:p>
                  <a:pPr>
                    <a:defRPr kumimoji="1" sz="16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A35-4F8F-A231-10B343E2B38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80.7</c:v>
                </c:pt>
                <c:pt idx="1">
                  <c:v>11.799999999999999</c:v>
                </c:pt>
                <c:pt idx="2">
                  <c:v>7.3999999999999995</c:v>
                </c:pt>
              </c:numCache>
            </c:numRef>
          </c:val>
          <c:extLst>
            <c:ext xmlns:c16="http://schemas.microsoft.com/office/drawing/2014/chart" uri="{C3380CC4-5D6E-409C-BE32-E72D297353CC}">
              <c16:uniqueId val="{00000003-FA35-4F8F-A231-10B343E2B383}"/>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5F7E-44E7-8696-0A0FA65D76E6}"/>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5F7E-44E7-8696-0A0FA65D76E6}"/>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5F7E-44E7-8696-0A0FA65D76E6}"/>
              </c:ext>
            </c:extLst>
          </c:dPt>
          <c:dLbls>
            <c:dLbl>
              <c:idx val="0"/>
              <c:layout>
                <c:manualLayout>
                  <c:x val="3.6912751677852351E-2"/>
                  <c:y val="8.6689419795221836E-2"/>
                </c:manualLayout>
              </c:layout>
              <c:numFmt formatCode="#,##0.0&quot;%&quot;;&quot;-&quot;#,##0.0&quot;%&quot;" sourceLinked="0"/>
              <c:spPr>
                <a:noFill/>
                <a:ln>
                  <a:noFill/>
                </a:ln>
              </c:spPr>
              <c:txPr>
                <a:bodyPr wrap="none"/>
                <a:lstStyle/>
                <a:p>
                  <a:pPr>
                    <a:defRPr kumimoji="1" sz="16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F7E-44E7-8696-0A0FA65D76E6}"/>
                </c:ext>
              </c:extLst>
            </c:dLbl>
            <c:dLbl>
              <c:idx val="1"/>
              <c:layout>
                <c:manualLayout>
                  <c:x val="-4.1107382550335574E-2"/>
                  <c:y val="-7.4402730375426621E-2"/>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F7E-44E7-8696-0A0FA65D76E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80</c:v>
                </c:pt>
                <c:pt idx="1">
                  <c:v>15</c:v>
                </c:pt>
                <c:pt idx="2">
                  <c:v>4.1000000000000005</c:v>
                </c:pt>
              </c:numCache>
            </c:numRef>
          </c:val>
          <c:extLst>
            <c:ext xmlns:c16="http://schemas.microsoft.com/office/drawing/2014/chart" uri="{C3380CC4-5D6E-409C-BE32-E72D297353CC}">
              <c16:uniqueId val="{00000003-5F7E-44E7-8696-0A0FA65D76E6}"/>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263345195729534E-2"/>
          <c:y val="7.4820143884892082E-2"/>
          <c:w val="0.90747330960854089"/>
          <c:h val="0.85035971223021578"/>
        </c:manualLayout>
      </c:layout>
      <c:barChart>
        <c:barDir val="col"/>
        <c:grouping val="stacked"/>
        <c:varyColors val="0"/>
        <c:ser>
          <c:idx val="0"/>
          <c:order val="0"/>
          <c:spPr>
            <a:solidFill>
              <a:schemeClr val="accent1"/>
            </a:solidFill>
            <a:ln>
              <a:noFill/>
            </a:ln>
          </c:spPr>
          <c:invertIfNegative val="0"/>
          <c:val>
            <c:numRef>
              <c:f>Sheet1!$A$1:$B$1</c:f>
              <c:numCache>
                <c:formatCode>General</c:formatCode>
                <c:ptCount val="2"/>
                <c:pt idx="0">
                  <c:v>1429</c:v>
                </c:pt>
                <c:pt idx="1">
                  <c:v>3530</c:v>
                </c:pt>
              </c:numCache>
            </c:numRef>
          </c:val>
          <c:extLst>
            <c:ext xmlns:c16="http://schemas.microsoft.com/office/drawing/2014/chart" uri="{C3380CC4-5D6E-409C-BE32-E72D297353CC}">
              <c16:uniqueId val="{00000000-095E-44C2-96B0-2981F32E5052}"/>
            </c:ext>
          </c:extLst>
        </c:ser>
        <c:ser>
          <c:idx val="1"/>
          <c:order val="1"/>
          <c:spPr>
            <a:solidFill>
              <a:schemeClr val="accent6"/>
            </a:solidFill>
            <a:ln>
              <a:noFill/>
            </a:ln>
          </c:spPr>
          <c:invertIfNegative val="0"/>
          <c:val>
            <c:numRef>
              <c:f>Sheet1!$A$2:$B$2</c:f>
              <c:numCache>
                <c:formatCode>General</c:formatCode>
                <c:ptCount val="2"/>
                <c:pt idx="0">
                  <c:v>48</c:v>
                </c:pt>
                <c:pt idx="1">
                  <c:v>43</c:v>
                </c:pt>
              </c:numCache>
            </c:numRef>
          </c:val>
          <c:extLst>
            <c:ext xmlns:c16="http://schemas.microsoft.com/office/drawing/2014/chart" uri="{C3380CC4-5D6E-409C-BE32-E72D297353CC}">
              <c16:uniqueId val="{00000001-095E-44C2-96B0-2981F32E5052}"/>
            </c:ext>
          </c:extLst>
        </c:ser>
        <c:ser>
          <c:idx val="2"/>
          <c:order val="2"/>
          <c:spPr>
            <a:solidFill>
              <a:schemeClr val="accent5"/>
            </a:solidFill>
            <a:ln>
              <a:noFill/>
            </a:ln>
          </c:spPr>
          <c:invertIfNegative val="0"/>
          <c:val>
            <c:numRef>
              <c:f>Sheet1!$A$3:$B$3</c:f>
              <c:numCache>
                <c:formatCode>General</c:formatCode>
                <c:ptCount val="2"/>
                <c:pt idx="0">
                  <c:v>11</c:v>
                </c:pt>
                <c:pt idx="1">
                  <c:v>37</c:v>
                </c:pt>
              </c:numCache>
            </c:numRef>
          </c:val>
          <c:extLst>
            <c:ext xmlns:c16="http://schemas.microsoft.com/office/drawing/2014/chart" uri="{C3380CC4-5D6E-409C-BE32-E72D297353CC}">
              <c16:uniqueId val="{00000002-095E-44C2-96B0-2981F32E5052}"/>
            </c:ext>
          </c:extLst>
        </c:ser>
        <c:ser>
          <c:idx val="3"/>
          <c:order val="3"/>
          <c:spPr>
            <a:solidFill>
              <a:schemeClr val="accent4"/>
            </a:solidFill>
            <a:ln>
              <a:noFill/>
            </a:ln>
          </c:spPr>
          <c:invertIfNegative val="0"/>
          <c:val>
            <c:numRef>
              <c:f>Sheet1!$A$4:$B$4</c:f>
              <c:numCache>
                <c:formatCode>General</c:formatCode>
                <c:ptCount val="2"/>
                <c:pt idx="0">
                  <c:v>36</c:v>
                </c:pt>
                <c:pt idx="1">
                  <c:v>36</c:v>
                </c:pt>
              </c:numCache>
            </c:numRef>
          </c:val>
          <c:extLst>
            <c:ext xmlns:c16="http://schemas.microsoft.com/office/drawing/2014/chart" uri="{C3380CC4-5D6E-409C-BE32-E72D297353CC}">
              <c16:uniqueId val="{00000003-095E-44C2-96B0-2981F32E5052}"/>
            </c:ext>
          </c:extLst>
        </c:ser>
        <c:ser>
          <c:idx val="4"/>
          <c:order val="4"/>
          <c:spPr>
            <a:solidFill>
              <a:schemeClr val="accent3"/>
            </a:solidFill>
            <a:ln>
              <a:noFill/>
            </a:ln>
          </c:spPr>
          <c:invertIfNegative val="0"/>
          <c:val>
            <c:numRef>
              <c:f>Sheet1!$A$5:$B$5</c:f>
              <c:numCache>
                <c:formatCode>General</c:formatCode>
                <c:ptCount val="2"/>
                <c:pt idx="0">
                  <c:v>132</c:v>
                </c:pt>
                <c:pt idx="1">
                  <c:v>32</c:v>
                </c:pt>
              </c:numCache>
            </c:numRef>
          </c:val>
          <c:extLst>
            <c:ext xmlns:c16="http://schemas.microsoft.com/office/drawing/2014/chart" uri="{C3380CC4-5D6E-409C-BE32-E72D297353CC}">
              <c16:uniqueId val="{00000004-095E-44C2-96B0-2981F32E5052}"/>
            </c:ext>
          </c:extLst>
        </c:ser>
        <c:ser>
          <c:idx val="5"/>
          <c:order val="5"/>
          <c:spPr>
            <a:solidFill>
              <a:schemeClr val="accent2"/>
            </a:solidFill>
            <a:ln>
              <a:noFill/>
            </a:ln>
          </c:spPr>
          <c:invertIfNegative val="0"/>
          <c:val>
            <c:numRef>
              <c:f>Sheet1!$A$6:$B$6</c:f>
              <c:numCache>
                <c:formatCode>General</c:formatCode>
                <c:ptCount val="2"/>
                <c:pt idx="0">
                  <c:v>1</c:v>
                </c:pt>
                <c:pt idx="1">
                  <c:v>5</c:v>
                </c:pt>
              </c:numCache>
            </c:numRef>
          </c:val>
          <c:extLst>
            <c:ext xmlns:c16="http://schemas.microsoft.com/office/drawing/2014/chart" uri="{C3380CC4-5D6E-409C-BE32-E72D297353CC}">
              <c16:uniqueId val="{00000005-095E-44C2-96B0-2981F32E5052}"/>
            </c:ext>
          </c:extLst>
        </c:ser>
        <c:ser>
          <c:idx val="6"/>
          <c:order val="6"/>
          <c:spPr>
            <a:solidFill>
              <a:schemeClr val="accent1"/>
            </a:solidFill>
            <a:ln>
              <a:noFill/>
            </a:ln>
          </c:spPr>
          <c:invertIfNegative val="0"/>
          <c:val>
            <c:numRef>
              <c:f>Sheet1!$A$7:$B$7</c:f>
              <c:numCache>
                <c:formatCode>General</c:formatCode>
                <c:ptCount val="2"/>
                <c:pt idx="0">
                  <c:v>4</c:v>
                </c:pt>
                <c:pt idx="1">
                  <c:v>2</c:v>
                </c:pt>
              </c:numCache>
            </c:numRef>
          </c:val>
          <c:extLst>
            <c:ext xmlns:c16="http://schemas.microsoft.com/office/drawing/2014/chart" uri="{C3380CC4-5D6E-409C-BE32-E72D297353CC}">
              <c16:uniqueId val="{00000006-095E-44C2-96B0-2981F32E5052}"/>
            </c:ext>
          </c:extLst>
        </c:ser>
        <c:dLbls>
          <c:showLegendKey val="0"/>
          <c:showVal val="0"/>
          <c:showCatName val="0"/>
          <c:showSerName val="0"/>
          <c:showPercent val="0"/>
          <c:showBubbleSize val="0"/>
        </c:dLbls>
        <c:gapWidth val="80"/>
        <c:overlap val="100"/>
        <c:axId val="884848655"/>
        <c:axId val="1"/>
      </c:barChart>
      <c:catAx>
        <c:axId val="88484865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685"/>
          <c:min val="0"/>
        </c:scaling>
        <c:delete val="1"/>
        <c:axPos val="l"/>
        <c:numFmt formatCode="General" sourceLinked="1"/>
        <c:majorTickMark val="out"/>
        <c:minorTickMark val="none"/>
        <c:tickLblPos val="nextTo"/>
        <c:crossAx val="884848655"/>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263345195729534E-2"/>
          <c:y val="2.5316455696202531E-2"/>
          <c:w val="0.90747330960854089"/>
          <c:h val="0.94936708860759489"/>
        </c:manualLayout>
      </c:layout>
      <c:barChart>
        <c:barDir val="col"/>
        <c:grouping val="stacked"/>
        <c:varyColors val="0"/>
        <c:ser>
          <c:idx val="0"/>
          <c:order val="0"/>
          <c:spPr>
            <a:solidFill>
              <a:schemeClr val="accent1"/>
            </a:solidFill>
            <a:ln>
              <a:noFill/>
            </a:ln>
          </c:spPr>
          <c:invertIfNegative val="0"/>
          <c:val>
            <c:numRef>
              <c:f>Sheet1!$A$1:$B$1</c:f>
              <c:numCache>
                <c:formatCode>General</c:formatCode>
                <c:ptCount val="2"/>
                <c:pt idx="0">
                  <c:v>3393</c:v>
                </c:pt>
                <c:pt idx="1">
                  <c:v>7001</c:v>
                </c:pt>
              </c:numCache>
            </c:numRef>
          </c:val>
          <c:extLst>
            <c:ext xmlns:c16="http://schemas.microsoft.com/office/drawing/2014/chart" uri="{C3380CC4-5D6E-409C-BE32-E72D297353CC}">
              <c16:uniqueId val="{00000000-F114-4781-A441-2C6D5AA55117}"/>
            </c:ext>
          </c:extLst>
        </c:ser>
        <c:ser>
          <c:idx val="1"/>
          <c:order val="1"/>
          <c:spPr>
            <a:solidFill>
              <a:schemeClr val="accent6"/>
            </a:solidFill>
            <a:ln>
              <a:noFill/>
            </a:ln>
          </c:spPr>
          <c:invertIfNegative val="0"/>
          <c:val>
            <c:numRef>
              <c:f>Sheet1!$A$2:$B$2</c:f>
              <c:numCache>
                <c:formatCode>General</c:formatCode>
                <c:ptCount val="2"/>
                <c:pt idx="0">
                  <c:v>5081</c:v>
                </c:pt>
                <c:pt idx="1">
                  <c:v>6810</c:v>
                </c:pt>
              </c:numCache>
            </c:numRef>
          </c:val>
          <c:extLst>
            <c:ext xmlns:c16="http://schemas.microsoft.com/office/drawing/2014/chart" uri="{C3380CC4-5D6E-409C-BE32-E72D297353CC}">
              <c16:uniqueId val="{00000001-F114-4781-A441-2C6D5AA55117}"/>
            </c:ext>
          </c:extLst>
        </c:ser>
        <c:ser>
          <c:idx val="2"/>
          <c:order val="2"/>
          <c:spPr>
            <a:solidFill>
              <a:schemeClr val="accent5"/>
            </a:solidFill>
            <a:ln>
              <a:noFill/>
            </a:ln>
          </c:spPr>
          <c:invertIfNegative val="0"/>
          <c:val>
            <c:numRef>
              <c:f>Sheet1!$A$3:$B$3</c:f>
              <c:numCache>
                <c:formatCode>General</c:formatCode>
                <c:ptCount val="2"/>
                <c:pt idx="0">
                  <c:v>391</c:v>
                </c:pt>
                <c:pt idx="1">
                  <c:v>1789</c:v>
                </c:pt>
              </c:numCache>
            </c:numRef>
          </c:val>
          <c:extLst>
            <c:ext xmlns:c16="http://schemas.microsoft.com/office/drawing/2014/chart" uri="{C3380CC4-5D6E-409C-BE32-E72D297353CC}">
              <c16:uniqueId val="{00000002-F114-4781-A441-2C6D5AA55117}"/>
            </c:ext>
          </c:extLst>
        </c:ser>
        <c:ser>
          <c:idx val="3"/>
          <c:order val="3"/>
          <c:spPr>
            <a:solidFill>
              <a:schemeClr val="accent4"/>
            </a:solidFill>
            <a:ln>
              <a:noFill/>
            </a:ln>
          </c:spPr>
          <c:invertIfNegative val="0"/>
          <c:val>
            <c:numRef>
              <c:f>Sheet1!$A$4:$B$4</c:f>
              <c:numCache>
                <c:formatCode>General</c:formatCode>
                <c:ptCount val="2"/>
                <c:pt idx="0">
                  <c:v>683</c:v>
                </c:pt>
                <c:pt idx="1">
                  <c:v>937</c:v>
                </c:pt>
              </c:numCache>
            </c:numRef>
          </c:val>
          <c:extLst>
            <c:ext xmlns:c16="http://schemas.microsoft.com/office/drawing/2014/chart" uri="{C3380CC4-5D6E-409C-BE32-E72D297353CC}">
              <c16:uniqueId val="{00000003-F114-4781-A441-2C6D5AA55117}"/>
            </c:ext>
          </c:extLst>
        </c:ser>
        <c:ser>
          <c:idx val="4"/>
          <c:order val="4"/>
          <c:spPr>
            <a:solidFill>
              <a:schemeClr val="accent3"/>
            </a:solidFill>
            <a:ln>
              <a:noFill/>
            </a:ln>
          </c:spPr>
          <c:invertIfNegative val="0"/>
          <c:val>
            <c:numRef>
              <c:f>Sheet1!$A$5:$B$5</c:f>
              <c:numCache>
                <c:formatCode>General</c:formatCode>
                <c:ptCount val="2"/>
                <c:pt idx="0">
                  <c:v>958</c:v>
                </c:pt>
                <c:pt idx="1">
                  <c:v>750</c:v>
                </c:pt>
              </c:numCache>
            </c:numRef>
          </c:val>
          <c:extLst>
            <c:ext xmlns:c16="http://schemas.microsoft.com/office/drawing/2014/chart" uri="{C3380CC4-5D6E-409C-BE32-E72D297353CC}">
              <c16:uniqueId val="{00000004-F114-4781-A441-2C6D5AA55117}"/>
            </c:ext>
          </c:extLst>
        </c:ser>
        <c:ser>
          <c:idx val="5"/>
          <c:order val="5"/>
          <c:spPr>
            <a:solidFill>
              <a:schemeClr val="accent2"/>
            </a:solidFill>
            <a:ln>
              <a:noFill/>
            </a:ln>
          </c:spPr>
          <c:invertIfNegative val="0"/>
          <c:val>
            <c:numRef>
              <c:f>Sheet1!$A$6:$B$6</c:f>
              <c:numCache>
                <c:formatCode>General</c:formatCode>
                <c:ptCount val="2"/>
                <c:pt idx="0">
                  <c:v>400</c:v>
                </c:pt>
                <c:pt idx="1">
                  <c:v>592</c:v>
                </c:pt>
              </c:numCache>
            </c:numRef>
          </c:val>
          <c:extLst>
            <c:ext xmlns:c16="http://schemas.microsoft.com/office/drawing/2014/chart" uri="{C3380CC4-5D6E-409C-BE32-E72D297353CC}">
              <c16:uniqueId val="{00000005-F114-4781-A441-2C6D5AA55117}"/>
            </c:ext>
          </c:extLst>
        </c:ser>
        <c:ser>
          <c:idx val="6"/>
          <c:order val="6"/>
          <c:spPr>
            <a:solidFill>
              <a:schemeClr val="accent1"/>
            </a:solidFill>
            <a:ln>
              <a:noFill/>
            </a:ln>
          </c:spPr>
          <c:invertIfNegative val="0"/>
          <c:val>
            <c:numRef>
              <c:f>Sheet1!$A$7:$B$7</c:f>
              <c:numCache>
                <c:formatCode>General</c:formatCode>
                <c:ptCount val="2"/>
                <c:pt idx="0">
                  <c:v>455</c:v>
                </c:pt>
                <c:pt idx="1">
                  <c:v>703</c:v>
                </c:pt>
              </c:numCache>
            </c:numRef>
          </c:val>
          <c:extLst>
            <c:ext xmlns:c16="http://schemas.microsoft.com/office/drawing/2014/chart" uri="{C3380CC4-5D6E-409C-BE32-E72D297353CC}">
              <c16:uniqueId val="{00000006-F114-4781-A441-2C6D5AA55117}"/>
            </c:ext>
          </c:extLst>
        </c:ser>
        <c:dLbls>
          <c:showLegendKey val="0"/>
          <c:showVal val="0"/>
          <c:showCatName val="0"/>
          <c:showSerName val="0"/>
          <c:showPercent val="0"/>
          <c:showBubbleSize val="0"/>
        </c:dLbls>
        <c:gapWidth val="80"/>
        <c:overlap val="100"/>
        <c:axId val="1010399408"/>
        <c:axId val="1"/>
      </c:barChart>
      <c:catAx>
        <c:axId val="101039940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8582"/>
          <c:min val="0"/>
        </c:scaling>
        <c:delete val="1"/>
        <c:axPos val="l"/>
        <c:numFmt formatCode="General" sourceLinked="1"/>
        <c:majorTickMark val="out"/>
        <c:minorTickMark val="none"/>
        <c:tickLblPos val="nextTo"/>
        <c:crossAx val="1010399408"/>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887417218543046E-2"/>
          <c:y val="8.4828711256117462E-2"/>
          <c:w val="0.86225165562913908"/>
          <c:h val="0.83034257748776508"/>
        </c:manualLayout>
      </c:layout>
      <c:barChart>
        <c:barDir val="col"/>
        <c:grouping val="stacked"/>
        <c:varyColors val="0"/>
        <c:ser>
          <c:idx val="0"/>
          <c:order val="0"/>
          <c:spPr>
            <a:solidFill>
              <a:schemeClr val="accent3"/>
            </a:solidFill>
            <a:ln>
              <a:noFill/>
            </a:ln>
          </c:spPr>
          <c:invertIfNegative val="0"/>
          <c:val>
            <c:numRef>
              <c:f>Sheet1!$A$1:$B$1</c:f>
              <c:numCache>
                <c:formatCode>General</c:formatCode>
                <c:ptCount val="2"/>
                <c:pt idx="0">
                  <c:v>529</c:v>
                </c:pt>
                <c:pt idx="1">
                  <c:v>490</c:v>
                </c:pt>
              </c:numCache>
            </c:numRef>
          </c:val>
          <c:extLst>
            <c:ext xmlns:c16="http://schemas.microsoft.com/office/drawing/2014/chart" uri="{C3380CC4-5D6E-409C-BE32-E72D297353CC}">
              <c16:uniqueId val="{00000000-0826-4234-AB9A-9F8CFFCB34D4}"/>
            </c:ext>
          </c:extLst>
        </c:ser>
        <c:ser>
          <c:idx val="1"/>
          <c:order val="1"/>
          <c:spPr>
            <a:solidFill>
              <a:schemeClr val="accent2"/>
            </a:solidFill>
            <a:ln>
              <a:noFill/>
            </a:ln>
          </c:spPr>
          <c:invertIfNegative val="0"/>
          <c:val>
            <c:numRef>
              <c:f>Sheet1!$A$2:$B$2</c:f>
              <c:numCache>
                <c:formatCode>General</c:formatCode>
                <c:ptCount val="2"/>
                <c:pt idx="0">
                  <c:v>232</c:v>
                </c:pt>
                <c:pt idx="1">
                  <c:v>287</c:v>
                </c:pt>
              </c:numCache>
            </c:numRef>
          </c:val>
          <c:extLst>
            <c:ext xmlns:c16="http://schemas.microsoft.com/office/drawing/2014/chart" uri="{C3380CC4-5D6E-409C-BE32-E72D297353CC}">
              <c16:uniqueId val="{00000001-0826-4234-AB9A-9F8CFFCB34D4}"/>
            </c:ext>
          </c:extLst>
        </c:ser>
        <c:ser>
          <c:idx val="2"/>
          <c:order val="2"/>
          <c:spPr>
            <a:solidFill>
              <a:schemeClr val="accent1"/>
            </a:solidFill>
            <a:ln>
              <a:noFill/>
            </a:ln>
          </c:spPr>
          <c:invertIfNegative val="0"/>
          <c:val>
            <c:numRef>
              <c:f>Sheet1!$A$3:$B$3</c:f>
              <c:numCache>
                <c:formatCode>General</c:formatCode>
                <c:ptCount val="2"/>
                <c:pt idx="0">
                  <c:v>286</c:v>
                </c:pt>
                <c:pt idx="1">
                  <c:v>178</c:v>
                </c:pt>
              </c:numCache>
            </c:numRef>
          </c:val>
          <c:extLst>
            <c:ext xmlns:c16="http://schemas.microsoft.com/office/drawing/2014/chart" uri="{C3380CC4-5D6E-409C-BE32-E72D297353CC}">
              <c16:uniqueId val="{00000002-0826-4234-AB9A-9F8CFFCB34D4}"/>
            </c:ext>
          </c:extLst>
        </c:ser>
        <c:dLbls>
          <c:showLegendKey val="0"/>
          <c:showVal val="0"/>
          <c:showCatName val="0"/>
          <c:showSerName val="0"/>
          <c:showPercent val="0"/>
          <c:showBubbleSize val="0"/>
        </c:dLbls>
        <c:gapWidth val="80"/>
        <c:overlap val="100"/>
        <c:axId val="278962639"/>
        <c:axId val="1"/>
      </c:barChart>
      <c:catAx>
        <c:axId val="27896263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47"/>
          <c:min val="0"/>
        </c:scaling>
        <c:delete val="1"/>
        <c:axPos val="l"/>
        <c:numFmt formatCode="General" sourceLinked="1"/>
        <c:majorTickMark val="out"/>
        <c:minorTickMark val="none"/>
        <c:tickLblPos val="nextTo"/>
        <c:crossAx val="278962639"/>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223291626564003"/>
          <c:y val="5.3115851108322877E-2"/>
          <c:w val="0.83670195700994543"/>
          <c:h val="0.9209535759096612"/>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Pt>
            <c:idx val="8"/>
            <c:marker>
              <c:symbol val="none"/>
            </c:marker>
            <c:bubble3D val="0"/>
            <c:extLst>
              <c:ext xmlns:c16="http://schemas.microsoft.com/office/drawing/2014/chart" uri="{C3380CC4-5D6E-409C-BE32-E72D297353CC}">
                <c16:uniqueId val="{00000000-AF17-4A28-A8BC-4A061BC72C0E}"/>
              </c:ext>
            </c:extLst>
          </c:dPt>
          <c:dPt>
            <c:idx val="9"/>
            <c:marker>
              <c:symbol val="none"/>
            </c:marker>
            <c:bubble3D val="0"/>
            <c:extLst>
              <c:ext xmlns:c16="http://schemas.microsoft.com/office/drawing/2014/chart" uri="{C3380CC4-5D6E-409C-BE32-E72D297353CC}">
                <c16:uniqueId val="{00000001-AF17-4A28-A8BC-4A061BC72C0E}"/>
              </c:ext>
            </c:extLst>
          </c:dPt>
          <c:dLbls>
            <c:dLbl>
              <c:idx val="0"/>
              <c:layout>
                <c:manualLayout>
                  <c:x val="4.1065126724414501E-2"/>
                  <c:y val="-4.0568799665411964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F17-4A28-A8BC-4A061BC72C0E}"/>
                </c:ext>
              </c:extLst>
            </c:dLbl>
            <c:dLbl>
              <c:idx val="1"/>
              <c:layout>
                <c:manualLayout>
                  <c:x val="0"/>
                  <c:y val="-4.0568799665411964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F17-4A28-A8BC-4A061BC72C0E}"/>
                </c:ext>
              </c:extLst>
            </c:dLbl>
            <c:dLbl>
              <c:idx val="2"/>
              <c:layout>
                <c:manualLayout>
                  <c:x val="0"/>
                  <c:y val="-4.0568799665411964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F17-4A28-A8BC-4A061BC72C0E}"/>
                </c:ext>
              </c:extLst>
            </c:dLbl>
            <c:dLbl>
              <c:idx val="3"/>
              <c:layout>
                <c:manualLayout>
                  <c:x val="0"/>
                  <c:y val="-4.0568799665411964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F17-4A28-A8BC-4A061BC72C0E}"/>
                </c:ext>
              </c:extLst>
            </c:dLbl>
            <c:dLbl>
              <c:idx val="4"/>
              <c:layout>
                <c:manualLayout>
                  <c:x val="0"/>
                  <c:y val="-4.0568799665411964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F17-4A28-A8BC-4A061BC72C0E}"/>
                </c:ext>
              </c:extLst>
            </c:dLbl>
            <c:dLbl>
              <c:idx val="5"/>
              <c:layout>
                <c:manualLayout>
                  <c:x val="0"/>
                  <c:y val="-4.0568799665411964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F17-4A28-A8BC-4A061BC72C0E}"/>
                </c:ext>
              </c:extLst>
            </c:dLbl>
            <c:dLbl>
              <c:idx val="6"/>
              <c:layout>
                <c:manualLayout>
                  <c:x val="0"/>
                  <c:y val="-4.0568799665411964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F17-4A28-A8BC-4A061BC72C0E}"/>
                </c:ext>
              </c:extLst>
            </c:dLbl>
            <c:dLbl>
              <c:idx val="7"/>
              <c:layout>
                <c:manualLayout>
                  <c:x val="0"/>
                  <c:y val="-4.0568799665411964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F17-4A28-A8BC-4A061BC72C0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29340</c:v>
                </c:pt>
                <c:pt idx="1">
                  <c:v>26959</c:v>
                </c:pt>
                <c:pt idx="2">
                  <c:v>29413</c:v>
                </c:pt>
                <c:pt idx="3">
                  <c:v>30392</c:v>
                </c:pt>
                <c:pt idx="4">
                  <c:v>31746</c:v>
                </c:pt>
                <c:pt idx="5">
                  <c:v>33604</c:v>
                </c:pt>
                <c:pt idx="6">
                  <c:v>34870</c:v>
                </c:pt>
                <c:pt idx="7">
                  <c:v>35636</c:v>
                </c:pt>
              </c:numCache>
            </c:numRef>
          </c:val>
          <c:smooth val="0"/>
          <c:extLst>
            <c:ext xmlns:c16="http://schemas.microsoft.com/office/drawing/2014/chart" uri="{C3380CC4-5D6E-409C-BE32-E72D297353CC}">
              <c16:uniqueId val="{0000000A-AF17-4A28-A8BC-4A061BC72C0E}"/>
            </c:ext>
          </c:extLst>
        </c:ser>
        <c:ser>
          <c:idx val="1"/>
          <c:order val="1"/>
          <c:spPr>
            <a:ln w="9525" algn="ctr">
              <a:solidFill>
                <a:srgbClr val="3D6E81"/>
              </a:solidFill>
              <a:prstDash val="solid"/>
            </a:ln>
          </c:spPr>
          <c:marker>
            <c:symbol val="square"/>
            <c:size val="6"/>
            <c:spPr>
              <a:solidFill>
                <a:srgbClr val="3D6E81"/>
              </a:solidFill>
              <a:ln w="9525" algn="ctr">
                <a:solidFill>
                  <a:srgbClr val="3D6E81"/>
                </a:solidFill>
                <a:prstDash val="solid"/>
              </a:ln>
            </c:spPr>
          </c:marker>
          <c:dLbls>
            <c:dLbl>
              <c:idx val="0"/>
              <c:layout>
                <c:manualLayout>
                  <c:x val="3.5290343278793712E-2"/>
                  <c:y val="4.0150564617314928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F17-4A28-A8BC-4A061BC72C0E}"/>
                </c:ext>
              </c:extLst>
            </c:dLbl>
            <c:dLbl>
              <c:idx val="1"/>
              <c:layout>
                <c:manualLayout>
                  <c:x val="0"/>
                  <c:y val="-4.0568799665411964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F17-4A28-A8BC-4A061BC72C0E}"/>
                </c:ext>
              </c:extLst>
            </c:dLbl>
            <c:dLbl>
              <c:idx val="2"/>
              <c:layout>
                <c:manualLayout>
                  <c:x val="0"/>
                  <c:y val="-4.0568799665411964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F17-4A28-A8BC-4A061BC72C0E}"/>
                </c:ext>
              </c:extLst>
            </c:dLbl>
            <c:dLbl>
              <c:idx val="3"/>
              <c:layout>
                <c:manualLayout>
                  <c:x val="0"/>
                  <c:y val="-4.0568799665411964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F17-4A28-A8BC-4A061BC72C0E}"/>
                </c:ext>
              </c:extLst>
            </c:dLbl>
            <c:dLbl>
              <c:idx val="4"/>
              <c:layout>
                <c:manualLayout>
                  <c:x val="0"/>
                  <c:y val="-4.0568799665411964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F17-4A28-A8BC-4A061BC72C0E}"/>
                </c:ext>
              </c:extLst>
            </c:dLbl>
            <c:dLbl>
              <c:idx val="5"/>
              <c:layout>
                <c:manualLayout>
                  <c:x val="0"/>
                  <c:y val="-4.0568799665411964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F17-4A28-A8BC-4A061BC72C0E}"/>
                </c:ext>
              </c:extLst>
            </c:dLbl>
            <c:dLbl>
              <c:idx val="6"/>
              <c:layout>
                <c:manualLayout>
                  <c:x val="0"/>
                  <c:y val="-4.0568799665411964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F17-4A28-A8BC-4A061BC72C0E}"/>
                </c:ext>
              </c:extLst>
            </c:dLbl>
            <c:dLbl>
              <c:idx val="7"/>
              <c:layout>
                <c:manualLayout>
                  <c:x val="0"/>
                  <c:y val="-4.0568799665411964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AF17-4A28-A8BC-4A061BC72C0E}"/>
                </c:ext>
              </c:extLst>
            </c:dLbl>
            <c:dLbl>
              <c:idx val="8"/>
              <c:layout>
                <c:manualLayout>
                  <c:x val="0"/>
                  <c:y val="-4.0568799665411964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AF17-4A28-A8BC-4A061BC72C0E}"/>
                </c:ext>
              </c:extLst>
            </c:dLbl>
            <c:dLbl>
              <c:idx val="9"/>
              <c:layout>
                <c:manualLayout>
                  <c:x val="0"/>
                  <c:y val="-4.0568799665411964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AF17-4A28-A8BC-4A061BC72C0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9030</c:v>
                </c:pt>
                <c:pt idx="1">
                  <c:v>9646</c:v>
                </c:pt>
                <c:pt idx="2">
                  <c:v>10225</c:v>
                </c:pt>
                <c:pt idx="3">
                  <c:v>10953</c:v>
                </c:pt>
                <c:pt idx="4">
                  <c:v>11733</c:v>
                </c:pt>
                <c:pt idx="5">
                  <c:v>12459</c:v>
                </c:pt>
                <c:pt idx="6">
                  <c:v>12967</c:v>
                </c:pt>
                <c:pt idx="7">
                  <c:v>13386</c:v>
                </c:pt>
                <c:pt idx="8">
                  <c:v>13766</c:v>
                </c:pt>
                <c:pt idx="9">
                  <c:v>14279</c:v>
                </c:pt>
              </c:numCache>
            </c:numRef>
          </c:val>
          <c:smooth val="0"/>
          <c:extLst>
            <c:ext xmlns:c16="http://schemas.microsoft.com/office/drawing/2014/chart" uri="{C3380CC4-5D6E-409C-BE32-E72D297353CC}">
              <c16:uniqueId val="{00000015-AF17-4A28-A8BC-4A061BC72C0E}"/>
            </c:ext>
          </c:extLst>
        </c:ser>
        <c:ser>
          <c:idx val="2"/>
          <c:order val="2"/>
          <c:spPr>
            <a:ln w="9525" algn="ctr">
              <a:solidFill>
                <a:srgbClr val="655939"/>
              </a:solidFill>
              <a:prstDash val="solid"/>
            </a:ln>
          </c:spPr>
          <c:marker>
            <c:symbol val="triangle"/>
            <c:size val="6"/>
            <c:spPr>
              <a:solidFill>
                <a:srgbClr val="655939"/>
              </a:solidFill>
              <a:ln w="9525" algn="ctr">
                <a:solidFill>
                  <a:srgbClr val="655939"/>
                </a:solidFill>
                <a:prstDash val="solid"/>
              </a:ln>
            </c:spPr>
          </c:marker>
          <c:dPt>
            <c:idx val="4"/>
            <c:marker>
              <c:symbol val="none"/>
            </c:marker>
            <c:bubble3D val="0"/>
            <c:extLst>
              <c:ext xmlns:c16="http://schemas.microsoft.com/office/drawing/2014/chart" uri="{C3380CC4-5D6E-409C-BE32-E72D297353CC}">
                <c16:uniqueId val="{00000016-AF17-4A28-A8BC-4A061BC72C0E}"/>
              </c:ext>
            </c:extLst>
          </c:dPt>
          <c:dPt>
            <c:idx val="5"/>
            <c:marker>
              <c:symbol val="none"/>
            </c:marker>
            <c:bubble3D val="0"/>
            <c:extLst>
              <c:ext xmlns:c16="http://schemas.microsoft.com/office/drawing/2014/chart" uri="{C3380CC4-5D6E-409C-BE32-E72D297353CC}">
                <c16:uniqueId val="{00000017-AF17-4A28-A8BC-4A061BC72C0E}"/>
              </c:ext>
            </c:extLst>
          </c:dPt>
          <c:dPt>
            <c:idx val="7"/>
            <c:marker>
              <c:symbol val="none"/>
            </c:marker>
            <c:bubble3D val="0"/>
            <c:extLst>
              <c:ext xmlns:c16="http://schemas.microsoft.com/office/drawing/2014/chart" uri="{C3380CC4-5D6E-409C-BE32-E72D297353CC}">
                <c16:uniqueId val="{00000018-AF17-4A28-A8BC-4A061BC72C0E}"/>
              </c:ext>
            </c:extLst>
          </c:dPt>
          <c:dPt>
            <c:idx val="8"/>
            <c:marker>
              <c:symbol val="none"/>
            </c:marker>
            <c:bubble3D val="0"/>
            <c:extLst>
              <c:ext xmlns:c16="http://schemas.microsoft.com/office/drawing/2014/chart" uri="{C3380CC4-5D6E-409C-BE32-E72D297353CC}">
                <c16:uniqueId val="{00000019-AF17-4A28-A8BC-4A061BC72C0E}"/>
              </c:ext>
            </c:extLst>
          </c:dPt>
          <c:dPt>
            <c:idx val="9"/>
            <c:marker>
              <c:symbol val="none"/>
            </c:marker>
            <c:bubble3D val="0"/>
            <c:extLst>
              <c:ext xmlns:c16="http://schemas.microsoft.com/office/drawing/2014/chart" uri="{C3380CC4-5D6E-409C-BE32-E72D297353CC}">
                <c16:uniqueId val="{0000001A-AF17-4A28-A8BC-4A061BC72C0E}"/>
              </c:ext>
            </c:extLst>
          </c:dPt>
          <c:dLbls>
            <c:dLbl>
              <c:idx val="2"/>
              <c:layout>
                <c:manualLayout>
                  <c:x val="0"/>
                  <c:y val="-4.0568799665411964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AF17-4A28-A8BC-4A061BC72C0E}"/>
                </c:ext>
              </c:extLst>
            </c:dLbl>
            <c:dLbl>
              <c:idx val="3"/>
              <c:layout>
                <c:manualLayout>
                  <c:x val="0"/>
                  <c:y val="-4.0568799665411964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AF17-4A28-A8BC-4A061BC72C0E}"/>
                </c:ext>
              </c:extLst>
            </c:dLbl>
            <c:dLbl>
              <c:idx val="6"/>
              <c:layout>
                <c:manualLayout>
                  <c:x val="0"/>
                  <c:y val="-4.0568799665411964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AF17-4A28-A8BC-4A061BC72C0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J$3</c:f>
              <c:numCache>
                <c:formatCode>General</c:formatCode>
                <c:ptCount val="10"/>
                <c:pt idx="0">
                  <c:v>1814</c:v>
                </c:pt>
                <c:pt idx="1">
                  <c:v>2013</c:v>
                </c:pt>
                <c:pt idx="2">
                  <c:v>1982</c:v>
                </c:pt>
                <c:pt idx="3">
                  <c:v>2186</c:v>
                </c:pt>
                <c:pt idx="4">
                  <c:v>2415.6666666666665</c:v>
                </c:pt>
                <c:pt idx="5">
                  <c:v>2645.3333333333335</c:v>
                </c:pt>
                <c:pt idx="6">
                  <c:v>2875</c:v>
                </c:pt>
              </c:numCache>
            </c:numRef>
          </c:val>
          <c:smooth val="0"/>
          <c:extLst>
            <c:ext xmlns:c16="http://schemas.microsoft.com/office/drawing/2014/chart" uri="{C3380CC4-5D6E-409C-BE32-E72D297353CC}">
              <c16:uniqueId val="{0000001E-AF17-4A28-A8BC-4A061BC72C0E}"/>
            </c:ext>
          </c:extLst>
        </c:ser>
        <c:ser>
          <c:idx val="3"/>
          <c:order val="3"/>
          <c:spPr>
            <a:ln w="9525" algn="ctr">
              <a:solidFill>
                <a:srgbClr val="4D4D4D"/>
              </a:solidFill>
              <a:prstDash val="solid"/>
            </a:ln>
          </c:spPr>
          <c:marker>
            <c:symbol val="diamond"/>
            <c:size val="6"/>
            <c:spPr>
              <a:solidFill>
                <a:srgbClr val="4D4D4D"/>
              </a:solidFill>
              <a:ln w="9525" algn="ctr">
                <a:solidFill>
                  <a:srgbClr val="4D4D4D"/>
                </a:solidFill>
                <a:prstDash val="solid"/>
              </a:ln>
            </c:spPr>
          </c:marker>
          <c:dPt>
            <c:idx val="4"/>
            <c:marker>
              <c:symbol val="none"/>
            </c:marker>
            <c:bubble3D val="0"/>
            <c:extLst>
              <c:ext xmlns:c16="http://schemas.microsoft.com/office/drawing/2014/chart" uri="{C3380CC4-5D6E-409C-BE32-E72D297353CC}">
                <c16:uniqueId val="{0000001F-AF17-4A28-A8BC-4A061BC72C0E}"/>
              </c:ext>
            </c:extLst>
          </c:dPt>
          <c:dPt>
            <c:idx val="5"/>
            <c:marker>
              <c:symbol val="none"/>
            </c:marker>
            <c:bubble3D val="0"/>
            <c:extLst>
              <c:ext xmlns:c16="http://schemas.microsoft.com/office/drawing/2014/chart" uri="{C3380CC4-5D6E-409C-BE32-E72D297353CC}">
                <c16:uniqueId val="{00000020-AF17-4A28-A8BC-4A061BC72C0E}"/>
              </c:ext>
            </c:extLst>
          </c:dPt>
          <c:dPt>
            <c:idx val="7"/>
            <c:marker>
              <c:symbol val="none"/>
            </c:marker>
            <c:bubble3D val="0"/>
            <c:extLst>
              <c:ext xmlns:c16="http://schemas.microsoft.com/office/drawing/2014/chart" uri="{C3380CC4-5D6E-409C-BE32-E72D297353CC}">
                <c16:uniqueId val="{00000021-AF17-4A28-A8BC-4A061BC72C0E}"/>
              </c:ext>
            </c:extLst>
          </c:dPt>
          <c:dPt>
            <c:idx val="9"/>
            <c:marker>
              <c:symbol val="none"/>
            </c:marker>
            <c:bubble3D val="0"/>
            <c:extLst>
              <c:ext xmlns:c16="http://schemas.microsoft.com/office/drawing/2014/chart" uri="{C3380CC4-5D6E-409C-BE32-E72D297353CC}">
                <c16:uniqueId val="{00000022-AF17-4A28-A8BC-4A061BC72C0E}"/>
              </c:ext>
            </c:extLst>
          </c:dPt>
          <c:dLbls>
            <c:dLbl>
              <c:idx val="3"/>
              <c:layout>
                <c:manualLayout>
                  <c:x val="1.9249278152069298E-3"/>
                  <c:y val="2.5930572982015895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AF17-4A28-A8BC-4A061BC72C0E}"/>
                </c:ext>
              </c:extLst>
            </c:dLbl>
            <c:dLbl>
              <c:idx val="8"/>
              <c:layout>
                <c:manualLayout>
                  <c:x val="0"/>
                  <c:y val="-4.0568799665411964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AF17-4A28-A8BC-4A061BC72C0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J$4</c:f>
              <c:numCache>
                <c:formatCode>General</c:formatCode>
                <c:ptCount val="10"/>
                <c:pt idx="0">
                  <c:v>1568</c:v>
                </c:pt>
                <c:pt idx="1">
                  <c:v>1478</c:v>
                </c:pt>
                <c:pt idx="2">
                  <c:v>1572</c:v>
                </c:pt>
                <c:pt idx="3">
                  <c:v>1804</c:v>
                </c:pt>
                <c:pt idx="4">
                  <c:v>1935.3333333333333</c:v>
                </c:pt>
                <c:pt idx="5">
                  <c:v>2066.6666666666665</c:v>
                </c:pt>
                <c:pt idx="6">
                  <c:v>2198</c:v>
                </c:pt>
                <c:pt idx="7">
                  <c:v>2280.5</c:v>
                </c:pt>
                <c:pt idx="8">
                  <c:v>2363</c:v>
                </c:pt>
              </c:numCache>
            </c:numRef>
          </c:val>
          <c:smooth val="0"/>
          <c:extLst>
            <c:ext xmlns:c16="http://schemas.microsoft.com/office/drawing/2014/chart" uri="{C3380CC4-5D6E-409C-BE32-E72D297353CC}">
              <c16:uniqueId val="{00000025-AF17-4A28-A8BC-4A061BC72C0E}"/>
            </c:ext>
          </c:extLst>
        </c:ser>
        <c:dLbls>
          <c:showLegendKey val="0"/>
          <c:showVal val="0"/>
          <c:showCatName val="0"/>
          <c:showSerName val="0"/>
          <c:showPercent val="0"/>
          <c:showBubbleSize val="0"/>
        </c:dLbls>
        <c:marker val="1"/>
        <c:smooth val="0"/>
        <c:axId val="27740016"/>
        <c:axId val="1"/>
      </c:lineChart>
      <c:catAx>
        <c:axId val="2774001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6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7740016"/>
        <c:crosses val="min"/>
        <c:crossBetween val="midCat"/>
        <c:majorUnit val="200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8874218207088259E-2"/>
          <c:y val="2.6655202063628546E-2"/>
          <c:w val="0.89854065323141075"/>
          <c:h val="0.94668959587274293"/>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Pt>
            <c:idx val="8"/>
            <c:marker>
              <c:symbol val="none"/>
            </c:marker>
            <c:bubble3D val="0"/>
            <c:extLst>
              <c:ext xmlns:c16="http://schemas.microsoft.com/office/drawing/2014/chart" uri="{C3380CC4-5D6E-409C-BE32-E72D297353CC}">
                <c16:uniqueId val="{00000000-66AC-4C4E-823F-9A164D327304}"/>
              </c:ext>
            </c:extLst>
          </c:dPt>
          <c:dPt>
            <c:idx val="9"/>
            <c:marker>
              <c:symbol val="none"/>
            </c:marker>
            <c:bubble3D val="0"/>
            <c:extLst>
              <c:ext xmlns:c16="http://schemas.microsoft.com/office/drawing/2014/chart" uri="{C3380CC4-5D6E-409C-BE32-E72D297353CC}">
                <c16:uniqueId val="{00000001-66AC-4C4E-823F-9A164D327304}"/>
              </c:ext>
            </c:extLst>
          </c:dPt>
          <c:dLbls>
            <c:dLbl>
              <c:idx val="0"/>
              <c:layout>
                <c:manualLayout>
                  <c:x val="2.2585128561501043E-2"/>
                  <c:y val="-4.1702493551160791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6AC-4C4E-823F-9A164D327304}"/>
                </c:ext>
              </c:extLst>
            </c:dLbl>
            <c:dLbl>
              <c:idx val="1"/>
              <c:layout>
                <c:manualLayout>
                  <c:x val="0"/>
                  <c:y val="-4.1702493551160791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6AC-4C4E-823F-9A164D327304}"/>
                </c:ext>
              </c:extLst>
            </c:dLbl>
            <c:dLbl>
              <c:idx val="2"/>
              <c:layout>
                <c:manualLayout>
                  <c:x val="0"/>
                  <c:y val="-4.1702493551160791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6AC-4C4E-823F-9A164D327304}"/>
                </c:ext>
              </c:extLst>
            </c:dLbl>
            <c:dLbl>
              <c:idx val="3"/>
              <c:layout>
                <c:manualLayout>
                  <c:x val="0"/>
                  <c:y val="-4.1702493551160791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6AC-4C4E-823F-9A164D327304}"/>
                </c:ext>
              </c:extLst>
            </c:dLbl>
            <c:dLbl>
              <c:idx val="4"/>
              <c:layout>
                <c:manualLayout>
                  <c:x val="0"/>
                  <c:y val="-4.1702493551160791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6AC-4C4E-823F-9A164D327304}"/>
                </c:ext>
              </c:extLst>
            </c:dLbl>
            <c:dLbl>
              <c:idx val="5"/>
              <c:layout>
                <c:manualLayout>
                  <c:x val="0"/>
                  <c:y val="-4.1702493551160791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6AC-4C4E-823F-9A164D327304}"/>
                </c:ext>
              </c:extLst>
            </c:dLbl>
            <c:dLbl>
              <c:idx val="6"/>
              <c:layout>
                <c:manualLayout>
                  <c:x val="0"/>
                  <c:y val="-4.1702493551160791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6AC-4C4E-823F-9A164D327304}"/>
                </c:ext>
              </c:extLst>
            </c:dLbl>
            <c:dLbl>
              <c:idx val="7"/>
              <c:layout>
                <c:manualLayout>
                  <c:x val="0"/>
                  <c:y val="-4.1702493551160791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6AC-4C4E-823F-9A164D32730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57.18</c:v>
                </c:pt>
                <c:pt idx="1">
                  <c:v>51.22</c:v>
                </c:pt>
                <c:pt idx="2">
                  <c:v>54.78</c:v>
                </c:pt>
                <c:pt idx="3">
                  <c:v>55.73</c:v>
                </c:pt>
                <c:pt idx="4">
                  <c:v>57.45</c:v>
                </c:pt>
                <c:pt idx="5">
                  <c:v>60.09</c:v>
                </c:pt>
                <c:pt idx="6">
                  <c:v>61.68</c:v>
                </c:pt>
                <c:pt idx="7">
                  <c:v>62.43</c:v>
                </c:pt>
              </c:numCache>
            </c:numRef>
          </c:val>
          <c:smooth val="0"/>
          <c:extLst>
            <c:ext xmlns:c16="http://schemas.microsoft.com/office/drawing/2014/chart" uri="{C3380CC4-5D6E-409C-BE32-E72D297353CC}">
              <c16:uniqueId val="{0000000A-66AC-4C4E-823F-9A164D327304}"/>
            </c:ext>
          </c:extLst>
        </c:ser>
        <c:ser>
          <c:idx val="1"/>
          <c:order val="1"/>
          <c:spPr>
            <a:ln w="9525" algn="ctr">
              <a:solidFill>
                <a:srgbClr val="3D6E81"/>
              </a:solidFill>
              <a:prstDash val="solid"/>
            </a:ln>
          </c:spPr>
          <c:marker>
            <c:symbol val="square"/>
            <c:size val="6"/>
            <c:spPr>
              <a:solidFill>
                <a:srgbClr val="3D6E81"/>
              </a:solidFill>
              <a:ln w="9525" algn="ctr">
                <a:solidFill>
                  <a:srgbClr val="3D6E81"/>
                </a:solidFill>
                <a:prstDash val="solid"/>
              </a:ln>
            </c:spPr>
          </c:marker>
          <c:dLbls>
            <c:dLbl>
              <c:idx val="0"/>
              <c:layout>
                <c:manualLayout>
                  <c:x val="2.2585128561501043E-2"/>
                  <c:y val="-4.1702493551160791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6AC-4C4E-823F-9A164D327304}"/>
                </c:ext>
              </c:extLst>
            </c:dLbl>
            <c:dLbl>
              <c:idx val="1"/>
              <c:layout>
                <c:manualLayout>
                  <c:x val="0"/>
                  <c:y val="-4.1702493551160791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6AC-4C4E-823F-9A164D327304}"/>
                </c:ext>
              </c:extLst>
            </c:dLbl>
            <c:dLbl>
              <c:idx val="2"/>
              <c:layout>
                <c:manualLayout>
                  <c:x val="0"/>
                  <c:y val="-4.1702493551160791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6AC-4C4E-823F-9A164D327304}"/>
                </c:ext>
              </c:extLst>
            </c:dLbl>
            <c:dLbl>
              <c:idx val="3"/>
              <c:layout>
                <c:manualLayout>
                  <c:x val="0"/>
                  <c:y val="-4.1702493551160791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6AC-4C4E-823F-9A164D327304}"/>
                </c:ext>
              </c:extLst>
            </c:dLbl>
            <c:dLbl>
              <c:idx val="4"/>
              <c:layout>
                <c:manualLayout>
                  <c:x val="0"/>
                  <c:y val="-4.1702493551160791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6AC-4C4E-823F-9A164D327304}"/>
                </c:ext>
              </c:extLst>
            </c:dLbl>
            <c:dLbl>
              <c:idx val="5"/>
              <c:layout>
                <c:manualLayout>
                  <c:x val="0"/>
                  <c:y val="-4.1702493551160791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6AC-4C4E-823F-9A164D327304}"/>
                </c:ext>
              </c:extLst>
            </c:dLbl>
            <c:dLbl>
              <c:idx val="6"/>
              <c:layout>
                <c:manualLayout>
                  <c:x val="0"/>
                  <c:y val="-4.1702493551160791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6AC-4C4E-823F-9A164D327304}"/>
                </c:ext>
              </c:extLst>
            </c:dLbl>
            <c:dLbl>
              <c:idx val="7"/>
              <c:layout>
                <c:manualLayout>
                  <c:x val="0"/>
                  <c:y val="-4.1702493551160791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6AC-4C4E-823F-9A164D327304}"/>
                </c:ext>
              </c:extLst>
            </c:dLbl>
            <c:dLbl>
              <c:idx val="8"/>
              <c:layout>
                <c:manualLayout>
                  <c:x val="0"/>
                  <c:y val="-4.1702493551160791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6AC-4C4E-823F-9A164D327304}"/>
                </c:ext>
              </c:extLst>
            </c:dLbl>
            <c:dLbl>
              <c:idx val="9"/>
              <c:layout>
                <c:manualLayout>
                  <c:x val="0"/>
                  <c:y val="-4.1702493551160791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6AC-4C4E-823F-9A164D32730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17.600000000000001</c:v>
                </c:pt>
                <c:pt idx="1">
                  <c:v>18.329999999999998</c:v>
                </c:pt>
                <c:pt idx="2">
                  <c:v>19.04</c:v>
                </c:pt>
                <c:pt idx="3">
                  <c:v>20.079999999999998</c:v>
                </c:pt>
                <c:pt idx="4">
                  <c:v>21.23</c:v>
                </c:pt>
                <c:pt idx="5">
                  <c:v>22.28</c:v>
                </c:pt>
                <c:pt idx="6">
                  <c:v>22.94</c:v>
                </c:pt>
                <c:pt idx="7">
                  <c:v>23.45</c:v>
                </c:pt>
                <c:pt idx="8">
                  <c:v>23.91</c:v>
                </c:pt>
                <c:pt idx="9">
                  <c:v>24.6</c:v>
                </c:pt>
              </c:numCache>
            </c:numRef>
          </c:val>
          <c:smooth val="0"/>
          <c:extLst>
            <c:ext xmlns:c16="http://schemas.microsoft.com/office/drawing/2014/chart" uri="{C3380CC4-5D6E-409C-BE32-E72D297353CC}">
              <c16:uniqueId val="{00000015-66AC-4C4E-823F-9A164D327304}"/>
            </c:ext>
          </c:extLst>
        </c:ser>
        <c:ser>
          <c:idx val="2"/>
          <c:order val="2"/>
          <c:spPr>
            <a:ln w="9525" algn="ctr">
              <a:solidFill>
                <a:srgbClr val="655939"/>
              </a:solidFill>
              <a:prstDash val="solid"/>
            </a:ln>
          </c:spPr>
          <c:marker>
            <c:symbol val="triangle"/>
            <c:size val="6"/>
            <c:spPr>
              <a:solidFill>
                <a:srgbClr val="655939"/>
              </a:solidFill>
              <a:ln w="9525" algn="ctr">
                <a:solidFill>
                  <a:srgbClr val="655939"/>
                </a:solidFill>
                <a:prstDash val="solid"/>
              </a:ln>
            </c:spPr>
          </c:marker>
          <c:dPt>
            <c:idx val="4"/>
            <c:marker>
              <c:symbol val="none"/>
            </c:marker>
            <c:bubble3D val="0"/>
            <c:extLst>
              <c:ext xmlns:c16="http://schemas.microsoft.com/office/drawing/2014/chart" uri="{C3380CC4-5D6E-409C-BE32-E72D297353CC}">
                <c16:uniqueId val="{00000016-66AC-4C4E-823F-9A164D327304}"/>
              </c:ext>
            </c:extLst>
          </c:dPt>
          <c:dPt>
            <c:idx val="5"/>
            <c:marker>
              <c:symbol val="none"/>
            </c:marker>
            <c:bubble3D val="0"/>
            <c:extLst>
              <c:ext xmlns:c16="http://schemas.microsoft.com/office/drawing/2014/chart" uri="{C3380CC4-5D6E-409C-BE32-E72D297353CC}">
                <c16:uniqueId val="{00000017-66AC-4C4E-823F-9A164D327304}"/>
              </c:ext>
            </c:extLst>
          </c:dPt>
          <c:dPt>
            <c:idx val="7"/>
            <c:marker>
              <c:symbol val="none"/>
            </c:marker>
            <c:bubble3D val="0"/>
            <c:extLst>
              <c:ext xmlns:c16="http://schemas.microsoft.com/office/drawing/2014/chart" uri="{C3380CC4-5D6E-409C-BE32-E72D297353CC}">
                <c16:uniqueId val="{00000018-66AC-4C4E-823F-9A164D327304}"/>
              </c:ext>
            </c:extLst>
          </c:dPt>
          <c:dPt>
            <c:idx val="8"/>
            <c:marker>
              <c:symbol val="none"/>
            </c:marker>
            <c:bubble3D val="0"/>
            <c:extLst>
              <c:ext xmlns:c16="http://schemas.microsoft.com/office/drawing/2014/chart" uri="{C3380CC4-5D6E-409C-BE32-E72D297353CC}">
                <c16:uniqueId val="{00000019-66AC-4C4E-823F-9A164D327304}"/>
              </c:ext>
            </c:extLst>
          </c:dPt>
          <c:dPt>
            <c:idx val="9"/>
            <c:marker>
              <c:symbol val="none"/>
            </c:marker>
            <c:bubble3D val="0"/>
            <c:extLst>
              <c:ext xmlns:c16="http://schemas.microsoft.com/office/drawing/2014/chart" uri="{C3380CC4-5D6E-409C-BE32-E72D297353CC}">
                <c16:uniqueId val="{0000001A-66AC-4C4E-823F-9A164D327304}"/>
              </c:ext>
            </c:extLst>
          </c:dPt>
          <c:dLbls>
            <c:dLbl>
              <c:idx val="0"/>
              <c:layout>
                <c:manualLayout>
                  <c:x val="1.6330785267546909E-2"/>
                  <c:y val="-4.1702493551160791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66AC-4C4E-823F-9A164D327304}"/>
                </c:ext>
              </c:extLst>
            </c:dLbl>
            <c:dLbl>
              <c:idx val="1"/>
              <c:layout>
                <c:manualLayout>
                  <c:x val="0"/>
                  <c:y val="-4.1702493551160791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66AC-4C4E-823F-9A164D327304}"/>
                </c:ext>
              </c:extLst>
            </c:dLbl>
            <c:dLbl>
              <c:idx val="2"/>
              <c:layout>
                <c:manualLayout>
                  <c:x val="0"/>
                  <c:y val="-4.1702493551160791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66AC-4C4E-823F-9A164D327304}"/>
                </c:ext>
              </c:extLst>
            </c:dLbl>
            <c:dLbl>
              <c:idx val="3"/>
              <c:layout>
                <c:manualLayout>
                  <c:x val="0"/>
                  <c:y val="-4.1702493551160791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66AC-4C4E-823F-9A164D327304}"/>
                </c:ext>
              </c:extLst>
            </c:dLbl>
            <c:dLbl>
              <c:idx val="6"/>
              <c:layout>
                <c:manualLayout>
                  <c:x val="0"/>
                  <c:y val="-4.1702493551160791E-2"/>
                </c:manualLayout>
              </c:layout>
              <c:numFmt formatCode="#,##0;&quot;-&quot;#,##0" sourceLinked="0"/>
              <c:spPr>
                <a:noFill/>
                <a:ln>
                  <a:noFill/>
                </a:ln>
              </c:spPr>
              <c:txPr>
                <a:bodyPr wrap="none"/>
                <a:lstStyle/>
                <a:p>
                  <a:pPr>
                    <a:defRPr kumimoji="1" sz="8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66AC-4C4E-823F-9A164D32730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J$3</c:f>
              <c:numCache>
                <c:formatCode>General</c:formatCode>
                <c:ptCount val="10"/>
                <c:pt idx="0">
                  <c:v>3.54</c:v>
                </c:pt>
                <c:pt idx="1">
                  <c:v>3.82</c:v>
                </c:pt>
                <c:pt idx="2">
                  <c:v>3.69</c:v>
                </c:pt>
                <c:pt idx="3">
                  <c:v>4.01</c:v>
                </c:pt>
                <c:pt idx="4">
                  <c:v>4.37</c:v>
                </c:pt>
                <c:pt idx="5">
                  <c:v>4.7299999999999995</c:v>
                </c:pt>
                <c:pt idx="6">
                  <c:v>5.09</c:v>
                </c:pt>
              </c:numCache>
            </c:numRef>
          </c:val>
          <c:smooth val="0"/>
          <c:extLst>
            <c:ext xmlns:c16="http://schemas.microsoft.com/office/drawing/2014/chart" uri="{C3380CC4-5D6E-409C-BE32-E72D297353CC}">
              <c16:uniqueId val="{00000020-66AC-4C4E-823F-9A164D327304}"/>
            </c:ext>
          </c:extLst>
        </c:ser>
        <c:ser>
          <c:idx val="3"/>
          <c:order val="3"/>
          <c:spPr>
            <a:ln w="9525" algn="ctr">
              <a:solidFill>
                <a:srgbClr val="4D4D4D"/>
              </a:solidFill>
              <a:prstDash val="solid"/>
            </a:ln>
          </c:spPr>
          <c:marker>
            <c:symbol val="diamond"/>
            <c:size val="6"/>
            <c:spPr>
              <a:solidFill>
                <a:srgbClr val="4D4D4D"/>
              </a:solidFill>
              <a:ln w="9525" algn="ctr">
                <a:solidFill>
                  <a:srgbClr val="4D4D4D"/>
                </a:solidFill>
                <a:prstDash val="solid"/>
              </a:ln>
            </c:spPr>
          </c:marker>
          <c:dPt>
            <c:idx val="4"/>
            <c:marker>
              <c:symbol val="none"/>
            </c:marker>
            <c:bubble3D val="0"/>
            <c:extLst>
              <c:ext xmlns:c16="http://schemas.microsoft.com/office/drawing/2014/chart" uri="{C3380CC4-5D6E-409C-BE32-E72D297353CC}">
                <c16:uniqueId val="{00000021-66AC-4C4E-823F-9A164D327304}"/>
              </c:ext>
            </c:extLst>
          </c:dPt>
          <c:dPt>
            <c:idx val="5"/>
            <c:marker>
              <c:symbol val="none"/>
            </c:marker>
            <c:bubble3D val="0"/>
            <c:extLst>
              <c:ext xmlns:c16="http://schemas.microsoft.com/office/drawing/2014/chart" uri="{C3380CC4-5D6E-409C-BE32-E72D297353CC}">
                <c16:uniqueId val="{00000022-66AC-4C4E-823F-9A164D327304}"/>
              </c:ext>
            </c:extLst>
          </c:dPt>
          <c:dPt>
            <c:idx val="7"/>
            <c:marker>
              <c:symbol val="none"/>
            </c:marker>
            <c:bubble3D val="0"/>
            <c:extLst>
              <c:ext xmlns:c16="http://schemas.microsoft.com/office/drawing/2014/chart" uri="{C3380CC4-5D6E-409C-BE32-E72D297353CC}">
                <c16:uniqueId val="{00000023-66AC-4C4E-823F-9A164D327304}"/>
              </c:ext>
            </c:extLst>
          </c:dPt>
          <c:dPt>
            <c:idx val="9"/>
            <c:marker>
              <c:symbol val="none"/>
            </c:marker>
            <c:bubble3D val="0"/>
            <c:extLst>
              <c:ext xmlns:c16="http://schemas.microsoft.com/office/drawing/2014/chart" uri="{C3380CC4-5D6E-409C-BE32-E72D297353CC}">
                <c16:uniqueId val="{00000024-66AC-4C4E-823F-9A164D327304}"/>
              </c:ext>
            </c:extLst>
          </c:dPt>
          <c:dLbls>
            <c:dLbl>
              <c:idx val="1"/>
              <c:layout>
                <c:manualLayout>
                  <c:x val="-2.7797081306462821E-3"/>
                  <c:y val="2.5795356835769563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66AC-4C4E-823F-9A164D327304}"/>
                </c:ext>
              </c:extLst>
            </c:dLbl>
            <c:dLbl>
              <c:idx val="6"/>
              <c:layout>
                <c:manualLayout>
                  <c:x val="1.0423905489923557E-3"/>
                  <c:y val="2.8374892519346516E-2"/>
                </c:manualLayout>
              </c:layout>
              <c:numFmt formatCode="#,##0;&quot;-&quot;#,##0" sourceLinked="0"/>
              <c:spPr>
                <a:noFill/>
                <a:ln>
                  <a:noFill/>
                </a:ln>
              </c:spPr>
              <c:txPr>
                <a:bodyPr wrap="none"/>
                <a:lstStyle/>
                <a:p>
                  <a:pPr>
                    <a:defRPr kumimoji="1" sz="8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66AC-4C4E-823F-9A164D32730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J$4</c:f>
              <c:numCache>
                <c:formatCode>General</c:formatCode>
                <c:ptCount val="10"/>
                <c:pt idx="0">
                  <c:v>3.06</c:v>
                </c:pt>
                <c:pt idx="1">
                  <c:v>2.81</c:v>
                </c:pt>
                <c:pt idx="2">
                  <c:v>2.93</c:v>
                </c:pt>
                <c:pt idx="3">
                  <c:v>3.31</c:v>
                </c:pt>
                <c:pt idx="4">
                  <c:v>3.5033333333333334</c:v>
                </c:pt>
                <c:pt idx="5">
                  <c:v>3.6966666666666668</c:v>
                </c:pt>
                <c:pt idx="6">
                  <c:v>3.89</c:v>
                </c:pt>
                <c:pt idx="7">
                  <c:v>3.9950000000000001</c:v>
                </c:pt>
                <c:pt idx="8">
                  <c:v>4.0999999999999996</c:v>
                </c:pt>
              </c:numCache>
            </c:numRef>
          </c:val>
          <c:smooth val="0"/>
          <c:extLst>
            <c:ext xmlns:c16="http://schemas.microsoft.com/office/drawing/2014/chart" uri="{C3380CC4-5D6E-409C-BE32-E72D297353CC}">
              <c16:uniqueId val="{00000027-66AC-4C4E-823F-9A164D327304}"/>
            </c:ext>
          </c:extLst>
        </c:ser>
        <c:dLbls>
          <c:showLegendKey val="0"/>
          <c:showVal val="0"/>
          <c:showCatName val="0"/>
          <c:showSerName val="0"/>
          <c:showPercent val="0"/>
          <c:showBubbleSize val="0"/>
        </c:dLbls>
        <c:marker val="1"/>
        <c:smooth val="0"/>
        <c:axId val="755444960"/>
        <c:axId val="1"/>
      </c:lineChart>
      <c:catAx>
        <c:axId val="75544496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65"/>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755444960"/>
        <c:crosses val="min"/>
        <c:crossBetween val="midCat"/>
        <c:majorUnit val="5"/>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9092284417549165E-2"/>
          <c:y val="3.9686975964225824E-2"/>
          <c:w val="0.8507312153303076"/>
          <c:h val="0.84460592509782006"/>
        </c:manualLayout>
      </c:layout>
      <c:scatterChart>
        <c:scatterStyle val="lineMarker"/>
        <c:varyColors val="0"/>
        <c:ser>
          <c:idx val="0"/>
          <c:order val="0"/>
          <c:spPr>
            <a:ln w="19050" algn="ctr">
              <a:solidFill>
                <a:schemeClr val="accent1"/>
              </a:solidFill>
              <a:prstDash val="solid"/>
            </a:ln>
          </c:spPr>
          <c:marker>
            <c:symbol val="none"/>
          </c:marker>
          <c:dLbls>
            <c:dLbl>
              <c:idx val="2"/>
              <c:layout>
                <c:manualLayout>
                  <c:x val="1.588502269288956E-2"/>
                  <c:y val="4.1363890441587482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F99-4E52-9242-59992C4CDEC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E$1</c:f>
              <c:numCache>
                <c:formatCode>General</c:formatCode>
                <c:ptCount val="5"/>
                <c:pt idx="0">
                  <c:v>2017</c:v>
                </c:pt>
                <c:pt idx="1">
                  <c:v>2018</c:v>
                </c:pt>
                <c:pt idx="2">
                  <c:v>2019</c:v>
                </c:pt>
                <c:pt idx="3">
                  <c:v>2020</c:v>
                </c:pt>
                <c:pt idx="4">
                  <c:v>2021</c:v>
                </c:pt>
              </c:numCache>
            </c:numRef>
          </c:xVal>
          <c:yVal>
            <c:numRef>
              <c:f>Sheet1!$A$2:$E$2</c:f>
              <c:numCache>
                <c:formatCode>General</c:formatCode>
                <c:ptCount val="5"/>
                <c:pt idx="0">
                  <c:v>1626</c:v>
                </c:pt>
                <c:pt idx="1">
                  <c:v>1739</c:v>
                </c:pt>
                <c:pt idx="2">
                  <c:v>1871</c:v>
                </c:pt>
                <c:pt idx="3">
                  <c:v>1963</c:v>
                </c:pt>
                <c:pt idx="4">
                  <c:v>2080</c:v>
                </c:pt>
              </c:numCache>
            </c:numRef>
          </c:yVal>
          <c:smooth val="0"/>
          <c:extLst>
            <c:ext xmlns:c16="http://schemas.microsoft.com/office/drawing/2014/chart" uri="{C3380CC4-5D6E-409C-BE32-E72D297353CC}">
              <c16:uniqueId val="{00000001-EF99-4E52-9242-59992C4CDECB}"/>
            </c:ext>
          </c:extLst>
        </c:ser>
        <c:ser>
          <c:idx val="1"/>
          <c:order val="1"/>
          <c:spPr>
            <a:ln w="19050" algn="ctr">
              <a:solidFill>
                <a:schemeClr val="accent2"/>
              </a:solidFill>
              <a:prstDash val="solid"/>
            </a:ln>
          </c:spPr>
          <c:marker>
            <c:symbol val="none"/>
          </c:marker>
          <c:dLbls>
            <c:dLbl>
              <c:idx val="0"/>
              <c:layout>
                <c:manualLayout>
                  <c:x val="4.0595057992939991E-2"/>
                  <c:y val="-5.1984348798211288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F99-4E52-9242-59992C4CDECB}"/>
                </c:ext>
              </c:extLst>
            </c:dLbl>
            <c:dLbl>
              <c:idx val="1"/>
              <c:layout>
                <c:manualLayout>
                  <c:x val="0"/>
                  <c:y val="-5.1984348798211288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F99-4E52-9242-59992C4CDECB}"/>
                </c:ext>
              </c:extLst>
            </c:dLbl>
            <c:dLbl>
              <c:idx val="2"/>
              <c:layout>
                <c:manualLayout>
                  <c:x val="0"/>
                  <c:y val="-5.1984348798211288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F99-4E52-9242-59992C4CDECB}"/>
                </c:ext>
              </c:extLst>
            </c:dLbl>
            <c:dLbl>
              <c:idx val="3"/>
              <c:layout>
                <c:manualLayout>
                  <c:x val="0"/>
                  <c:y val="-5.1984348798211288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F99-4E52-9242-59992C4CDECB}"/>
                </c:ext>
              </c:extLst>
            </c:dLbl>
            <c:dLbl>
              <c:idx val="4"/>
              <c:layout>
                <c:manualLayout>
                  <c:x val="0"/>
                  <c:y val="-5.1984348798211288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F99-4E52-9242-59992C4CDEC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E$1</c:f>
              <c:numCache>
                <c:formatCode>General</c:formatCode>
                <c:ptCount val="5"/>
                <c:pt idx="0">
                  <c:v>2017</c:v>
                </c:pt>
                <c:pt idx="1">
                  <c:v>2018</c:v>
                </c:pt>
                <c:pt idx="2">
                  <c:v>2019</c:v>
                </c:pt>
                <c:pt idx="3">
                  <c:v>2020</c:v>
                </c:pt>
                <c:pt idx="4">
                  <c:v>2021</c:v>
                </c:pt>
              </c:numCache>
            </c:numRef>
          </c:xVal>
          <c:yVal>
            <c:numRef>
              <c:f>Sheet1!$A$3:$E$3</c:f>
              <c:numCache>
                <c:formatCode>General</c:formatCode>
                <c:ptCount val="5"/>
                <c:pt idx="0">
                  <c:v>1125</c:v>
                </c:pt>
                <c:pt idx="1">
                  <c:v>1201</c:v>
                </c:pt>
                <c:pt idx="2">
                  <c:v>1227</c:v>
                </c:pt>
                <c:pt idx="3">
                  <c:v>1304</c:v>
                </c:pt>
                <c:pt idx="4">
                  <c:v>1381</c:v>
                </c:pt>
              </c:numCache>
            </c:numRef>
          </c:yVal>
          <c:smooth val="0"/>
          <c:extLst>
            <c:ext xmlns:c16="http://schemas.microsoft.com/office/drawing/2014/chart" uri="{C3380CC4-5D6E-409C-BE32-E72D297353CC}">
              <c16:uniqueId val="{00000007-EF99-4E52-9242-59992C4CDECB}"/>
            </c:ext>
          </c:extLst>
        </c:ser>
        <c:ser>
          <c:idx val="2"/>
          <c:order val="2"/>
          <c:spPr>
            <a:ln w="19050" algn="ctr">
              <a:solidFill>
                <a:schemeClr val="accent3"/>
              </a:solidFill>
              <a:prstDash val="solid"/>
            </a:ln>
          </c:spPr>
          <c:marker>
            <c:symbol val="none"/>
          </c:marker>
          <c:dLbls>
            <c:dLbl>
              <c:idx val="0"/>
              <c:layout>
                <c:manualLayout>
                  <c:x val="4.0595057992939991E-2"/>
                  <c:y val="-5.1984348798211288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F99-4E52-9242-59992C4CDECB}"/>
                </c:ext>
              </c:extLst>
            </c:dLbl>
            <c:dLbl>
              <c:idx val="1"/>
              <c:layout>
                <c:manualLayout>
                  <c:x val="0"/>
                  <c:y val="-5.1984348798211288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F99-4E52-9242-59992C4CDECB}"/>
                </c:ext>
              </c:extLst>
            </c:dLbl>
            <c:dLbl>
              <c:idx val="2"/>
              <c:layout>
                <c:manualLayout>
                  <c:x val="0"/>
                  <c:y val="-5.1984348798211288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F99-4E52-9242-59992C4CDECB}"/>
                </c:ext>
              </c:extLst>
            </c:dLbl>
            <c:dLbl>
              <c:idx val="3"/>
              <c:layout>
                <c:manualLayout>
                  <c:x val="0"/>
                  <c:y val="-5.1984348798211288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F99-4E52-9242-59992C4CDECB}"/>
                </c:ext>
              </c:extLst>
            </c:dLbl>
            <c:dLbl>
              <c:idx val="4"/>
              <c:layout>
                <c:manualLayout>
                  <c:x val="0"/>
                  <c:y val="-5.1984348798211288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F99-4E52-9242-59992C4CDEC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E$1</c:f>
              <c:numCache>
                <c:formatCode>General</c:formatCode>
                <c:ptCount val="5"/>
                <c:pt idx="0">
                  <c:v>2017</c:v>
                </c:pt>
                <c:pt idx="1">
                  <c:v>2018</c:v>
                </c:pt>
                <c:pt idx="2">
                  <c:v>2019</c:v>
                </c:pt>
                <c:pt idx="3">
                  <c:v>2020</c:v>
                </c:pt>
                <c:pt idx="4">
                  <c:v>2021</c:v>
                </c:pt>
              </c:numCache>
            </c:numRef>
          </c:xVal>
          <c:yVal>
            <c:numRef>
              <c:f>Sheet1!$A$4:$E$4</c:f>
              <c:numCache>
                <c:formatCode>General</c:formatCode>
                <c:ptCount val="5"/>
                <c:pt idx="0">
                  <c:v>1693</c:v>
                </c:pt>
                <c:pt idx="1">
                  <c:v>1814</c:v>
                </c:pt>
                <c:pt idx="2">
                  <c:v>2020</c:v>
                </c:pt>
                <c:pt idx="3">
                  <c:v>2129</c:v>
                </c:pt>
                <c:pt idx="4">
                  <c:v>2260</c:v>
                </c:pt>
              </c:numCache>
            </c:numRef>
          </c:yVal>
          <c:smooth val="0"/>
          <c:extLst>
            <c:ext xmlns:c16="http://schemas.microsoft.com/office/drawing/2014/chart" uri="{C3380CC4-5D6E-409C-BE32-E72D297353CC}">
              <c16:uniqueId val="{0000000D-EF99-4E52-9242-59992C4CDECB}"/>
            </c:ext>
          </c:extLst>
        </c:ser>
        <c:ser>
          <c:idx val="3"/>
          <c:order val="3"/>
          <c:spPr>
            <a:ln w="19050" algn="ctr">
              <a:solidFill>
                <a:schemeClr val="accent4"/>
              </a:solidFill>
              <a:prstDash val="solid"/>
            </a:ln>
          </c:spPr>
          <c:marker>
            <c:symbol val="none"/>
          </c:marker>
          <c:dLbls>
            <c:dLbl>
              <c:idx val="0"/>
              <c:layout>
                <c:manualLayout>
                  <c:x val="3.0509329299041855E-2"/>
                  <c:y val="-5.1984348798211288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F99-4E52-9242-59992C4CDECB}"/>
                </c:ext>
              </c:extLst>
            </c:dLbl>
            <c:dLbl>
              <c:idx val="1"/>
              <c:layout>
                <c:manualLayout>
                  <c:x val="0"/>
                  <c:y val="-5.1984348798211288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F99-4E52-9242-59992C4CDECB}"/>
                </c:ext>
              </c:extLst>
            </c:dLbl>
            <c:dLbl>
              <c:idx val="2"/>
              <c:layout>
                <c:manualLayout>
                  <c:x val="0"/>
                  <c:y val="-5.1984348798211288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F99-4E52-9242-59992C4CDECB}"/>
                </c:ext>
              </c:extLst>
            </c:dLbl>
            <c:dLbl>
              <c:idx val="3"/>
              <c:layout>
                <c:manualLayout>
                  <c:x val="0"/>
                  <c:y val="-5.1984348798211288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F99-4E52-9242-59992C4CDECB}"/>
                </c:ext>
              </c:extLst>
            </c:dLbl>
            <c:dLbl>
              <c:idx val="4"/>
              <c:layout>
                <c:manualLayout>
                  <c:x val="0"/>
                  <c:y val="-5.1984348798211288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F99-4E52-9242-59992C4CDEC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E$1</c:f>
              <c:numCache>
                <c:formatCode>General</c:formatCode>
                <c:ptCount val="5"/>
                <c:pt idx="0">
                  <c:v>2017</c:v>
                </c:pt>
                <c:pt idx="1">
                  <c:v>2018</c:v>
                </c:pt>
                <c:pt idx="2">
                  <c:v>2019</c:v>
                </c:pt>
                <c:pt idx="3">
                  <c:v>2020</c:v>
                </c:pt>
                <c:pt idx="4">
                  <c:v>2021</c:v>
                </c:pt>
              </c:numCache>
            </c:numRef>
          </c:xVal>
          <c:yVal>
            <c:numRef>
              <c:f>Sheet1!$A$5:$E$5</c:f>
              <c:numCache>
                <c:formatCode>General</c:formatCode>
                <c:ptCount val="5"/>
                <c:pt idx="0">
                  <c:v>168</c:v>
                </c:pt>
                <c:pt idx="1">
                  <c:v>182</c:v>
                </c:pt>
                <c:pt idx="2">
                  <c:v>194</c:v>
                </c:pt>
                <c:pt idx="3">
                  <c:v>203</c:v>
                </c:pt>
                <c:pt idx="4">
                  <c:v>218</c:v>
                </c:pt>
              </c:numCache>
            </c:numRef>
          </c:yVal>
          <c:smooth val="0"/>
          <c:extLst>
            <c:ext xmlns:c16="http://schemas.microsoft.com/office/drawing/2014/chart" uri="{C3380CC4-5D6E-409C-BE32-E72D297353CC}">
              <c16:uniqueId val="{00000013-EF99-4E52-9242-59992C4CDECB}"/>
            </c:ext>
          </c:extLst>
        </c:ser>
        <c:ser>
          <c:idx val="4"/>
          <c:order val="4"/>
          <c:spPr>
            <a:ln w="19050" algn="ctr">
              <a:solidFill>
                <a:schemeClr val="accent5"/>
              </a:solidFill>
              <a:prstDash val="solid"/>
            </a:ln>
          </c:spPr>
          <c:marker>
            <c:symbol val="none"/>
          </c:marker>
          <c:dLbls>
            <c:dLbl>
              <c:idx val="0"/>
              <c:layout>
                <c:manualLayout>
                  <c:x val="3.0509329299041855E-2"/>
                  <c:y val="-5.1984348798211288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EF99-4E52-9242-59992C4CDECB}"/>
                </c:ext>
              </c:extLst>
            </c:dLbl>
            <c:dLbl>
              <c:idx val="1"/>
              <c:layout>
                <c:manualLayout>
                  <c:x val="0"/>
                  <c:y val="-5.1984348798211288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EF99-4E52-9242-59992C4CDECB}"/>
                </c:ext>
              </c:extLst>
            </c:dLbl>
            <c:dLbl>
              <c:idx val="2"/>
              <c:layout>
                <c:manualLayout>
                  <c:x val="0"/>
                  <c:y val="-5.1984348798211288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EF99-4E52-9242-59992C4CDECB}"/>
                </c:ext>
              </c:extLst>
            </c:dLbl>
            <c:dLbl>
              <c:idx val="3"/>
              <c:layout>
                <c:manualLayout>
                  <c:x val="0"/>
                  <c:y val="-5.1984348798211288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EF99-4E52-9242-59992C4CDECB}"/>
                </c:ext>
              </c:extLst>
            </c:dLbl>
            <c:dLbl>
              <c:idx val="4"/>
              <c:layout>
                <c:manualLayout>
                  <c:x val="0"/>
                  <c:y val="-5.1984348798211288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EF99-4E52-9242-59992C4CDEC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E$1</c:f>
              <c:numCache>
                <c:formatCode>General</c:formatCode>
                <c:ptCount val="5"/>
                <c:pt idx="0">
                  <c:v>2017</c:v>
                </c:pt>
                <c:pt idx="1">
                  <c:v>2018</c:v>
                </c:pt>
                <c:pt idx="2">
                  <c:v>2019</c:v>
                </c:pt>
                <c:pt idx="3">
                  <c:v>2020</c:v>
                </c:pt>
                <c:pt idx="4">
                  <c:v>2021</c:v>
                </c:pt>
              </c:numCache>
            </c:numRef>
          </c:xVal>
          <c:yVal>
            <c:numRef>
              <c:f>Sheet1!$A$6:$E$6</c:f>
              <c:numCache>
                <c:formatCode>General</c:formatCode>
                <c:ptCount val="5"/>
                <c:pt idx="0">
                  <c:v>595</c:v>
                </c:pt>
                <c:pt idx="1">
                  <c:v>642</c:v>
                </c:pt>
                <c:pt idx="2">
                  <c:v>686</c:v>
                </c:pt>
                <c:pt idx="3">
                  <c:v>727</c:v>
                </c:pt>
                <c:pt idx="4">
                  <c:v>778</c:v>
                </c:pt>
              </c:numCache>
            </c:numRef>
          </c:yVal>
          <c:smooth val="0"/>
          <c:extLst>
            <c:ext xmlns:c16="http://schemas.microsoft.com/office/drawing/2014/chart" uri="{C3380CC4-5D6E-409C-BE32-E72D297353CC}">
              <c16:uniqueId val="{00000019-EF99-4E52-9242-59992C4CDECB}"/>
            </c:ext>
          </c:extLst>
        </c:ser>
        <c:dLbls>
          <c:showLegendKey val="0"/>
          <c:showVal val="0"/>
          <c:showCatName val="0"/>
          <c:showSerName val="0"/>
          <c:showPercent val="0"/>
          <c:showBubbleSize val="0"/>
        </c:dLbls>
        <c:axId val="1090122288"/>
        <c:axId val="1"/>
      </c:scatterChart>
      <c:valAx>
        <c:axId val="1090122288"/>
        <c:scaling>
          <c:orientation val="minMax"/>
          <c:max val="2021"/>
          <c:min val="2017"/>
        </c:scaling>
        <c:delete val="0"/>
        <c:axPos val="b"/>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200" kern="1200">
                <a:solidFill>
                  <a:schemeClr val="tx1"/>
                </a:solidFill>
                <a:latin typeface="+mn-lt"/>
                <a:ea typeface="+mn-ea"/>
                <a:cs typeface="+mn-cs"/>
              </a:defRPr>
            </a:pPr>
            <a:endParaRPr lang="en-US"/>
          </a:p>
        </c:txPr>
        <c:crossAx val="1"/>
        <c:crosses val="min"/>
        <c:crossBetween val="midCat"/>
        <c:majorUnit val="1"/>
      </c:valAx>
      <c:valAx>
        <c:axId val="1"/>
        <c:scaling>
          <c:orientation val="minMax"/>
          <c:max val="25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200" kern="1200">
                <a:solidFill>
                  <a:schemeClr val="tx1"/>
                </a:solidFill>
                <a:latin typeface="+mn-lt"/>
                <a:ea typeface="+mn-ea"/>
                <a:cs typeface="+mn-cs"/>
              </a:defRPr>
            </a:pPr>
            <a:endParaRPr lang="en-US"/>
          </a:p>
        </c:txPr>
        <c:crossAx val="1090122288"/>
        <c:crosses val="min"/>
        <c:crossBetween val="midCat"/>
        <c:majorUnit val="500"/>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24009324009324E-3"/>
          <c:y val="7.2608913370055081E-2"/>
          <c:w val="0.98135198135198132"/>
          <c:h val="0.90135202804206305"/>
        </c:manualLayout>
      </c:layout>
      <c:barChart>
        <c:barDir val="col"/>
        <c:grouping val="stacked"/>
        <c:varyColors val="0"/>
        <c:ser>
          <c:idx val="0"/>
          <c:order val="0"/>
          <c:spPr>
            <a:solidFill>
              <a:schemeClr val="accent1"/>
            </a:solidFill>
            <a:ln>
              <a:noFill/>
            </a:ln>
          </c:spPr>
          <c:invertIfNegative val="0"/>
          <c:dLbls>
            <c:dLbl>
              <c:idx val="0"/>
              <c:layout>
                <c:manualLayout>
                  <c:x val="0"/>
                  <c:y val="-0.14271407110665998"/>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F51-40CB-ACB5-F48BCA1D1EB0}"/>
                </c:ext>
              </c:extLst>
            </c:dLbl>
            <c:dLbl>
              <c:idx val="1"/>
              <c:layout>
                <c:manualLayout>
                  <c:x val="0"/>
                  <c:y val="-0.15673510265398097"/>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F51-40CB-ACB5-F48BCA1D1EB0}"/>
                </c:ext>
              </c:extLst>
            </c:dLbl>
            <c:dLbl>
              <c:idx val="2"/>
              <c:layout>
                <c:manualLayout>
                  <c:x val="0"/>
                  <c:y val="-0.1857786680020030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F51-40CB-ACB5-F48BCA1D1EB0}"/>
                </c:ext>
              </c:extLst>
            </c:dLbl>
            <c:dLbl>
              <c:idx val="3"/>
              <c:layout>
                <c:manualLayout>
                  <c:x val="0"/>
                  <c:y val="-0.19028542814221333"/>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F51-40CB-ACB5-F48BCA1D1EB0}"/>
                </c:ext>
              </c:extLst>
            </c:dLbl>
            <c:dLbl>
              <c:idx val="4"/>
              <c:layout>
                <c:manualLayout>
                  <c:x val="0"/>
                  <c:y val="-0.17325988983475213"/>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F51-40CB-ACB5-F48BCA1D1EB0}"/>
                </c:ext>
              </c:extLst>
            </c:dLbl>
            <c:dLbl>
              <c:idx val="5"/>
              <c:layout>
                <c:manualLayout>
                  <c:x val="0"/>
                  <c:y val="-0.13770655983975963"/>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F51-40CB-ACB5-F48BCA1D1EB0}"/>
                </c:ext>
              </c:extLst>
            </c:dLbl>
            <c:dLbl>
              <c:idx val="6"/>
              <c:layout>
                <c:manualLayout>
                  <c:x val="0"/>
                  <c:y val="-0.16124186279419128"/>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F51-40CB-ACB5-F48BCA1D1EB0}"/>
                </c:ext>
              </c:extLst>
            </c:dLbl>
            <c:dLbl>
              <c:idx val="7"/>
              <c:layout>
                <c:manualLayout>
                  <c:x val="0"/>
                  <c:y val="-0.18377566349524285"/>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F51-40CB-ACB5-F48BCA1D1EB0}"/>
                </c:ext>
              </c:extLst>
            </c:dLbl>
            <c:dLbl>
              <c:idx val="8"/>
              <c:layout>
                <c:manualLayout>
                  <c:x val="0"/>
                  <c:y val="-0.21231847771657486"/>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F51-40CB-ACB5-F48BCA1D1EB0}"/>
                </c:ext>
              </c:extLst>
            </c:dLbl>
            <c:dLbl>
              <c:idx val="9"/>
              <c:layout>
                <c:manualLayout>
                  <c:x val="0"/>
                  <c:y val="-0.10365548322483725"/>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F51-40CB-ACB5-F48BCA1D1EB0}"/>
                </c:ext>
              </c:extLst>
            </c:dLbl>
            <c:dLbl>
              <c:idx val="10"/>
              <c:layout>
                <c:manualLayout>
                  <c:x val="0"/>
                  <c:y val="-0.17826740110165248"/>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F51-40CB-ACB5-F48BCA1D1EB0}"/>
                </c:ext>
              </c:extLst>
            </c:dLbl>
            <c:dLbl>
              <c:idx val="11"/>
              <c:layout>
                <c:manualLayout>
                  <c:x val="0"/>
                  <c:y val="-0.2013019529293941"/>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F51-40CB-ACB5-F48BCA1D1EB0}"/>
                </c:ext>
              </c:extLst>
            </c:dLbl>
            <c:dLbl>
              <c:idx val="12"/>
              <c:layout>
                <c:manualLayout>
                  <c:x val="0"/>
                  <c:y val="-0.24636955433149724"/>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F51-40CB-ACB5-F48BCA1D1EB0}"/>
                </c:ext>
              </c:extLst>
            </c:dLbl>
            <c:dLbl>
              <c:idx val="13"/>
              <c:layout>
                <c:manualLayout>
                  <c:x val="0"/>
                  <c:y val="-0.26639959939909863"/>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F51-40CB-ACB5-F48BCA1D1EB0}"/>
                </c:ext>
              </c:extLst>
            </c:dLbl>
            <c:dLbl>
              <c:idx val="14"/>
              <c:layout>
                <c:manualLayout>
                  <c:x val="0"/>
                  <c:y val="-0.31146720080120183"/>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F51-40CB-ACB5-F48BCA1D1EB0}"/>
                </c:ext>
              </c:extLst>
            </c:dLbl>
            <c:dLbl>
              <c:idx val="15"/>
              <c:layout>
                <c:manualLayout>
                  <c:x val="0"/>
                  <c:y val="-0.34952428642964445"/>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F51-40CB-ACB5-F48BCA1D1EB0}"/>
                </c:ext>
              </c:extLst>
            </c:dLbl>
            <c:dLbl>
              <c:idx val="16"/>
              <c:layout>
                <c:manualLayout>
                  <c:x val="0"/>
                  <c:y val="-0.38407611417125687"/>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F51-40CB-ACB5-F48BCA1D1EB0}"/>
                </c:ext>
              </c:extLst>
            </c:dLbl>
            <c:dLbl>
              <c:idx val="17"/>
              <c:layout>
                <c:manualLayout>
                  <c:x val="0"/>
                  <c:y val="-0.37506259389083624"/>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F51-40CB-ACB5-F48BCA1D1EB0}"/>
                </c:ext>
              </c:extLst>
            </c:dLbl>
            <c:dLbl>
              <c:idx val="18"/>
              <c:layout>
                <c:manualLayout>
                  <c:x val="0"/>
                  <c:y val="-0.42964446670005008"/>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F51-40CB-ACB5-F48BCA1D1EB0}"/>
                </c:ext>
              </c:extLst>
            </c:dLbl>
            <c:dLbl>
              <c:idx val="19"/>
              <c:layout>
                <c:manualLayout>
                  <c:x val="0"/>
                  <c:y val="-0.48372558838257385"/>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F51-40CB-ACB5-F48BCA1D1EB0}"/>
                </c:ext>
              </c:extLst>
            </c:dLbl>
            <c:dLbl>
              <c:idx val="20"/>
              <c:layout>
                <c:manualLayout>
                  <c:x val="0"/>
                  <c:y val="-0.4877315973960941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CF51-40CB-ACB5-F48BCA1D1EB0}"/>
                </c:ext>
              </c:extLst>
            </c:dLbl>
            <c:dLbl>
              <c:idx val="21"/>
              <c:layout>
                <c:manualLayout>
                  <c:x val="0"/>
                  <c:y val="-0.38958437656484729"/>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CF51-40CB-ACB5-F48BCA1D1EB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100.39134851999999</c:v>
                </c:pt>
                <c:pt idx="1">
                  <c:v>114.04352844</c:v>
                </c:pt>
                <c:pt idx="2">
                  <c:v>141.54354054000001</c:v>
                </c:pt>
                <c:pt idx="3">
                  <c:v>145.96745553</c:v>
                </c:pt>
                <c:pt idx="4">
                  <c:v>129.56527439999999</c:v>
                </c:pt>
                <c:pt idx="5">
                  <c:v>95.611440619739994</c:v>
                </c:pt>
                <c:pt idx="6">
                  <c:v>118.140251981688</c:v>
                </c:pt>
                <c:pt idx="7">
                  <c:v>139.115333674488</c:v>
                </c:pt>
                <c:pt idx="8">
                  <c:v>166.90239590079</c:v>
                </c:pt>
                <c:pt idx="9">
                  <c:v>63.353572078458001</c:v>
                </c:pt>
                <c:pt idx="10">
                  <c:v>134.20295759999999</c:v>
                </c:pt>
                <c:pt idx="11">
                  <c:v>155.79716999999999</c:v>
                </c:pt>
                <c:pt idx="12">
                  <c:v>199.27545000000001</c:v>
                </c:pt>
                <c:pt idx="13">
                  <c:v>218.380363478622</c:v>
                </c:pt>
                <c:pt idx="14">
                  <c:v>260.98704744294599</c:v>
                </c:pt>
                <c:pt idx="15">
                  <c:v>297.27458659786203</c:v>
                </c:pt>
                <c:pt idx="16">
                  <c:v>330.17060904312001</c:v>
                </c:pt>
                <c:pt idx="17">
                  <c:v>321.37041748987798</c:v>
                </c:pt>
                <c:pt idx="18">
                  <c:v>373.33921064599201</c:v>
                </c:pt>
                <c:pt idx="19">
                  <c:v>424.71033180000001</c:v>
                </c:pt>
                <c:pt idx="20">
                  <c:v>428.623377</c:v>
                </c:pt>
                <c:pt idx="21">
                  <c:v>335.50740111001198</c:v>
                </c:pt>
              </c:numCache>
            </c:numRef>
          </c:val>
          <c:extLst>
            <c:ext xmlns:c16="http://schemas.microsoft.com/office/drawing/2014/chart" uri="{C3380CC4-5D6E-409C-BE32-E72D297353CC}">
              <c16:uniqueId val="{00000016-CF51-40CB-ACB5-F48BCA1D1EB0}"/>
            </c:ext>
          </c:extLst>
        </c:ser>
        <c:dLbls>
          <c:showLegendKey val="0"/>
          <c:showVal val="0"/>
          <c:showCatName val="0"/>
          <c:showSerName val="0"/>
          <c:showPercent val="0"/>
          <c:showBubbleSize val="0"/>
        </c:dLbls>
        <c:gapWidth val="80"/>
        <c:overlap val="100"/>
        <c:axId val="415740159"/>
        <c:axId val="1"/>
      </c:barChart>
      <c:catAx>
        <c:axId val="41574015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28.623377"/>
          <c:min val="0"/>
        </c:scaling>
        <c:delete val="1"/>
        <c:axPos val="l"/>
        <c:numFmt formatCode="General" sourceLinked="1"/>
        <c:majorTickMark val="out"/>
        <c:minorTickMark val="none"/>
        <c:tickLblPos val="nextTo"/>
        <c:crossAx val="415740159"/>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8673395818312902E-2"/>
          <c:y val="3.381194997684113E-2"/>
          <c:w val="0.92195385724585432"/>
          <c:h val="0.93747105141269105"/>
        </c:manualLayout>
      </c:layout>
      <c:barChart>
        <c:barDir val="col"/>
        <c:grouping val="stacked"/>
        <c:varyColors val="0"/>
        <c:ser>
          <c:idx val="0"/>
          <c:order val="0"/>
          <c:spPr>
            <a:solidFill>
              <a:srgbClr val="1F497D"/>
            </a:solidFill>
            <a:ln w="9525" algn="ctr">
              <a:solidFill>
                <a:srgbClr val="808080"/>
              </a:solidFill>
              <a:prstDash val="solid"/>
            </a:ln>
          </c:spPr>
          <c:invertIfNegative val="0"/>
          <c:dLbls>
            <c:dLbl>
              <c:idx val="0"/>
              <c:layout>
                <c:manualLayout>
                  <c:x val="0"/>
                  <c:y val="-0.1773969430291801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AC6-4DB1-A837-0A64B5BB8140}"/>
                </c:ext>
              </c:extLst>
            </c:dLbl>
            <c:dLbl>
              <c:idx val="1"/>
              <c:layout>
                <c:manualLayout>
                  <c:x val="0"/>
                  <c:y val="-0.168133395090319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AC6-4DB1-A837-0A64B5BB8140}"/>
                </c:ext>
              </c:extLst>
            </c:dLbl>
            <c:dLbl>
              <c:idx val="2"/>
              <c:layout>
                <c:manualLayout>
                  <c:x val="0"/>
                  <c:y val="-0.182028716998610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AC6-4DB1-A837-0A64B5BB8140}"/>
                </c:ext>
              </c:extLst>
            </c:dLbl>
            <c:dLbl>
              <c:idx val="3"/>
              <c:layout>
                <c:manualLayout>
                  <c:x val="0"/>
                  <c:y val="-0.2005558128763316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AC6-4DB1-A837-0A64B5BB8140}"/>
                </c:ext>
              </c:extLst>
            </c:dLbl>
            <c:dLbl>
              <c:idx val="4"/>
              <c:layout>
                <c:manualLayout>
                  <c:x val="0"/>
                  <c:y val="-0.1940713293191292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AC6-4DB1-A837-0A64B5BB8140}"/>
                </c:ext>
              </c:extLst>
            </c:dLbl>
            <c:dLbl>
              <c:idx val="5"/>
              <c:layout>
                <c:manualLayout>
                  <c:x val="0"/>
                  <c:y val="-0.1996294580824455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AC6-4DB1-A837-0A64B5BB8140}"/>
                </c:ext>
              </c:extLst>
            </c:dLbl>
            <c:dLbl>
              <c:idx val="6"/>
              <c:layout>
                <c:manualLayout>
                  <c:x val="0"/>
                  <c:y val="-0.2088930060213061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AC6-4DB1-A837-0A64B5BB8140}"/>
                </c:ext>
              </c:extLst>
            </c:dLbl>
            <c:dLbl>
              <c:idx val="7"/>
              <c:layout>
                <c:manualLayout>
                  <c:x val="0"/>
                  <c:y val="-0.2186197313571097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AC6-4DB1-A837-0A64B5BB8140}"/>
                </c:ext>
              </c:extLst>
            </c:dLbl>
            <c:dLbl>
              <c:idx val="8"/>
              <c:layout>
                <c:manualLayout>
                  <c:x val="0"/>
                  <c:y val="-0.2459471977767485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AC6-4DB1-A837-0A64B5BB8140}"/>
                </c:ext>
              </c:extLst>
            </c:dLbl>
            <c:dLbl>
              <c:idx val="9"/>
              <c:layout>
                <c:manualLayout>
                  <c:x val="0"/>
                  <c:y val="-0.2598425196850393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AC6-4DB1-A837-0A64B5BB8140}"/>
                </c:ext>
              </c:extLst>
            </c:dLbl>
            <c:dLbl>
              <c:idx val="10"/>
              <c:layout>
                <c:manualLayout>
                  <c:x val="0"/>
                  <c:y val="-0.2783696155627605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AC6-4DB1-A837-0A64B5BB8140}"/>
                </c:ext>
              </c:extLst>
            </c:dLbl>
            <c:dLbl>
              <c:idx val="11"/>
              <c:layout>
                <c:manualLayout>
                  <c:x val="0"/>
                  <c:y val="-0.2904122278832793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AC6-4DB1-A837-0A64B5BB8140}"/>
                </c:ext>
              </c:extLst>
            </c:dLbl>
            <c:dLbl>
              <c:idx val="12"/>
              <c:layout>
                <c:manualLayout>
                  <c:x val="0"/>
                  <c:y val="-0.3168133395090319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AC6-4DB1-A837-0A64B5BB8140}"/>
                </c:ext>
              </c:extLst>
            </c:dLbl>
            <c:dLbl>
              <c:idx val="13"/>
              <c:layout>
                <c:manualLayout>
                  <c:x val="0"/>
                  <c:y val="-0.3631310792033348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AC6-4DB1-A837-0A64B5BB8140}"/>
                </c:ext>
              </c:extLst>
            </c:dLbl>
            <c:dLbl>
              <c:idx val="14"/>
              <c:layout>
                <c:manualLayout>
                  <c:x val="0"/>
                  <c:y val="-0.3937007874015748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AC6-4DB1-A837-0A64B5BB8140}"/>
                </c:ext>
              </c:extLst>
            </c:dLbl>
            <c:dLbl>
              <c:idx val="15"/>
              <c:layout>
                <c:manualLayout>
                  <c:x val="0"/>
                  <c:y val="-0.4344603983325613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AC6-4DB1-A837-0A64B5BB8140}"/>
                </c:ext>
              </c:extLst>
            </c:dLbl>
            <c:dLbl>
              <c:idx val="16"/>
              <c:layout>
                <c:manualLayout>
                  <c:x val="0"/>
                  <c:y val="-0.4687355257063455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AC6-4DB1-A837-0A64B5BB8140}"/>
                </c:ext>
              </c:extLst>
            </c:dLbl>
            <c:dLbl>
              <c:idx val="17"/>
              <c:layout>
                <c:manualLayout>
                  <c:x val="0"/>
                  <c:y val="-0.4863362667901806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AC6-4DB1-A837-0A64B5BB8140}"/>
                </c:ext>
              </c:extLst>
            </c:dLbl>
            <c:dLbl>
              <c:idx val="18"/>
              <c:layout>
                <c:manualLayout>
                  <c:x val="0"/>
                  <c:y val="-0.4715145900880037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AC6-4DB1-A837-0A64B5BB8140}"/>
                </c:ext>
              </c:extLst>
            </c:dLbl>
            <c:dLbl>
              <c:idx val="19"/>
              <c:layout>
                <c:manualLayout>
                  <c:x val="0"/>
                  <c:y val="-0.4770727188513200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9AC6-4DB1-A837-0A64B5BB814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T$1</c:f>
              <c:numCache>
                <c:formatCode>General</c:formatCode>
                <c:ptCount val="20"/>
                <c:pt idx="0">
                  <c:v>5039.7823270621666</c:v>
                </c:pt>
                <c:pt idx="1">
                  <c:v>4717.0137640690455</c:v>
                </c:pt>
                <c:pt idx="2">
                  <c:v>5204.5018218616206</c:v>
                </c:pt>
                <c:pt idx="3">
                  <c:v>5843.2055167371245</c:v>
                </c:pt>
                <c:pt idx="4">
                  <c:v>5604.3119893130379</c:v>
                </c:pt>
                <c:pt idx="5">
                  <c:v>5794.196420848154</c:v>
                </c:pt>
                <c:pt idx="6">
                  <c:v>6109.9671982601149</c:v>
                </c:pt>
                <c:pt idx="7">
                  <c:v>6440.4665644873412</c:v>
                </c:pt>
                <c:pt idx="8">
                  <c:v>7387.1616246827252</c:v>
                </c:pt>
                <c:pt idx="9">
                  <c:v>7867.55643650396</c:v>
                </c:pt>
                <c:pt idx="10">
                  <c:v>8491.0145413918999</c:v>
                </c:pt>
                <c:pt idx="11">
                  <c:v>8903.0973889194902</c:v>
                </c:pt>
                <c:pt idx="12">
                  <c:v>9800.6826557334207</c:v>
                </c:pt>
                <c:pt idx="13">
                  <c:v>11379.483790948914</c:v>
                </c:pt>
                <c:pt idx="14">
                  <c:v>12424.249764396338</c:v>
                </c:pt>
                <c:pt idx="15">
                  <c:v>13817.312812398141</c:v>
                </c:pt>
                <c:pt idx="16">
                  <c:v>14998.656678982808</c:v>
                </c:pt>
                <c:pt idx="17">
                  <c:v>15577.590267884154</c:v>
                </c:pt>
                <c:pt idx="18">
                  <c:v>15091.857695402219</c:v>
                </c:pt>
                <c:pt idx="19">
                  <c:v>15281.158420101054</c:v>
                </c:pt>
              </c:numCache>
            </c:numRef>
          </c:val>
          <c:extLst>
            <c:ext xmlns:c16="http://schemas.microsoft.com/office/drawing/2014/chart" uri="{C3380CC4-5D6E-409C-BE32-E72D297353CC}">
              <c16:uniqueId val="{00000014-9AC6-4DB1-A837-0A64B5BB8140}"/>
            </c:ext>
          </c:extLst>
        </c:ser>
        <c:dLbls>
          <c:showLegendKey val="0"/>
          <c:showVal val="0"/>
          <c:showCatName val="0"/>
          <c:showSerName val="0"/>
          <c:showPercent val="0"/>
          <c:showBubbleSize val="0"/>
        </c:dLbls>
        <c:gapWidth val="60"/>
        <c:overlap val="100"/>
        <c:axId val="302253440"/>
        <c:axId val="1"/>
      </c:barChart>
      <c:catAx>
        <c:axId val="30225344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6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02253440"/>
        <c:crosses val="min"/>
        <c:crossBetween val="between"/>
        <c:majorUnit val="100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774729984570547E-2"/>
          <c:y val="0.11753731343283583"/>
          <c:w val="0.9333104748842791"/>
          <c:h val="0.82462686567164178"/>
        </c:manualLayout>
      </c:layout>
      <c:barChart>
        <c:barDir val="col"/>
        <c:grouping val="stacked"/>
        <c:varyColors val="0"/>
        <c:ser>
          <c:idx val="0"/>
          <c:order val="0"/>
          <c:spPr>
            <a:solidFill>
              <a:srgbClr val="1F497D"/>
            </a:solidFill>
            <a:ln w="9525" algn="ctr">
              <a:solidFill>
                <a:srgbClr val="808080"/>
              </a:solidFill>
              <a:prstDash val="solid"/>
            </a:ln>
          </c:spPr>
          <c:invertIfNegative val="0"/>
          <c:dLbls>
            <c:dLbl>
              <c:idx val="24"/>
              <c:layout>
                <c:manualLayout>
                  <c:x val="0"/>
                  <c:y val="0"/>
                </c:manualLayout>
              </c:layout>
              <c:numFmt formatCode="#,##0.0;&quot;-&quot;#,##0.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BDA-4D6F-9D28-113425D83B8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19.080000000000002</c:v>
                </c:pt>
                <c:pt idx="1">
                  <c:v>18.920000000000002</c:v>
                </c:pt>
                <c:pt idx="2">
                  <c:v>18.818118188181181</c:v>
                </c:pt>
                <c:pt idx="3">
                  <c:v>18.52</c:v>
                </c:pt>
                <c:pt idx="4">
                  <c:v>18.008199180081991</c:v>
                </c:pt>
                <c:pt idx="5">
                  <c:v>17.43</c:v>
                </c:pt>
                <c:pt idx="6">
                  <c:v>16.940000000000001</c:v>
                </c:pt>
                <c:pt idx="7">
                  <c:v>16.418358164183584</c:v>
                </c:pt>
                <c:pt idx="8">
                  <c:v>15.740000000000002</c:v>
                </c:pt>
                <c:pt idx="9">
                  <c:v>14.93</c:v>
                </c:pt>
                <c:pt idx="10">
                  <c:v>14.250000000000002</c:v>
                </c:pt>
                <c:pt idx="11">
                  <c:v>13.95</c:v>
                </c:pt>
                <c:pt idx="12">
                  <c:v>13.8</c:v>
                </c:pt>
                <c:pt idx="13">
                  <c:v>13.528647135286469</c:v>
                </c:pt>
                <c:pt idx="14">
                  <c:v>13.12868713128687</c:v>
                </c:pt>
                <c:pt idx="15">
                  <c:v>12.711271127112711</c:v>
                </c:pt>
                <c:pt idx="16">
                  <c:v>12.441244124412441</c:v>
                </c:pt>
                <c:pt idx="17">
                  <c:v>12.29</c:v>
                </c:pt>
                <c:pt idx="18">
                  <c:v>12.21</c:v>
                </c:pt>
                <c:pt idx="19">
                  <c:v>12.208779122087792</c:v>
                </c:pt>
                <c:pt idx="20">
                  <c:v>12.15121512151215</c:v>
                </c:pt>
                <c:pt idx="21">
                  <c:v>11.990000000000002</c:v>
                </c:pt>
                <c:pt idx="22">
                  <c:v>11.204157078049182</c:v>
                </c:pt>
                <c:pt idx="23">
                  <c:v>10.039999999999999</c:v>
                </c:pt>
                <c:pt idx="24">
                  <c:v>9.51</c:v>
                </c:pt>
              </c:numCache>
            </c:numRef>
          </c:val>
          <c:extLst>
            <c:ext xmlns:c16="http://schemas.microsoft.com/office/drawing/2014/chart" uri="{C3380CC4-5D6E-409C-BE32-E72D297353CC}">
              <c16:uniqueId val="{00000001-DBDA-4D6F-9D28-113425D83B80}"/>
            </c:ext>
          </c:extLst>
        </c:ser>
        <c:ser>
          <c:idx val="1"/>
          <c:order val="1"/>
          <c:spPr>
            <a:solidFill>
              <a:srgbClr val="80CCE8"/>
            </a:solidFill>
            <a:ln w="9525" algn="ctr">
              <a:solidFill>
                <a:srgbClr val="808080"/>
              </a:solidFill>
              <a:prstDash val="solid"/>
            </a:ln>
          </c:spPr>
          <c:invertIfNegative val="0"/>
          <c:val>
            <c:numRef>
              <c:f>Sheet1!$A$2:$Y$2</c:f>
              <c:numCache>
                <c:formatCode>General</c:formatCode>
                <c:ptCount val="25"/>
                <c:pt idx="0">
                  <c:v>74.599999999999994</c:v>
                </c:pt>
                <c:pt idx="1">
                  <c:v>74.569999999999993</c:v>
                </c:pt>
                <c:pt idx="2">
                  <c:v>74.472552744725547</c:v>
                </c:pt>
                <c:pt idx="3">
                  <c:v>74.62</c:v>
                </c:pt>
                <c:pt idx="4">
                  <c:v>75.032496750324967</c:v>
                </c:pt>
                <c:pt idx="5">
                  <c:v>75.569999999999993</c:v>
                </c:pt>
                <c:pt idx="6">
                  <c:v>76.06</c:v>
                </c:pt>
                <c:pt idx="7">
                  <c:v>76.59234076592341</c:v>
                </c:pt>
                <c:pt idx="8">
                  <c:v>77.28</c:v>
                </c:pt>
                <c:pt idx="9">
                  <c:v>78.05</c:v>
                </c:pt>
                <c:pt idx="10">
                  <c:v>78.549999999999983</c:v>
                </c:pt>
                <c:pt idx="11">
                  <c:v>78.53</c:v>
                </c:pt>
                <c:pt idx="12">
                  <c:v>78.33</c:v>
                </c:pt>
                <c:pt idx="13">
                  <c:v>78.272172782721711</c:v>
                </c:pt>
                <c:pt idx="14">
                  <c:v>78.362163783621625</c:v>
                </c:pt>
                <c:pt idx="15">
                  <c:v>78.367836783678356</c:v>
                </c:pt>
                <c:pt idx="16">
                  <c:v>77.997799779977996</c:v>
                </c:pt>
                <c:pt idx="17">
                  <c:v>77.33</c:v>
                </c:pt>
                <c:pt idx="18">
                  <c:v>76.53</c:v>
                </c:pt>
                <c:pt idx="19">
                  <c:v>75.5924407559244</c:v>
                </c:pt>
                <c:pt idx="20">
                  <c:v>74.69746974697469</c:v>
                </c:pt>
                <c:pt idx="21">
                  <c:v>73.88000000000001</c:v>
                </c:pt>
                <c:pt idx="22">
                  <c:v>66.030770215071612</c:v>
                </c:pt>
                <c:pt idx="23">
                  <c:v>60.20000000000001</c:v>
                </c:pt>
                <c:pt idx="24">
                  <c:v>56.239999999999988</c:v>
                </c:pt>
              </c:numCache>
            </c:numRef>
          </c:val>
          <c:extLst>
            <c:ext xmlns:c16="http://schemas.microsoft.com/office/drawing/2014/chart" uri="{C3380CC4-5D6E-409C-BE32-E72D297353CC}">
              <c16:uniqueId val="{00000002-DBDA-4D6F-9D28-113425D83B80}"/>
            </c:ext>
          </c:extLst>
        </c:ser>
        <c:ser>
          <c:idx val="2"/>
          <c:order val="2"/>
          <c:spPr>
            <a:solidFill>
              <a:srgbClr val="C0E6F4"/>
            </a:solidFill>
            <a:ln w="9525" algn="ctr">
              <a:solidFill>
                <a:srgbClr val="808080"/>
              </a:solidFill>
              <a:prstDash val="solid"/>
            </a:ln>
          </c:spPr>
          <c:invertIfNegative val="0"/>
          <c:dLbls>
            <c:dLbl>
              <c:idx val="0"/>
              <c:layout>
                <c:manualLayout>
                  <c:x val="0"/>
                  <c:y val="-8.5820895522388058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BDA-4D6F-9D28-113425D83B80}"/>
                </c:ext>
              </c:extLst>
            </c:dLbl>
            <c:dLbl>
              <c:idx val="1"/>
              <c:layout>
                <c:manualLayout>
                  <c:x val="0"/>
                  <c:y val="-8.6753731343283583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BDA-4D6F-9D28-113425D83B80}"/>
                </c:ext>
              </c:extLst>
            </c:dLbl>
            <c:dLbl>
              <c:idx val="2"/>
              <c:layout>
                <c:manualLayout>
                  <c:x val="0"/>
                  <c:y val="-8.6753731343283583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BDA-4D6F-9D28-113425D83B80}"/>
                </c:ext>
              </c:extLst>
            </c:dLbl>
            <c:dLbl>
              <c:idx val="3"/>
              <c:layout>
                <c:manualLayout>
                  <c:x val="0"/>
                  <c:y val="-8.7686567164179108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BDA-4D6F-9D28-113425D83B80}"/>
                </c:ext>
              </c:extLst>
            </c:dLbl>
            <c:dLbl>
              <c:idx val="4"/>
              <c:layout>
                <c:manualLayout>
                  <c:x val="0"/>
                  <c:y val="-8.8619402985074633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BDA-4D6F-9D28-113425D83B80}"/>
                </c:ext>
              </c:extLst>
            </c:dLbl>
            <c:dLbl>
              <c:idx val="5"/>
              <c:layout>
                <c:manualLayout>
                  <c:x val="0"/>
                  <c:y val="-8.8619402985074633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BDA-4D6F-9D28-113425D83B80}"/>
                </c:ext>
              </c:extLst>
            </c:dLbl>
            <c:dLbl>
              <c:idx val="6"/>
              <c:layout>
                <c:manualLayout>
                  <c:x val="0"/>
                  <c:y val="-8.8619402985074633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BDA-4D6F-9D28-113425D83B80}"/>
                </c:ext>
              </c:extLst>
            </c:dLbl>
            <c:dLbl>
              <c:idx val="7"/>
              <c:layout>
                <c:manualLayout>
                  <c:x val="0"/>
                  <c:y val="-8.8619402985074633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BDA-4D6F-9D28-113425D83B80}"/>
                </c:ext>
              </c:extLst>
            </c:dLbl>
            <c:dLbl>
              <c:idx val="8"/>
              <c:layout>
                <c:manualLayout>
                  <c:x val="0"/>
                  <c:y val="-8.8619402985074633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BDA-4D6F-9D28-113425D83B80}"/>
                </c:ext>
              </c:extLst>
            </c:dLbl>
            <c:dLbl>
              <c:idx val="9"/>
              <c:layout>
                <c:manualLayout>
                  <c:x val="0"/>
                  <c:y val="-8.8619402985074633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BDA-4D6F-9D28-113425D83B80}"/>
                </c:ext>
              </c:extLst>
            </c:dLbl>
            <c:dLbl>
              <c:idx val="10"/>
              <c:layout>
                <c:manualLayout>
                  <c:x val="0"/>
                  <c:y val="-8.9552238805970144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BDA-4D6F-9D28-113425D83B80}"/>
                </c:ext>
              </c:extLst>
            </c:dLbl>
            <c:dLbl>
              <c:idx val="11"/>
              <c:layout>
                <c:manualLayout>
                  <c:x val="0"/>
                  <c:y val="-9.0485074626865669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BDA-4D6F-9D28-113425D83B80}"/>
                </c:ext>
              </c:extLst>
            </c:dLbl>
            <c:dLbl>
              <c:idx val="12"/>
              <c:layout>
                <c:manualLayout>
                  <c:x val="0"/>
                  <c:y val="-9.2350746268656719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BDA-4D6F-9D28-113425D83B80}"/>
                </c:ext>
              </c:extLst>
            </c:dLbl>
            <c:dLbl>
              <c:idx val="13"/>
              <c:layout>
                <c:manualLayout>
                  <c:x val="0"/>
                  <c:y val="-9.3283582089552244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BDA-4D6F-9D28-113425D83B80}"/>
                </c:ext>
              </c:extLst>
            </c:dLbl>
            <c:dLbl>
              <c:idx val="14"/>
              <c:layout>
                <c:manualLayout>
                  <c:x val="0"/>
                  <c:y val="-9.4216417910447756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BDA-4D6F-9D28-113425D83B80}"/>
                </c:ext>
              </c:extLst>
            </c:dLbl>
            <c:dLbl>
              <c:idx val="15"/>
              <c:layout>
                <c:manualLayout>
                  <c:x val="0"/>
                  <c:y val="-9.608208955223880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DBDA-4D6F-9D28-113425D83B80}"/>
                </c:ext>
              </c:extLst>
            </c:dLbl>
            <c:dLbl>
              <c:idx val="16"/>
              <c:layout>
                <c:manualLayout>
                  <c:x val="0"/>
                  <c:y val="0"/>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DBDA-4D6F-9D28-113425D83B80}"/>
                </c:ext>
              </c:extLst>
            </c:dLbl>
            <c:dLbl>
              <c:idx val="17"/>
              <c:layout>
                <c:manualLayout>
                  <c:x val="0"/>
                  <c:y val="-0.10261194029850747"/>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DBDA-4D6F-9D28-113425D83B80}"/>
                </c:ext>
              </c:extLst>
            </c:dLbl>
            <c:dLbl>
              <c:idx val="18"/>
              <c:layout>
                <c:manualLayout>
                  <c:x val="0"/>
                  <c:y val="-0.10634328358208955"/>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DBDA-4D6F-9D28-113425D83B8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Y$3</c:f>
              <c:numCache>
                <c:formatCode>General</c:formatCode>
                <c:ptCount val="25"/>
                <c:pt idx="0">
                  <c:v>6.3199999999999923</c:v>
                </c:pt>
                <c:pt idx="1">
                  <c:v>6.5100000000000051</c:v>
                </c:pt>
                <c:pt idx="2">
                  <c:v>6.7093290670932948</c:v>
                </c:pt>
                <c:pt idx="3">
                  <c:v>6.8600000000000101</c:v>
                </c:pt>
                <c:pt idx="4">
                  <c:v>6.9593040695930419</c:v>
                </c:pt>
                <c:pt idx="5">
                  <c:v>7.0000000000000062</c:v>
                </c:pt>
                <c:pt idx="6">
                  <c:v>6.9999999999999947</c:v>
                </c:pt>
                <c:pt idx="7">
                  <c:v>6.9893010698930169</c:v>
                </c:pt>
                <c:pt idx="8">
                  <c:v>6.9799999999999969</c:v>
                </c:pt>
                <c:pt idx="9">
                  <c:v>7.020000000000004</c:v>
                </c:pt>
                <c:pt idx="10">
                  <c:v>7.2000000000000064</c:v>
                </c:pt>
                <c:pt idx="11">
                  <c:v>7.5200000000000049</c:v>
                </c:pt>
                <c:pt idx="12">
                  <c:v>7.8699999999999992</c:v>
                </c:pt>
                <c:pt idx="13">
                  <c:v>8.1991800819917966</c:v>
                </c:pt>
                <c:pt idx="14">
                  <c:v>8.5091490850914937</c:v>
                </c:pt>
                <c:pt idx="15">
                  <c:v>8.9208920892089196</c:v>
                </c:pt>
                <c:pt idx="16">
                  <c:v>9.5609560956095621</c:v>
                </c:pt>
                <c:pt idx="17">
                  <c:v>10.38</c:v>
                </c:pt>
                <c:pt idx="18">
                  <c:v>11.260000000000003</c:v>
                </c:pt>
                <c:pt idx="19">
                  <c:v>12.198780121987806</c:v>
                </c:pt>
                <c:pt idx="20">
                  <c:v>13.151315131513153</c:v>
                </c:pt>
                <c:pt idx="21">
                  <c:v>14.13000000000001</c:v>
                </c:pt>
                <c:pt idx="22">
                  <c:v>22.765072706879209</c:v>
                </c:pt>
                <c:pt idx="23">
                  <c:v>29.760000000000009</c:v>
                </c:pt>
                <c:pt idx="24">
                  <c:v>34.249999999999993</c:v>
                </c:pt>
              </c:numCache>
            </c:numRef>
          </c:val>
          <c:extLst>
            <c:ext xmlns:c16="http://schemas.microsoft.com/office/drawing/2014/chart" uri="{C3380CC4-5D6E-409C-BE32-E72D297353CC}">
              <c16:uniqueId val="{00000016-DBDA-4D6F-9D28-113425D83B80}"/>
            </c:ext>
          </c:extLst>
        </c:ser>
        <c:dLbls>
          <c:showLegendKey val="0"/>
          <c:showVal val="0"/>
          <c:showCatName val="0"/>
          <c:showSerName val="0"/>
          <c:showPercent val="0"/>
          <c:showBubbleSize val="0"/>
        </c:dLbls>
        <c:gapWidth val="60"/>
        <c:overlap val="100"/>
        <c:axId val="783125568"/>
        <c:axId val="1"/>
      </c:barChart>
      <c:catAx>
        <c:axId val="78312556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783125568"/>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425276920283279E-3"/>
          <c:y val="2.3255813953488372E-2"/>
          <c:w val="0.9811149446159434"/>
          <c:h val="0.95348837209302328"/>
        </c:manualLayout>
      </c:layout>
      <c:barChart>
        <c:barDir val="col"/>
        <c:grouping val="stacked"/>
        <c:varyColors val="0"/>
        <c:ser>
          <c:idx val="0"/>
          <c:order val="0"/>
          <c:spPr>
            <a:solidFill>
              <a:srgbClr val="1F497D"/>
            </a:solidFill>
            <a:ln w="9525" algn="ctr">
              <a:solidFill>
                <a:srgbClr val="808080"/>
              </a:solidFill>
              <a:prstDash val="solid"/>
            </a:ln>
          </c:spPr>
          <c:invertIfNegative val="0"/>
          <c:dPt>
            <c:idx val="1"/>
            <c:invertIfNegative val="0"/>
            <c:bubble3D val="0"/>
            <c:spPr>
              <a:solidFill>
                <a:srgbClr val="1F497D"/>
              </a:solidFill>
              <a:ln w="9525" algn="ctr">
                <a:solidFill>
                  <a:srgbClr val="1F497D"/>
                </a:solidFill>
                <a:prstDash val="solid"/>
              </a:ln>
            </c:spPr>
            <c:extLst>
              <c:ext xmlns:c16="http://schemas.microsoft.com/office/drawing/2014/chart" uri="{C3380CC4-5D6E-409C-BE32-E72D297353CC}">
                <c16:uniqueId val="{00000000-B31C-4824-87AA-83FBBBB59DC2}"/>
              </c:ext>
            </c:extLst>
          </c:dPt>
          <c:dPt>
            <c:idx val="3"/>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1-B31C-4824-87AA-83FBBBB59DC2}"/>
              </c:ext>
            </c:extLst>
          </c:dPt>
          <c:val>
            <c:numRef>
              <c:f>Sheet1!$A$1:$D$1</c:f>
              <c:numCache>
                <c:formatCode>General</c:formatCode>
                <c:ptCount val="4"/>
                <c:pt idx="0">
                  <c:v>1583</c:v>
                </c:pt>
                <c:pt idx="1">
                  <c:v>1949</c:v>
                </c:pt>
                <c:pt idx="2">
                  <c:v>2688</c:v>
                </c:pt>
                <c:pt idx="3">
                  <c:v>3448</c:v>
                </c:pt>
              </c:numCache>
            </c:numRef>
          </c:val>
          <c:extLst>
            <c:ext xmlns:c16="http://schemas.microsoft.com/office/drawing/2014/chart" uri="{C3380CC4-5D6E-409C-BE32-E72D297353CC}">
              <c16:uniqueId val="{00000002-B31C-4824-87AA-83FBBBB59DC2}"/>
            </c:ext>
          </c:extLst>
        </c:ser>
        <c:dLbls>
          <c:showLegendKey val="0"/>
          <c:showVal val="0"/>
          <c:showCatName val="0"/>
          <c:showSerName val="0"/>
          <c:showPercent val="0"/>
          <c:showBubbleSize val="0"/>
        </c:dLbls>
        <c:gapWidth val="60"/>
        <c:overlap val="100"/>
        <c:axId val="863758096"/>
        <c:axId val="1"/>
      </c:barChart>
      <c:catAx>
        <c:axId val="86375809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5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863758096"/>
        <c:crosses val="min"/>
        <c:crossBetween val="between"/>
        <c:majorUnit val="500"/>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456491520711705E-2"/>
          <c:y val="2.5316455696202531E-2"/>
          <c:w val="0.97108701695857658"/>
          <c:h val="0.94936708860759489"/>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E$1</c:f>
              <c:numCache>
                <c:formatCode>General</c:formatCode>
                <c:ptCount val="5"/>
                <c:pt idx="0">
                  <c:v>6479550639</c:v>
                </c:pt>
                <c:pt idx="1">
                  <c:v>6919138545</c:v>
                </c:pt>
                <c:pt idx="2">
                  <c:v>7817050317</c:v>
                </c:pt>
                <c:pt idx="3">
                  <c:v>7988879127</c:v>
                </c:pt>
                <c:pt idx="4">
                  <c:v>8252002486</c:v>
                </c:pt>
              </c:numCache>
            </c:numRef>
          </c:val>
          <c:extLst>
            <c:ext xmlns:c16="http://schemas.microsoft.com/office/drawing/2014/chart" uri="{C3380CC4-5D6E-409C-BE32-E72D297353CC}">
              <c16:uniqueId val="{00000000-7E4C-41FD-AF44-CEB8D82F9C4E}"/>
            </c:ext>
          </c:extLst>
        </c:ser>
        <c:ser>
          <c:idx val="1"/>
          <c:order val="1"/>
          <c:spPr>
            <a:solidFill>
              <a:srgbClr val="C0E6F4"/>
            </a:solidFill>
            <a:ln w="9525" algn="ctr">
              <a:solidFill>
                <a:srgbClr val="808080"/>
              </a:solidFill>
              <a:prstDash val="solid"/>
            </a:ln>
          </c:spPr>
          <c:invertIfNegative val="0"/>
          <c:val>
            <c:numRef>
              <c:f>Sheet1!$A$2:$E$2</c:f>
              <c:numCache>
                <c:formatCode>General</c:formatCode>
                <c:ptCount val="5"/>
                <c:pt idx="0">
                  <c:v>3512509053</c:v>
                </c:pt>
                <c:pt idx="1">
                  <c:v>3773114190</c:v>
                </c:pt>
                <c:pt idx="2">
                  <c:v>3922131498</c:v>
                </c:pt>
                <c:pt idx="3">
                  <c:v>4063890901</c:v>
                </c:pt>
                <c:pt idx="4">
                  <c:v>4097151211</c:v>
                </c:pt>
              </c:numCache>
            </c:numRef>
          </c:val>
          <c:extLst>
            <c:ext xmlns:c16="http://schemas.microsoft.com/office/drawing/2014/chart" uri="{C3380CC4-5D6E-409C-BE32-E72D297353CC}">
              <c16:uniqueId val="{00000001-7E4C-41FD-AF44-CEB8D82F9C4E}"/>
            </c:ext>
          </c:extLst>
        </c:ser>
        <c:dLbls>
          <c:showLegendKey val="0"/>
          <c:showVal val="0"/>
          <c:showCatName val="0"/>
          <c:showSerName val="0"/>
          <c:showPercent val="0"/>
          <c:showBubbleSize val="0"/>
        </c:dLbls>
        <c:gapWidth val="60"/>
        <c:axId val="2027634512"/>
        <c:axId val="1"/>
      </c:barChart>
      <c:catAx>
        <c:axId val="202763451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9000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2027634512"/>
        <c:crosses val="min"/>
        <c:crossBetween val="between"/>
        <c:majorUnit val="1000000000"/>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3.303684879288437E-2"/>
          <c:w val="0.93392630241423125"/>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63F3-4C4B-8400-22839C02B2BC}"/>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63F3-4C4B-8400-22839C02B2BC}"/>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63F3-4C4B-8400-22839C02B2BC}"/>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3-63F3-4C4B-8400-22839C02B2BC}"/>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4-63F3-4C4B-8400-22839C02B2BC}"/>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5-63F3-4C4B-8400-22839C02B2BC}"/>
              </c:ext>
            </c:extLst>
          </c:dPt>
          <c:dPt>
            <c:idx val="6"/>
            <c:bubble3D val="0"/>
            <c:spPr>
              <a:solidFill>
                <a:schemeClr val="tx2"/>
              </a:solidFill>
              <a:ln w="9525" algn="ctr">
                <a:solidFill>
                  <a:srgbClr val="808080"/>
                </a:solidFill>
                <a:prstDash val="solid"/>
              </a:ln>
            </c:spPr>
            <c:extLst>
              <c:ext xmlns:c16="http://schemas.microsoft.com/office/drawing/2014/chart" uri="{C3380CC4-5D6E-409C-BE32-E72D297353CC}">
                <c16:uniqueId val="{00000006-63F3-4C4B-8400-22839C02B2BC}"/>
              </c:ext>
            </c:extLst>
          </c:dPt>
          <c:dLbls>
            <c:dLbl>
              <c:idx val="0"/>
              <c:layout>
                <c:manualLayout>
                  <c:x val="0.13151207115628971"/>
                  <c:y val="-0.10355781448538755"/>
                </c:manualLayout>
              </c:layout>
              <c:numFmt formatCode="#,##0&quot;%&quot;;&quot;-&quot;#,##0&quot;%&quot;"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3F3-4C4B-8400-22839C02B2BC}"/>
                </c:ext>
              </c:extLst>
            </c:dLbl>
            <c:dLbl>
              <c:idx val="1"/>
              <c:layout>
                <c:manualLayout>
                  <c:x val="0.13214739517153748"/>
                  <c:y val="0.10228716645489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3F3-4C4B-8400-22839C02B2BC}"/>
                </c:ext>
              </c:extLst>
            </c:dLbl>
            <c:dLbl>
              <c:idx val="2"/>
              <c:layout>
                <c:manualLayout>
                  <c:x val="3.0495552731893267E-2"/>
                  <c:y val="0.18297331639135958"/>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3F3-4C4B-8400-22839C02B2BC}"/>
                </c:ext>
              </c:extLst>
            </c:dLbl>
            <c:dLbl>
              <c:idx val="3"/>
              <c:layout>
                <c:manualLayout>
                  <c:x val="-7.1791613722998734E-2"/>
                  <c:y val="0.1683608640406607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3F3-4C4B-8400-22839C02B2BC}"/>
                </c:ext>
              </c:extLst>
            </c:dLbl>
            <c:dLbl>
              <c:idx val="4"/>
              <c:layout>
                <c:manualLayout>
                  <c:x val="-0.13151207115628971"/>
                  <c:y val="0.1207115628970775"/>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3F3-4C4B-8400-22839C02B2BC}"/>
                </c:ext>
              </c:extLst>
            </c:dLbl>
            <c:dLbl>
              <c:idx val="5"/>
              <c:layout>
                <c:manualLayout>
                  <c:x val="-0.16899618805590852"/>
                  <c:y val="6.480304955527319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3F3-4C4B-8400-22839C02B2BC}"/>
                </c:ext>
              </c:extLst>
            </c:dLbl>
            <c:dLbl>
              <c:idx val="6"/>
              <c:layout>
                <c:manualLayout>
                  <c:x val="-0.12897077509529861"/>
                  <c:y val="-0.10736975857687421"/>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3F3-4C4B-8400-22839C02B2B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7</c:f>
              <c:numCache>
                <c:formatCode>General</c:formatCode>
                <c:ptCount val="7"/>
                <c:pt idx="0">
                  <c:v>28.806321692429606</c:v>
                </c:pt>
                <c:pt idx="1">
                  <c:v>13.248615024707458</c:v>
                </c:pt>
                <c:pt idx="2">
                  <c:v>10.53741583778783</c:v>
                </c:pt>
                <c:pt idx="3">
                  <c:v>7.6164530737004839</c:v>
                </c:pt>
                <c:pt idx="4">
                  <c:v>6.0002433013882701</c:v>
                </c:pt>
                <c:pt idx="5">
                  <c:v>5.9030576982156848</c:v>
                </c:pt>
                <c:pt idx="6">
                  <c:v>27.887893371770673</c:v>
                </c:pt>
              </c:numCache>
            </c:numRef>
          </c:val>
          <c:extLst>
            <c:ext xmlns:c16="http://schemas.microsoft.com/office/drawing/2014/chart" uri="{C3380CC4-5D6E-409C-BE32-E72D297353CC}">
              <c16:uniqueId val="{00000007-63F3-4C4B-8400-22839C02B2BC}"/>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116279069767442E-2"/>
          <c:y val="2.3203926818384651E-2"/>
          <c:w val="0.96976744186046515"/>
          <c:h val="0.95359214636323075"/>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E$1</c:f>
              <c:numCache>
                <c:formatCode>General</c:formatCode>
                <c:ptCount val="5"/>
                <c:pt idx="0">
                  <c:v>5892668245</c:v>
                </c:pt>
                <c:pt idx="1">
                  <c:v>8356180232</c:v>
                </c:pt>
                <c:pt idx="2">
                  <c:v>8105878213</c:v>
                </c:pt>
                <c:pt idx="3">
                  <c:v>8920602268</c:v>
                </c:pt>
                <c:pt idx="4">
                  <c:v>10262686226</c:v>
                </c:pt>
              </c:numCache>
            </c:numRef>
          </c:val>
          <c:extLst>
            <c:ext xmlns:c16="http://schemas.microsoft.com/office/drawing/2014/chart" uri="{C3380CC4-5D6E-409C-BE32-E72D297353CC}">
              <c16:uniqueId val="{00000000-44D6-4773-9D51-2F0799DECADE}"/>
            </c:ext>
          </c:extLst>
        </c:ser>
        <c:ser>
          <c:idx val="1"/>
          <c:order val="1"/>
          <c:spPr>
            <a:solidFill>
              <a:srgbClr val="C0E6F4"/>
            </a:solidFill>
            <a:ln w="9525" algn="ctr">
              <a:solidFill>
                <a:srgbClr val="808080"/>
              </a:solidFill>
              <a:prstDash val="solid"/>
            </a:ln>
          </c:spPr>
          <c:invertIfNegative val="0"/>
          <c:val>
            <c:numRef>
              <c:f>Sheet1!$A$2:$E$2</c:f>
              <c:numCache>
                <c:formatCode>General</c:formatCode>
                <c:ptCount val="5"/>
                <c:pt idx="0">
                  <c:v>2496496527</c:v>
                </c:pt>
                <c:pt idx="1">
                  <c:v>2931555640</c:v>
                </c:pt>
                <c:pt idx="2">
                  <c:v>3190238119</c:v>
                </c:pt>
                <c:pt idx="3">
                  <c:v>3604153685</c:v>
                </c:pt>
                <c:pt idx="4">
                  <c:v>4453187555</c:v>
                </c:pt>
              </c:numCache>
            </c:numRef>
          </c:val>
          <c:extLst>
            <c:ext xmlns:c16="http://schemas.microsoft.com/office/drawing/2014/chart" uri="{C3380CC4-5D6E-409C-BE32-E72D297353CC}">
              <c16:uniqueId val="{00000001-44D6-4773-9D51-2F0799DECADE}"/>
            </c:ext>
          </c:extLst>
        </c:ser>
        <c:dLbls>
          <c:showLegendKey val="0"/>
          <c:showVal val="0"/>
          <c:showCatName val="0"/>
          <c:showSerName val="0"/>
          <c:showPercent val="0"/>
          <c:showBubbleSize val="0"/>
        </c:dLbls>
        <c:gapWidth val="60"/>
        <c:axId val="1432640975"/>
        <c:axId val="1"/>
      </c:barChart>
      <c:catAx>
        <c:axId val="1432640975"/>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1000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432640975"/>
        <c:crosses val="min"/>
        <c:crossBetween val="between"/>
        <c:majorUnit val="1000000000"/>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3.303684879288437E-2"/>
          <c:w val="0.93392630241423125"/>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7008-42B4-A939-F26226C41B4F}"/>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7008-42B4-A939-F26226C41B4F}"/>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7008-42B4-A939-F26226C41B4F}"/>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3-7008-42B4-A939-F26226C41B4F}"/>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4-7008-42B4-A939-F26226C41B4F}"/>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5-7008-42B4-A939-F26226C41B4F}"/>
              </c:ext>
            </c:extLst>
          </c:dPt>
          <c:dLbls>
            <c:dLbl>
              <c:idx val="0"/>
              <c:layout>
                <c:manualLayout>
                  <c:x val="9.7204574332909785E-2"/>
                  <c:y val="-0.14167725540025414"/>
                </c:manualLayout>
              </c:layout>
              <c:numFmt formatCode="#,##0&quot;%&quot;;&quot;-&quot;#,##0&quot;%&quot;"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008-42B4-A939-F26226C41B4F}"/>
                </c:ext>
              </c:extLst>
            </c:dLbl>
            <c:dLbl>
              <c:idx val="1"/>
              <c:layout>
                <c:manualLayout>
                  <c:x val="0.16645489199491742"/>
                  <c:y val="3.303684879288437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008-42B4-A939-F26226C41B4F}"/>
                </c:ext>
              </c:extLst>
            </c:dLbl>
            <c:dLbl>
              <c:idx val="2"/>
              <c:layout>
                <c:manualLayout>
                  <c:x val="6.8614993646759853E-2"/>
                  <c:y val="0.16264294790343076"/>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008-42B4-A939-F26226C41B4F}"/>
                </c:ext>
              </c:extLst>
            </c:dLbl>
            <c:dLbl>
              <c:idx val="3"/>
              <c:layout>
                <c:manualLayout>
                  <c:x val="-4.7013977128335452E-2"/>
                  <c:y val="0.18043202033036848"/>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008-42B4-A939-F26226C41B4F}"/>
                </c:ext>
              </c:extLst>
            </c:dLbl>
            <c:dLbl>
              <c:idx val="4"/>
              <c:layout>
                <c:manualLayout>
                  <c:x val="-0.10864040660736976"/>
                  <c:y val="0.14294790343074967"/>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008-42B4-A939-F26226C41B4F}"/>
                </c:ext>
              </c:extLst>
            </c:dLbl>
            <c:dLbl>
              <c:idx val="5"/>
              <c:layout>
                <c:manualLayout>
                  <c:x val="-0.15501905972045743"/>
                  <c:y val="-6.480304955527319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008-42B4-A939-F26226C41B4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19.175787327184114</c:v>
                </c:pt>
                <c:pt idx="1">
                  <c:v>17.968743988986986</c:v>
                </c:pt>
                <c:pt idx="2">
                  <c:v>12.955768753535734</c:v>
                </c:pt>
                <c:pt idx="3">
                  <c:v>7.9276472502947657</c:v>
                </c:pt>
                <c:pt idx="4">
                  <c:v>4.6325533746327672</c:v>
                </c:pt>
                <c:pt idx="5">
                  <c:v>37.339499305365649</c:v>
                </c:pt>
              </c:numCache>
            </c:numRef>
          </c:val>
          <c:extLst>
            <c:ext xmlns:c16="http://schemas.microsoft.com/office/drawing/2014/chart" uri="{C3380CC4-5D6E-409C-BE32-E72D297353CC}">
              <c16:uniqueId val="{00000006-7008-42B4-A939-F26226C41B4F}"/>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880360758328732E-2"/>
          <c:y val="5.4908485856905158E-2"/>
          <c:w val="0.92655991165102158"/>
          <c:h val="0.91930116472545753"/>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0"/>
              <c:layout>
                <c:manualLayout>
                  <c:x val="2.3927848334253637E-2"/>
                  <c:y val="-4.492512479201331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EB4-44E8-9DA6-28E21E4887ED}"/>
                </c:ext>
              </c:extLst>
            </c:dLbl>
            <c:dLbl>
              <c:idx val="1"/>
              <c:layout>
                <c:manualLayout>
                  <c:x val="0"/>
                  <c:y val="-4.492512479201331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EB4-44E8-9DA6-28E21E4887ED}"/>
                </c:ext>
              </c:extLst>
            </c:dLbl>
            <c:dLbl>
              <c:idx val="2"/>
              <c:layout>
                <c:manualLayout>
                  <c:x val="0"/>
                  <c:y val="-4.492512479201331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EB4-44E8-9DA6-28E21E4887ED}"/>
                </c:ext>
              </c:extLst>
            </c:dLbl>
            <c:dLbl>
              <c:idx val="3"/>
              <c:layout>
                <c:manualLayout>
                  <c:x val="0"/>
                  <c:y val="-4.492512479201331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EB4-44E8-9DA6-28E21E4887E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313.60000000000002</c:v>
                </c:pt>
                <c:pt idx="1">
                  <c:v>392.2</c:v>
                </c:pt>
                <c:pt idx="2">
                  <c:v>466.8</c:v>
                </c:pt>
                <c:pt idx="3">
                  <c:v>540.6</c:v>
                </c:pt>
              </c:numCache>
            </c:numRef>
          </c:val>
          <c:smooth val="0"/>
          <c:extLst>
            <c:ext xmlns:c16="http://schemas.microsoft.com/office/drawing/2014/chart" uri="{C3380CC4-5D6E-409C-BE32-E72D297353CC}">
              <c16:uniqueId val="{00000004-5EB4-44E8-9DA6-28E21E4887ED}"/>
            </c:ext>
          </c:extLst>
        </c:ser>
        <c:dLbls>
          <c:showLegendKey val="0"/>
          <c:showVal val="0"/>
          <c:showCatName val="0"/>
          <c:showSerName val="0"/>
          <c:showPercent val="0"/>
          <c:showBubbleSize val="0"/>
        </c:dLbls>
        <c:marker val="1"/>
        <c:smooth val="0"/>
        <c:axId val="97693503"/>
        <c:axId val="1"/>
      </c:lineChart>
      <c:catAx>
        <c:axId val="9769350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5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97693503"/>
        <c:crosses val="min"/>
        <c:crossBetween val="midCat"/>
        <c:majorUnit val="50"/>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526849417949681E-2"/>
          <c:y val="0.11380985426786953"/>
          <c:w val="0.96094630116410062"/>
          <c:h val="0.85010409437890355"/>
        </c:manualLayout>
      </c:layout>
      <c:barChart>
        <c:barDir val="col"/>
        <c:grouping val="stacked"/>
        <c:varyColors val="0"/>
        <c:ser>
          <c:idx val="0"/>
          <c:order val="0"/>
          <c:spPr>
            <a:solidFill>
              <a:schemeClr val="accent1"/>
            </a:solidFill>
            <a:ln>
              <a:noFill/>
            </a:ln>
          </c:spPr>
          <c:invertIfNegative val="0"/>
          <c:dLbls>
            <c:dLbl>
              <c:idx val="0"/>
              <c:layout>
                <c:manualLayout>
                  <c:x val="0"/>
                  <c:y val="-0.35392088827203333"/>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E35-4938-B023-9E555545BED4}"/>
                </c:ext>
              </c:extLst>
            </c:dLbl>
            <c:dLbl>
              <c:idx val="1"/>
              <c:layout>
                <c:manualLayout>
                  <c:x val="0"/>
                  <c:y val="-0.48230395558639833"/>
                </c:manualLayout>
              </c:layout>
              <c:numFmt formatCode="#,##0;&quot;-&quot;#,##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E35-4938-B023-9E555545BED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348</c:v>
                </c:pt>
                <c:pt idx="1">
                  <c:v>500</c:v>
                </c:pt>
              </c:numCache>
            </c:numRef>
          </c:val>
          <c:extLst>
            <c:ext xmlns:c16="http://schemas.microsoft.com/office/drawing/2014/chart" uri="{C3380CC4-5D6E-409C-BE32-E72D297353CC}">
              <c16:uniqueId val="{00000002-3E35-4938-B023-9E555545BED4}"/>
            </c:ext>
          </c:extLst>
        </c:ser>
        <c:dLbls>
          <c:showLegendKey val="0"/>
          <c:showVal val="0"/>
          <c:showCatName val="0"/>
          <c:showSerName val="0"/>
          <c:showPercent val="0"/>
          <c:showBubbleSize val="0"/>
        </c:dLbls>
        <c:gapWidth val="80"/>
        <c:overlap val="100"/>
        <c:axId val="1141358543"/>
        <c:axId val="1"/>
      </c:barChart>
      <c:catAx>
        <c:axId val="114135854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00"/>
          <c:min val="0"/>
        </c:scaling>
        <c:delete val="1"/>
        <c:axPos val="l"/>
        <c:numFmt formatCode="General" sourceLinked="1"/>
        <c:majorTickMark val="out"/>
        <c:minorTickMark val="none"/>
        <c:tickLblPos val="nextTo"/>
        <c:crossAx val="1141358543"/>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048663741523735E-2"/>
          <c:y val="0.12489379779099405"/>
          <c:w val="0.88751495811727166"/>
          <c:h val="0.82242990654205606"/>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142735768903993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5A0-4325-BA47-7A61DF11D8C8}"/>
                </c:ext>
              </c:extLst>
            </c:dLbl>
            <c:dLbl>
              <c:idx val="1"/>
              <c:layout>
                <c:manualLayout>
                  <c:x val="0"/>
                  <c:y val="-0.2523364485981308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5A0-4325-BA47-7A61DF11D8C8}"/>
                </c:ext>
              </c:extLst>
            </c:dLbl>
            <c:dLbl>
              <c:idx val="2"/>
              <c:layout>
                <c:manualLayout>
                  <c:x val="0"/>
                  <c:y val="-0.1384876805437553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5A0-4325-BA47-7A61DF11D8C8}"/>
                </c:ext>
              </c:extLst>
            </c:dLbl>
            <c:dLbl>
              <c:idx val="3"/>
              <c:layout>
                <c:manualLayout>
                  <c:x val="0"/>
                  <c:y val="-0.1435853865760407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5A0-4325-BA47-7A61DF11D8C8}"/>
                </c:ext>
              </c:extLst>
            </c:dLbl>
            <c:dLbl>
              <c:idx val="4"/>
              <c:layout>
                <c:manualLayout>
                  <c:x val="0"/>
                  <c:y val="-0.1597281223449447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5A0-4325-BA47-7A61DF11D8C8}"/>
                </c:ext>
              </c:extLst>
            </c:dLbl>
            <c:dLbl>
              <c:idx val="5"/>
              <c:layout>
                <c:manualLayout>
                  <c:x val="0"/>
                  <c:y val="-0.170773152081563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5A0-4325-BA47-7A61DF11D8C8}"/>
                </c:ext>
              </c:extLst>
            </c:dLbl>
            <c:dLbl>
              <c:idx val="6"/>
              <c:layout>
                <c:manualLayout>
                  <c:x val="0"/>
                  <c:y val="-0.1903143585386576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5A0-4325-BA47-7A61DF11D8C8}"/>
                </c:ext>
              </c:extLst>
            </c:dLbl>
            <c:dLbl>
              <c:idx val="7"/>
              <c:layout>
                <c:manualLayout>
                  <c:x val="0"/>
                  <c:y val="-0.2192013593882752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5A0-4325-BA47-7A61DF11D8C8}"/>
                </c:ext>
              </c:extLst>
            </c:dLbl>
            <c:dLbl>
              <c:idx val="8"/>
              <c:layout>
                <c:manualLayout>
                  <c:x val="0"/>
                  <c:y val="-0.278674596431605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5A0-4325-BA47-7A61DF11D8C8}"/>
                </c:ext>
              </c:extLst>
            </c:dLbl>
            <c:dLbl>
              <c:idx val="10"/>
              <c:layout>
                <c:manualLayout>
                  <c:x val="0"/>
                  <c:y val="-0.2735768903993203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5A0-4325-BA47-7A61DF11D8C8}"/>
                </c:ext>
              </c:extLst>
            </c:dLbl>
            <c:dLbl>
              <c:idx val="11"/>
              <c:layout>
                <c:manualLayout>
                  <c:x val="0"/>
                  <c:y val="-0.3789294817332200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5A0-4325-BA47-7A61DF11D8C8}"/>
                </c:ext>
              </c:extLst>
            </c:dLbl>
            <c:dLbl>
              <c:idx val="12"/>
              <c:layout>
                <c:manualLayout>
                  <c:x val="0"/>
                  <c:y val="-0.3237043330501274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5A0-4325-BA47-7A61DF11D8C8}"/>
                </c:ext>
              </c:extLst>
            </c:dLbl>
            <c:dLbl>
              <c:idx val="13"/>
              <c:layout>
                <c:manualLayout>
                  <c:x val="0"/>
                  <c:y val="-0.3355989804587935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5A0-4325-BA47-7A61DF11D8C8}"/>
                </c:ext>
              </c:extLst>
            </c:dLbl>
            <c:dLbl>
              <c:idx val="14"/>
              <c:layout>
                <c:manualLayout>
                  <c:x val="0"/>
                  <c:y val="-0.3423959218351741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5A0-4325-BA47-7A61DF11D8C8}"/>
                </c:ext>
              </c:extLst>
            </c:dLbl>
            <c:dLbl>
              <c:idx val="15"/>
              <c:layout>
                <c:manualLayout>
                  <c:x val="0"/>
                  <c:y val="-0.336448598130841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5A0-4325-BA47-7A61DF11D8C8}"/>
                </c:ext>
              </c:extLst>
            </c:dLbl>
            <c:dLbl>
              <c:idx val="16"/>
              <c:layout>
                <c:manualLayout>
                  <c:x val="0"/>
                  <c:y val="-0.3457943925233644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5A0-4325-BA47-7A61DF11D8C8}"/>
                </c:ext>
              </c:extLst>
            </c:dLbl>
            <c:dLbl>
              <c:idx val="17"/>
              <c:layout>
                <c:manualLayout>
                  <c:x val="0"/>
                  <c:y val="-0.3687340696686491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5A0-4325-BA47-7A61DF11D8C8}"/>
                </c:ext>
              </c:extLst>
            </c:dLbl>
            <c:dLbl>
              <c:idx val="18"/>
              <c:layout>
                <c:manualLayout>
                  <c:x val="0"/>
                  <c:y val="-0.3984706881903143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5A0-4325-BA47-7A61DF11D8C8}"/>
                </c:ext>
              </c:extLst>
            </c:dLbl>
            <c:dLbl>
              <c:idx val="19"/>
              <c:layout>
                <c:manualLayout>
                  <c:x val="0"/>
                  <c:y val="-0.3976210705182667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5A0-4325-BA47-7A61DF11D8C8}"/>
                </c:ext>
              </c:extLst>
            </c:dLbl>
            <c:dLbl>
              <c:idx val="20"/>
              <c:layout>
                <c:manualLayout>
                  <c:x val="0"/>
                  <c:y val="-0.36958368734069669"/>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5A0-4325-BA47-7A61DF11D8C8}"/>
                </c:ext>
              </c:extLst>
            </c:dLbl>
            <c:dLbl>
              <c:idx val="21"/>
              <c:layout>
                <c:manualLayout>
                  <c:x val="0"/>
                  <c:y val="-0.4171622769753610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45A0-4325-BA47-7A61DF11D8C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96.076999999999998</c:v>
                </c:pt>
                <c:pt idx="1">
                  <c:v>89.793999999999997</c:v>
                </c:pt>
                <c:pt idx="2">
                  <c:v>92.537999999999997</c:v>
                </c:pt>
                <c:pt idx="3">
                  <c:v>97.646000000000001</c:v>
                </c:pt>
                <c:pt idx="4">
                  <c:v>115.03400000000001</c:v>
                </c:pt>
                <c:pt idx="5">
                  <c:v>127.80800000000001</c:v>
                </c:pt>
                <c:pt idx="6">
                  <c:v>148.62700000000001</c:v>
                </c:pt>
                <c:pt idx="7">
                  <c:v>180.94200000000001</c:v>
                </c:pt>
                <c:pt idx="8">
                  <c:v>193.61699999999999</c:v>
                </c:pt>
                <c:pt idx="9">
                  <c:v>194.15</c:v>
                </c:pt>
                <c:pt idx="10">
                  <c:v>239.80799999999999</c:v>
                </c:pt>
                <c:pt idx="11">
                  <c:v>279.35700000000003</c:v>
                </c:pt>
                <c:pt idx="12">
                  <c:v>295.09300000000002</c:v>
                </c:pt>
                <c:pt idx="13">
                  <c:v>307.57600000000002</c:v>
                </c:pt>
                <c:pt idx="14">
                  <c:v>314.86399999999998</c:v>
                </c:pt>
                <c:pt idx="15">
                  <c:v>307.99900000000002</c:v>
                </c:pt>
                <c:pt idx="16">
                  <c:v>318.822</c:v>
                </c:pt>
                <c:pt idx="17">
                  <c:v>343.18700000000001</c:v>
                </c:pt>
                <c:pt idx="18">
                  <c:v>376.98700000000002</c:v>
                </c:pt>
                <c:pt idx="19">
                  <c:v>375.48399999999998</c:v>
                </c:pt>
                <c:pt idx="20">
                  <c:v>345.286</c:v>
                </c:pt>
                <c:pt idx="21">
                  <c:v>396.99200000000002</c:v>
                </c:pt>
              </c:numCache>
            </c:numRef>
          </c:val>
          <c:extLst>
            <c:ext xmlns:c16="http://schemas.microsoft.com/office/drawing/2014/chart" uri="{C3380CC4-5D6E-409C-BE32-E72D297353CC}">
              <c16:uniqueId val="{00000015-45A0-4325-BA47-7A61DF11D8C8}"/>
            </c:ext>
          </c:extLst>
        </c:ser>
        <c:dLbls>
          <c:showLegendKey val="0"/>
          <c:showVal val="0"/>
          <c:showCatName val="0"/>
          <c:showSerName val="0"/>
          <c:showPercent val="0"/>
          <c:showBubbleSize val="0"/>
        </c:dLbls>
        <c:gapWidth val="60"/>
        <c:overlap val="100"/>
        <c:axId val="1062023439"/>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9.175870858113849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45A0-4325-BA47-7A61DF11D8C8}"/>
                </c:ext>
              </c:extLst>
            </c:dLbl>
            <c:dLbl>
              <c:idx val="2"/>
              <c:layout>
                <c:manualLayout>
                  <c:x val="0"/>
                  <c:y val="-9.175870858113849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45A0-4325-BA47-7A61DF11D8C8}"/>
                </c:ext>
              </c:extLst>
            </c:dLbl>
            <c:dLbl>
              <c:idx val="4"/>
              <c:layout>
                <c:manualLayout>
                  <c:x val="0"/>
                  <c:y val="-9.175870858113849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45A0-4325-BA47-7A61DF11D8C8}"/>
                </c:ext>
              </c:extLst>
            </c:dLbl>
            <c:dLbl>
              <c:idx val="5"/>
              <c:layout>
                <c:manualLayout>
                  <c:x val="0"/>
                  <c:y val="-9.175870858113849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45A0-4325-BA47-7A61DF11D8C8}"/>
                </c:ext>
              </c:extLst>
            </c:dLbl>
            <c:dLbl>
              <c:idx val="6"/>
              <c:layout>
                <c:manualLayout>
                  <c:x val="0"/>
                  <c:y val="-9.175870858113849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45A0-4325-BA47-7A61DF11D8C8}"/>
                </c:ext>
              </c:extLst>
            </c:dLbl>
            <c:dLbl>
              <c:idx val="7"/>
              <c:layout>
                <c:manualLayout>
                  <c:x val="0"/>
                  <c:y val="-9.175870858113849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45A0-4325-BA47-7A61DF11D8C8}"/>
                </c:ext>
              </c:extLst>
            </c:dLbl>
            <c:dLbl>
              <c:idx val="10"/>
              <c:layout>
                <c:manualLayout>
                  <c:x val="0"/>
                  <c:y val="-9.175870858113849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45A0-4325-BA47-7A61DF11D8C8}"/>
                </c:ext>
              </c:extLst>
            </c:dLbl>
            <c:dLbl>
              <c:idx val="12"/>
              <c:layout>
                <c:manualLayout>
                  <c:x val="0"/>
                  <c:y val="9.175870858113849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45A0-4325-BA47-7A61DF11D8C8}"/>
                </c:ext>
              </c:extLst>
            </c:dLbl>
            <c:dLbl>
              <c:idx val="13"/>
              <c:layout>
                <c:manualLayout>
                  <c:x val="0"/>
                  <c:y val="9.175870858113849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45A0-4325-BA47-7A61DF11D8C8}"/>
                </c:ext>
              </c:extLst>
            </c:dLbl>
            <c:dLbl>
              <c:idx val="14"/>
              <c:layout>
                <c:manualLayout>
                  <c:x val="0"/>
                  <c:y val="-9.175870858113849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45A0-4325-BA47-7A61DF11D8C8}"/>
                </c:ext>
              </c:extLst>
            </c:dLbl>
            <c:dLbl>
              <c:idx val="15"/>
              <c:layout>
                <c:manualLayout>
                  <c:x val="0"/>
                  <c:y val="-9.175870858113849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45A0-4325-BA47-7A61DF11D8C8}"/>
                </c:ext>
              </c:extLst>
            </c:dLbl>
            <c:dLbl>
              <c:idx val="16"/>
              <c:layout>
                <c:manualLayout>
                  <c:x val="0"/>
                  <c:y val="-9.175870858113849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45A0-4325-BA47-7A61DF11D8C8}"/>
                </c:ext>
              </c:extLst>
            </c:dLbl>
            <c:dLbl>
              <c:idx val="17"/>
              <c:layout>
                <c:manualLayout>
                  <c:x val="0"/>
                  <c:y val="-9.175870858113849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45A0-4325-BA47-7A61DF11D8C8}"/>
                </c:ext>
              </c:extLst>
            </c:dLbl>
            <c:dLbl>
              <c:idx val="18"/>
              <c:layout>
                <c:manualLayout>
                  <c:x val="0"/>
                  <c:y val="-9.175870858113849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45A0-4325-BA47-7A61DF11D8C8}"/>
                </c:ext>
              </c:extLst>
            </c:dLbl>
            <c:dLbl>
              <c:idx val="19"/>
              <c:layout>
                <c:manualLayout>
                  <c:x val="0"/>
                  <c:y val="-9.175870858113849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45A0-4325-BA47-7A61DF11D8C8}"/>
                </c:ext>
              </c:extLst>
            </c:dLbl>
            <c:dLbl>
              <c:idx val="21"/>
              <c:layout>
                <c:manualLayout>
                  <c:x val="0"/>
                  <c:y val="-9.175870858113849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45A0-4325-BA47-7A61DF11D8C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V$2</c:f>
              <c:numCache>
                <c:formatCode>General</c:formatCode>
                <c:ptCount val="22"/>
                <c:pt idx="0">
                  <c:v>9.0380000000000003</c:v>
                </c:pt>
                <c:pt idx="1">
                  <c:v>-1.071</c:v>
                </c:pt>
                <c:pt idx="2">
                  <c:v>3.923</c:v>
                </c:pt>
                <c:pt idx="3">
                  <c:v>4.548</c:v>
                </c:pt>
                <c:pt idx="4">
                  <c:v>9.94</c:v>
                </c:pt>
                <c:pt idx="5">
                  <c:v>7.3659999999999997</c:v>
                </c:pt>
                <c:pt idx="6">
                  <c:v>9.0069999999999997</c:v>
                </c:pt>
                <c:pt idx="7">
                  <c:v>9.0220000000000002</c:v>
                </c:pt>
                <c:pt idx="8">
                  <c:v>1.863</c:v>
                </c:pt>
                <c:pt idx="9">
                  <c:v>0.128</c:v>
                </c:pt>
                <c:pt idx="10">
                  <c:v>14.52</c:v>
                </c:pt>
                <c:pt idx="11">
                  <c:v>6.2149999999999999</c:v>
                </c:pt>
                <c:pt idx="12">
                  <c:v>4.4349999999999996</c:v>
                </c:pt>
                <c:pt idx="13">
                  <c:v>4.8179999999999996</c:v>
                </c:pt>
                <c:pt idx="14">
                  <c:v>3.9359999999999999</c:v>
                </c:pt>
                <c:pt idx="15">
                  <c:v>2.9769999999999999</c:v>
                </c:pt>
                <c:pt idx="16">
                  <c:v>3.5619999999999998</c:v>
                </c:pt>
                <c:pt idx="17">
                  <c:v>4.6609999999999996</c:v>
                </c:pt>
                <c:pt idx="18">
                  <c:v>3.661</c:v>
                </c:pt>
                <c:pt idx="19">
                  <c:v>1.0960000000000001</c:v>
                </c:pt>
                <c:pt idx="20">
                  <c:v>-4.1429999999999998</c:v>
                </c:pt>
                <c:pt idx="21">
                  <c:v>7.6139999999999999</c:v>
                </c:pt>
              </c:numCache>
            </c:numRef>
          </c:val>
          <c:smooth val="0"/>
          <c:extLst>
            <c:ext xmlns:c16="http://schemas.microsoft.com/office/drawing/2014/chart" uri="{C3380CC4-5D6E-409C-BE32-E72D297353CC}">
              <c16:uniqueId val="{00000026-45A0-4325-BA47-7A61DF11D8C8}"/>
            </c:ext>
          </c:extLst>
        </c:ser>
        <c:dLbls>
          <c:showLegendKey val="0"/>
          <c:showVal val="0"/>
          <c:showCatName val="0"/>
          <c:showSerName val="0"/>
          <c:showPercent val="0"/>
          <c:showBubbleSize val="0"/>
        </c:dLbls>
        <c:marker val="1"/>
        <c:smooth val="0"/>
        <c:axId val="3"/>
        <c:axId val="2"/>
      </c:lineChart>
      <c:catAx>
        <c:axId val="1062023439"/>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5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062023439"/>
        <c:crosses val="min"/>
        <c:crossBetween val="between"/>
        <c:majorUnit val="100"/>
      </c:valAx>
      <c:valAx>
        <c:axId val="2"/>
        <c:scaling>
          <c:orientation val="minMax"/>
          <c:max val="15"/>
          <c:min val="-5"/>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
        <c:crosses val="max"/>
        <c:crossBetween val="between"/>
        <c:majorUnit val="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313311688311695E-2"/>
          <c:y val="5.5160142348754451E-2"/>
          <c:w val="0.91213474025974028"/>
          <c:h val="0.88967971530249113"/>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7.102272727272727E-3"/>
                  <c:y val="-0.2508896797153025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D94-476F-AA23-32625CAC2323}"/>
                </c:ext>
              </c:extLst>
            </c:dLbl>
            <c:dLbl>
              <c:idx val="1"/>
              <c:layout>
                <c:manualLayout>
                  <c:x val="0"/>
                  <c:y val="-0.1770462633451957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D94-476F-AA23-32625CAC2323}"/>
                </c:ext>
              </c:extLst>
            </c:dLbl>
            <c:dLbl>
              <c:idx val="2"/>
              <c:layout>
                <c:manualLayout>
                  <c:x val="-1.3392857142857142E-2"/>
                  <c:y val="-0.259786476868327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D94-476F-AA23-32625CAC2323}"/>
                </c:ext>
              </c:extLst>
            </c:dLbl>
            <c:dLbl>
              <c:idx val="3"/>
              <c:layout>
                <c:manualLayout>
                  <c:x val="0"/>
                  <c:y val="-0.1886120996441281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D94-476F-AA23-32625CAC2323}"/>
                </c:ext>
              </c:extLst>
            </c:dLbl>
            <c:dLbl>
              <c:idx val="4"/>
              <c:layout>
                <c:manualLayout>
                  <c:x val="-1.3189935064935064E-2"/>
                  <c:y val="-0.2526690391459074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D94-476F-AA23-32625CAC2323}"/>
                </c:ext>
              </c:extLst>
            </c:dLbl>
            <c:dLbl>
              <c:idx val="5"/>
              <c:layout>
                <c:manualLayout>
                  <c:x val="0"/>
                  <c:y val="-0.2241992882562277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D94-476F-AA23-32625CAC2323}"/>
                </c:ext>
              </c:extLst>
            </c:dLbl>
            <c:dLbl>
              <c:idx val="6"/>
              <c:layout>
                <c:manualLayout>
                  <c:x val="0"/>
                  <c:y val="-0.2882562277580071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D94-476F-AA23-32625CAC2323}"/>
                </c:ext>
              </c:extLst>
            </c:dLbl>
            <c:dLbl>
              <c:idx val="7"/>
              <c:layout>
                <c:manualLayout>
                  <c:x val="0"/>
                  <c:y val="-0.3416370106761565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D94-476F-AA23-32625CAC2323}"/>
                </c:ext>
              </c:extLst>
            </c:dLbl>
            <c:dLbl>
              <c:idx val="8"/>
              <c:layout>
                <c:manualLayout>
                  <c:x val="1.3189935064935064E-2"/>
                  <c:y val="-0.3532028469750889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D94-476F-AA23-32625CAC2323}"/>
                </c:ext>
              </c:extLst>
            </c:dLbl>
            <c:dLbl>
              <c:idx val="9"/>
              <c:layout>
                <c:manualLayout>
                  <c:x val="0"/>
                  <c:y val="-0.2740213523131672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D94-476F-AA23-32625CAC2323}"/>
                </c:ext>
              </c:extLst>
            </c:dLbl>
            <c:dLbl>
              <c:idx val="10"/>
              <c:layout>
                <c:manualLayout>
                  <c:x val="0"/>
                  <c:y val="-0.3202846975088968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D94-476F-AA23-32625CAC2323}"/>
                </c:ext>
              </c:extLst>
            </c:dLbl>
            <c:dLbl>
              <c:idx val="11"/>
              <c:layout>
                <c:manualLayout>
                  <c:x val="0"/>
                  <c:y val="-0.368327402135231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D94-476F-AA23-32625CAC2323}"/>
                </c:ext>
              </c:extLst>
            </c:dLbl>
            <c:dLbl>
              <c:idx val="12"/>
              <c:layout>
                <c:manualLayout>
                  <c:x val="-1.3392857142857142E-2"/>
                  <c:y val="-0.4448398576512455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D94-476F-AA23-32625CAC2323}"/>
                </c:ext>
              </c:extLst>
            </c:dLbl>
            <c:dLbl>
              <c:idx val="13"/>
              <c:layout>
                <c:manualLayout>
                  <c:x val="0"/>
                  <c:y val="-0.3736654804270462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D94-476F-AA23-32625CAC2323}"/>
                </c:ext>
              </c:extLst>
            </c:dLbl>
            <c:dLbl>
              <c:idx val="14"/>
              <c:layout>
                <c:manualLayout>
                  <c:x val="1.3392857142857142E-2"/>
                  <c:y val="-0.4412811387900356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D94-476F-AA23-32625CAC2323}"/>
                </c:ext>
              </c:extLst>
            </c:dLbl>
            <c:dLbl>
              <c:idx val="15"/>
              <c:layout>
                <c:manualLayout>
                  <c:x val="0"/>
                  <c:y val="-0.3665480427046263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D94-476F-AA23-32625CAC2323}"/>
                </c:ext>
              </c:extLst>
            </c:dLbl>
            <c:dLbl>
              <c:idx val="16"/>
              <c:layout>
                <c:manualLayout>
                  <c:x val="-1.3392857142857142E-2"/>
                  <c:y val="-0.4448398576512455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D94-476F-AA23-32625CAC2323}"/>
                </c:ext>
              </c:extLst>
            </c:dLbl>
            <c:dLbl>
              <c:idx val="17"/>
              <c:layout>
                <c:manualLayout>
                  <c:x val="0"/>
                  <c:y val="-0.3967971530249110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D94-476F-AA23-32625CAC2323}"/>
                </c:ext>
              </c:extLst>
            </c:dLbl>
            <c:dLbl>
              <c:idx val="18"/>
              <c:layout>
                <c:manualLayout>
                  <c:x val="-1.3392857142857142E-2"/>
                  <c:y val="-0.4501779359430604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D94-476F-AA23-32625CAC2323}"/>
                </c:ext>
              </c:extLst>
            </c:dLbl>
            <c:dLbl>
              <c:idx val="19"/>
              <c:layout>
                <c:manualLayout>
                  <c:x val="0"/>
                  <c:y val="-0.4510676156583630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D94-476F-AA23-32625CAC2323}"/>
                </c:ext>
              </c:extLst>
            </c:dLbl>
            <c:dLbl>
              <c:idx val="20"/>
              <c:layout>
                <c:manualLayout>
                  <c:x val="0"/>
                  <c:y val="-0.3941281138790035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8D94-476F-AA23-32625CAC2323}"/>
                </c:ext>
              </c:extLst>
            </c:dLbl>
            <c:dLbl>
              <c:idx val="21"/>
              <c:layout>
                <c:manualLayout>
                  <c:x val="0"/>
                  <c:y val="-0.4617437722419928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8D94-476F-AA23-32625CAC232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23852.83</c:v>
                </c:pt>
                <c:pt idx="1">
                  <c:v>21699.75</c:v>
                </c:pt>
                <c:pt idx="2">
                  <c:v>22159.83</c:v>
                </c:pt>
                <c:pt idx="3">
                  <c:v>23730.38</c:v>
                </c:pt>
                <c:pt idx="4">
                  <c:v>27608.080000000002</c:v>
                </c:pt>
                <c:pt idx="5">
                  <c:v>29961.31</c:v>
                </c:pt>
                <c:pt idx="6">
                  <c:v>33768.449999999997</c:v>
                </c:pt>
                <c:pt idx="7">
                  <c:v>39432.9</c:v>
                </c:pt>
                <c:pt idx="8">
                  <c:v>40008.58</c:v>
                </c:pt>
                <c:pt idx="9">
                  <c:v>38926.81</c:v>
                </c:pt>
                <c:pt idx="10">
                  <c:v>47236.67</c:v>
                </c:pt>
                <c:pt idx="11">
                  <c:v>53891.46</c:v>
                </c:pt>
                <c:pt idx="12">
                  <c:v>55547.55</c:v>
                </c:pt>
                <c:pt idx="13">
                  <c:v>56967.43</c:v>
                </c:pt>
                <c:pt idx="14">
                  <c:v>57564.800000000003</c:v>
                </c:pt>
                <c:pt idx="15">
                  <c:v>55645.61</c:v>
                </c:pt>
                <c:pt idx="16">
                  <c:v>56858.51</c:v>
                </c:pt>
                <c:pt idx="17">
                  <c:v>61149.62</c:v>
                </c:pt>
                <c:pt idx="18">
                  <c:v>66857.27</c:v>
                </c:pt>
                <c:pt idx="19">
                  <c:v>65833.2</c:v>
                </c:pt>
                <c:pt idx="20">
                  <c:v>60727.62</c:v>
                </c:pt>
                <c:pt idx="21">
                  <c:v>72794.91</c:v>
                </c:pt>
              </c:numCache>
            </c:numRef>
          </c:val>
          <c:extLst>
            <c:ext xmlns:c16="http://schemas.microsoft.com/office/drawing/2014/chart" uri="{C3380CC4-5D6E-409C-BE32-E72D297353CC}">
              <c16:uniqueId val="{00000016-8D94-476F-AA23-32625CAC2323}"/>
            </c:ext>
          </c:extLst>
        </c:ser>
        <c:dLbls>
          <c:showLegendKey val="0"/>
          <c:showVal val="0"/>
          <c:showCatName val="0"/>
          <c:showSerName val="0"/>
          <c:showPercent val="0"/>
          <c:showBubbleSize val="0"/>
        </c:dLbls>
        <c:gapWidth val="60"/>
        <c:overlap val="100"/>
        <c:axId val="191255087"/>
        <c:axId val="1"/>
      </c:barChart>
      <c:catAx>
        <c:axId val="19125508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80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91255087"/>
        <c:crosses val="min"/>
        <c:crossBetween val="between"/>
        <c:majorUnit val="100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032258064516132E-2"/>
          <c:y val="3.2407407407407406E-2"/>
          <c:w val="0.88387096774193552"/>
          <c:h val="0.9414983164983165"/>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2.7741935483870966E-2"/>
                  <c:y val="-4.545454545454545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FBD-4016-A3D3-AF45A10821C3}"/>
                </c:ext>
              </c:extLst>
            </c:dLbl>
            <c:dLbl>
              <c:idx val="1"/>
              <c:layout>
                <c:manualLayout>
                  <c:x val="0"/>
                  <c:y val="-4.545454545454545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FBD-4016-A3D3-AF45A10821C3}"/>
                </c:ext>
              </c:extLst>
            </c:dLbl>
            <c:dLbl>
              <c:idx val="4"/>
              <c:layout>
                <c:manualLayout>
                  <c:x val="0"/>
                  <c:y val="-4.545454545454545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FBD-4016-A3D3-AF45A10821C3}"/>
                </c:ext>
              </c:extLst>
            </c:dLbl>
            <c:dLbl>
              <c:idx val="8"/>
              <c:layout>
                <c:manualLayout>
                  <c:x val="0"/>
                  <c:y val="-4.545454545454545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FBD-4016-A3D3-AF45A10821C3}"/>
                </c:ext>
              </c:extLst>
            </c:dLbl>
            <c:dLbl>
              <c:idx val="11"/>
              <c:layout>
                <c:manualLayout>
                  <c:x val="0"/>
                  <c:y val="-4.545454545454545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FBD-4016-A3D3-AF45A10821C3}"/>
                </c:ext>
              </c:extLst>
            </c:dLbl>
            <c:dLbl>
              <c:idx val="17"/>
              <c:layout>
                <c:manualLayout>
                  <c:x val="0"/>
                  <c:y val="-4.545454545454545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FBD-4016-A3D3-AF45A10821C3}"/>
                </c:ext>
              </c:extLst>
            </c:dLbl>
            <c:dLbl>
              <c:idx val="18"/>
              <c:layout>
                <c:manualLayout>
                  <c:x val="0"/>
                  <c:y val="-4.545454545454545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FBD-4016-A3D3-AF45A10821C3}"/>
                </c:ext>
              </c:extLst>
            </c:dLbl>
            <c:dLbl>
              <c:idx val="19"/>
              <c:layout>
                <c:manualLayout>
                  <c:x val="0"/>
                  <c:y val="-4.545454545454545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FBD-4016-A3D3-AF45A10821C3}"/>
                </c:ext>
              </c:extLst>
            </c:dLbl>
            <c:dLbl>
              <c:idx val="22"/>
              <c:layout>
                <c:manualLayout>
                  <c:x val="0"/>
                  <c:y val="-4.5454545454545456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FBD-4016-A3D3-AF45A10821C3}"/>
                </c:ext>
              </c:extLst>
            </c:dLbl>
            <c:dLbl>
              <c:idx val="25"/>
              <c:layout>
                <c:manualLayout>
                  <c:x val="0"/>
                  <c:y val="-4.545454545454545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FBD-4016-A3D3-AF45A10821C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Z$1</c:f>
              <c:numCache>
                <c:formatCode>General</c:formatCode>
                <c:ptCount val="26"/>
                <c:pt idx="0">
                  <c:v>1.349</c:v>
                </c:pt>
                <c:pt idx="1">
                  <c:v>1.014</c:v>
                </c:pt>
                <c:pt idx="2">
                  <c:v>-0.39100000000000001</c:v>
                </c:pt>
                <c:pt idx="3">
                  <c:v>0.48699999999999999</c:v>
                </c:pt>
                <c:pt idx="4">
                  <c:v>1.671</c:v>
                </c:pt>
                <c:pt idx="5">
                  <c:v>0.46899999999999997</c:v>
                </c:pt>
                <c:pt idx="6">
                  <c:v>0.96299999999999997</c:v>
                </c:pt>
                <c:pt idx="7">
                  <c:v>2.105</c:v>
                </c:pt>
                <c:pt idx="8">
                  <c:v>6.6280000000000001</c:v>
                </c:pt>
                <c:pt idx="9">
                  <c:v>0.59699999999999998</c:v>
                </c:pt>
                <c:pt idx="10">
                  <c:v>2.8239999999999998</c:v>
                </c:pt>
                <c:pt idx="11">
                  <c:v>5.2480000000000002</c:v>
                </c:pt>
                <c:pt idx="12">
                  <c:v>4.5759999999999996</c:v>
                </c:pt>
                <c:pt idx="13">
                  <c:v>2.359</c:v>
                </c:pt>
                <c:pt idx="14">
                  <c:v>1.0249999999999999</c:v>
                </c:pt>
                <c:pt idx="15">
                  <c:v>-0.52300000000000002</c:v>
                </c:pt>
                <c:pt idx="16">
                  <c:v>-0.53200000000000003</c:v>
                </c:pt>
                <c:pt idx="17">
                  <c:v>0.57599999999999996</c:v>
                </c:pt>
                <c:pt idx="18">
                  <c:v>0.439</c:v>
                </c:pt>
                <c:pt idx="19">
                  <c:v>0.56499999999999995</c:v>
                </c:pt>
                <c:pt idx="20">
                  <c:v>-0.182</c:v>
                </c:pt>
                <c:pt idx="21">
                  <c:v>2.3050000000000002</c:v>
                </c:pt>
                <c:pt idx="22">
                  <c:v>5.5350000000000001</c:v>
                </c:pt>
                <c:pt idx="23">
                  <c:v>3</c:v>
                </c:pt>
                <c:pt idx="24">
                  <c:v>2.0049999999999999</c:v>
                </c:pt>
                <c:pt idx="25">
                  <c:v>1.484</c:v>
                </c:pt>
              </c:numCache>
            </c:numRef>
          </c:val>
          <c:smooth val="0"/>
          <c:extLst>
            <c:ext xmlns:c16="http://schemas.microsoft.com/office/drawing/2014/chart" uri="{C3380CC4-5D6E-409C-BE32-E72D297353CC}">
              <c16:uniqueId val="{0000000A-7FBD-4016-A3D3-AF45A10821C3}"/>
            </c:ext>
          </c:extLst>
        </c:ser>
        <c:dLbls>
          <c:showLegendKey val="0"/>
          <c:showVal val="0"/>
          <c:showCatName val="0"/>
          <c:showSerName val="0"/>
          <c:showPercent val="0"/>
          <c:showBubbleSize val="0"/>
        </c:dLbls>
        <c:marker val="1"/>
        <c:smooth val="0"/>
        <c:axId val="631050655"/>
        <c:axId val="1"/>
      </c:lineChart>
      <c:catAx>
        <c:axId val="631050655"/>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At val="0"/>
        <c:auto val="0"/>
        <c:lblAlgn val="ctr"/>
        <c:lblOffset val="100"/>
        <c:noMultiLvlLbl val="0"/>
      </c:catAx>
      <c:valAx>
        <c:axId val="1"/>
        <c:scaling>
          <c:orientation val="minMax"/>
          <c:max val="7"/>
          <c:min val="-2"/>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631050655"/>
        <c:crosses val="min"/>
        <c:crossBetween val="midCat"/>
        <c:majorUnit val="1"/>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068137573004544E-2"/>
          <c:y val="2.6260059296908091E-2"/>
          <c:w val="0.88805970149253732"/>
          <c:h val="0.9474798814061837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3.5042180402336143E-2"/>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265-4692-9032-62DDEDF7C795}"/>
                </c:ext>
              </c:extLst>
            </c:dLbl>
            <c:dLbl>
              <c:idx val="2"/>
              <c:layout>
                <c:manualLayout>
                  <c:x val="-1.4925373134328358E-2"/>
                  <c:y val="-4.786107581533248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265-4692-9032-62DDEDF7C795}"/>
                </c:ext>
              </c:extLst>
            </c:dLbl>
            <c:dLbl>
              <c:idx val="3"/>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265-4692-9032-62DDEDF7C795}"/>
                </c:ext>
              </c:extLst>
            </c:dLbl>
            <c:dLbl>
              <c:idx val="4"/>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265-4692-9032-62DDEDF7C795}"/>
                </c:ext>
              </c:extLst>
            </c:dLbl>
            <c:dLbl>
              <c:idx val="9"/>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265-4692-9032-62DDEDF7C795}"/>
                </c:ext>
              </c:extLst>
            </c:dLbl>
            <c:dLbl>
              <c:idx val="10"/>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265-4692-9032-62DDEDF7C795}"/>
                </c:ext>
              </c:extLst>
            </c:dLbl>
            <c:dLbl>
              <c:idx val="11"/>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265-4692-9032-62DDEDF7C795}"/>
                </c:ext>
              </c:extLst>
            </c:dLbl>
            <c:dLbl>
              <c:idx val="14"/>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265-4692-9032-62DDEDF7C795}"/>
                </c:ext>
              </c:extLst>
            </c:dLbl>
            <c:dLbl>
              <c:idx val="15"/>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265-4692-9032-62DDEDF7C795}"/>
                </c:ext>
              </c:extLst>
            </c:dLbl>
            <c:dLbl>
              <c:idx val="17"/>
              <c:layout>
                <c:manualLayout>
                  <c:x val="1.7196625567813109E-2"/>
                  <c:y val="-5.760271071579838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265-4692-9032-62DDEDF7C795}"/>
                </c:ext>
              </c:extLst>
            </c:dLbl>
            <c:dLbl>
              <c:idx val="18"/>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265-4692-9032-62DDEDF7C795}"/>
                </c:ext>
              </c:extLst>
            </c:dLbl>
            <c:dLbl>
              <c:idx val="19"/>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265-4692-9032-62DDEDF7C795}"/>
                </c:ext>
              </c:extLst>
            </c:dLbl>
            <c:dLbl>
              <c:idx val="20"/>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265-4692-9032-62DDEDF7C79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General</c:formatCode>
                <c:ptCount val="23"/>
                <c:pt idx="0">
                  <c:v>62.513599999999997</c:v>
                </c:pt>
                <c:pt idx="1">
                  <c:v>67.825900000000004</c:v>
                </c:pt>
                <c:pt idx="2">
                  <c:v>69.997699999999995</c:v>
                </c:pt>
                <c:pt idx="3">
                  <c:v>66.534300000000002</c:v>
                </c:pt>
                <c:pt idx="4">
                  <c:v>64.006500000000003</c:v>
                </c:pt>
                <c:pt idx="5">
                  <c:v>66.199799999999996</c:v>
                </c:pt>
                <c:pt idx="6">
                  <c:v>73.2136</c:v>
                </c:pt>
                <c:pt idx="7">
                  <c:v>78.125100000000003</c:v>
                </c:pt>
                <c:pt idx="8">
                  <c:v>73.209199999999996</c:v>
                </c:pt>
                <c:pt idx="9">
                  <c:v>64.346000000000004</c:v>
                </c:pt>
                <c:pt idx="10">
                  <c:v>64.356099999999998</c:v>
                </c:pt>
                <c:pt idx="11">
                  <c:v>63.48</c:v>
                </c:pt>
                <c:pt idx="12">
                  <c:v>63.874000000000002</c:v>
                </c:pt>
                <c:pt idx="13">
                  <c:v>77.985299999999995</c:v>
                </c:pt>
                <c:pt idx="14">
                  <c:v>83.573099999999997</c:v>
                </c:pt>
                <c:pt idx="15">
                  <c:v>88.076599999999999</c:v>
                </c:pt>
                <c:pt idx="16">
                  <c:v>78.718599999999995</c:v>
                </c:pt>
                <c:pt idx="17">
                  <c:v>81.247500000000002</c:v>
                </c:pt>
                <c:pt idx="18">
                  <c:v>81.865600000000001</c:v>
                </c:pt>
                <c:pt idx="19">
                  <c:v>79.920100000000005</c:v>
                </c:pt>
                <c:pt idx="20">
                  <c:v>77.406800000000004</c:v>
                </c:pt>
                <c:pt idx="21">
                  <c:v>81.684299999999993</c:v>
                </c:pt>
                <c:pt idx="22">
                  <c:v>91.987899999999996</c:v>
                </c:pt>
              </c:numCache>
            </c:numRef>
          </c:val>
          <c:smooth val="0"/>
          <c:extLst>
            <c:ext xmlns:c16="http://schemas.microsoft.com/office/drawing/2014/chart" uri="{C3380CC4-5D6E-409C-BE32-E72D297353CC}">
              <c16:uniqueId val="{0000000D-A265-4692-9032-62DDEDF7C795}"/>
            </c:ext>
          </c:extLst>
        </c:ser>
        <c:dLbls>
          <c:showLegendKey val="0"/>
          <c:showVal val="0"/>
          <c:showCatName val="0"/>
          <c:showSerName val="0"/>
          <c:showPercent val="0"/>
          <c:showBubbleSize val="0"/>
        </c:dLbls>
        <c:marker val="1"/>
        <c:smooth val="0"/>
        <c:axId val="257097519"/>
        <c:axId val="1"/>
      </c:lineChart>
      <c:catAx>
        <c:axId val="257097519"/>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95"/>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57097519"/>
        <c:crosses val="min"/>
        <c:crossBetween val="midCat"/>
        <c:majorUnit val="5"/>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204807918925289E-2"/>
          <c:y val="0.16377649325626203"/>
          <c:w val="0.96559038416214937"/>
          <c:h val="0.78612716763005785"/>
        </c:manualLayout>
      </c:layout>
      <c:lineChart>
        <c:grouping val="standard"/>
        <c:varyColors val="0"/>
        <c:ser>
          <c:idx val="0"/>
          <c:order val="0"/>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815-40B5-B146-574135B90E6D}"/>
                </c:ext>
              </c:extLst>
            </c:dLbl>
            <c:dLbl>
              <c:idx val="1"/>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815-40B5-B146-574135B90E6D}"/>
                </c:ext>
              </c:extLst>
            </c:dLbl>
            <c:dLbl>
              <c:idx val="2"/>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815-40B5-B146-574135B90E6D}"/>
                </c:ext>
              </c:extLst>
            </c:dLbl>
            <c:dLbl>
              <c:idx val="3"/>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815-40B5-B146-574135B90E6D}"/>
                </c:ext>
              </c:extLst>
            </c:dLbl>
            <c:dLbl>
              <c:idx val="4"/>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815-40B5-B146-574135B90E6D}"/>
                </c:ext>
              </c:extLst>
            </c:dLbl>
            <c:dLbl>
              <c:idx val="5"/>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815-40B5-B146-574135B90E6D}"/>
                </c:ext>
              </c:extLst>
            </c:dLbl>
            <c:dLbl>
              <c:idx val="6"/>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815-40B5-B146-574135B90E6D}"/>
                </c:ext>
              </c:extLst>
            </c:dLbl>
            <c:dLbl>
              <c:idx val="7"/>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815-40B5-B146-574135B90E6D}"/>
                </c:ext>
              </c:extLst>
            </c:dLbl>
            <c:dLbl>
              <c:idx val="8"/>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815-40B5-B146-574135B90E6D}"/>
                </c:ext>
              </c:extLst>
            </c:dLbl>
            <c:dLbl>
              <c:idx val="9"/>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815-40B5-B146-574135B90E6D}"/>
                </c:ext>
              </c:extLst>
            </c:dLbl>
            <c:dLbl>
              <c:idx val="10"/>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815-40B5-B146-574135B90E6D}"/>
                </c:ext>
              </c:extLst>
            </c:dLbl>
            <c:dLbl>
              <c:idx val="11"/>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815-40B5-B146-574135B90E6D}"/>
                </c:ext>
              </c:extLst>
            </c:dLbl>
            <c:dLbl>
              <c:idx val="12"/>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815-40B5-B146-574135B90E6D}"/>
                </c:ext>
              </c:extLst>
            </c:dLbl>
            <c:dLbl>
              <c:idx val="13"/>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815-40B5-B146-574135B90E6D}"/>
                </c:ext>
              </c:extLst>
            </c:dLbl>
            <c:dLbl>
              <c:idx val="14"/>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815-40B5-B146-574135B90E6D}"/>
                </c:ext>
              </c:extLst>
            </c:dLbl>
            <c:dLbl>
              <c:idx val="15"/>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815-40B5-B146-574135B90E6D}"/>
                </c:ext>
              </c:extLst>
            </c:dLbl>
            <c:dLbl>
              <c:idx val="16"/>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815-40B5-B146-574135B90E6D}"/>
                </c:ext>
              </c:extLst>
            </c:dLbl>
            <c:dLbl>
              <c:idx val="17"/>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815-40B5-B146-574135B90E6D}"/>
                </c:ext>
              </c:extLst>
            </c:dLbl>
            <c:dLbl>
              <c:idx val="18"/>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815-40B5-B146-574135B90E6D}"/>
                </c:ext>
              </c:extLst>
            </c:dLbl>
            <c:dLbl>
              <c:idx val="19"/>
              <c:layout>
                <c:manualLayout>
                  <c:x val="0"/>
                  <c:y val="-0.104046242774566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815-40B5-B146-574135B90E6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T$1</c:f>
              <c:numCache>
                <c:formatCode>General</c:formatCode>
                <c:ptCount val="20"/>
                <c:pt idx="0">
                  <c:v>36.332900391447545</c:v>
                </c:pt>
                <c:pt idx="1">
                  <c:v>27.885048269572348</c:v>
                </c:pt>
                <c:pt idx="2">
                  <c:v>31.328049284933513</c:v>
                </c:pt>
                <c:pt idx="3">
                  <c:v>37.074733622294936</c:v>
                </c:pt>
                <c:pt idx="4">
                  <c:v>32.463787943853625</c:v>
                </c:pt>
                <c:pt idx="5">
                  <c:v>32.986206898799111</c:v>
                </c:pt>
                <c:pt idx="6">
                  <c:v>33.920409704060042</c:v>
                </c:pt>
                <c:pt idx="7">
                  <c:v>33.491454318613719</c:v>
                </c:pt>
                <c:pt idx="8">
                  <c:v>37.306265702790178</c:v>
                </c:pt>
                <c:pt idx="9">
                  <c:v>34.880093222459067</c:v>
                </c:pt>
                <c:pt idx="10">
                  <c:v>35.879808887626332</c:v>
                </c:pt>
                <c:pt idx="11">
                  <c:v>37.117604826674231</c:v>
                </c:pt>
                <c:pt idx="12">
                  <c:v>39.30094406350856</c:v>
                </c:pt>
                <c:pt idx="13">
                  <c:v>41.701702550140816</c:v>
                </c:pt>
                <c:pt idx="14">
                  <c:v>45.037305998277851</c:v>
                </c:pt>
                <c:pt idx="15">
                  <c:v>47.077338222748956</c:v>
                </c:pt>
                <c:pt idx="16">
                  <c:v>47.34394085773733</c:v>
                </c:pt>
                <c:pt idx="17">
                  <c:v>48.266606750837404</c:v>
                </c:pt>
                <c:pt idx="18">
                  <c:v>50.007577829164859</c:v>
                </c:pt>
                <c:pt idx="19">
                  <c:v>50.201997144598373</c:v>
                </c:pt>
              </c:numCache>
            </c:numRef>
          </c:val>
          <c:smooth val="0"/>
          <c:extLst>
            <c:ext xmlns:c16="http://schemas.microsoft.com/office/drawing/2014/chart" uri="{C3380CC4-5D6E-409C-BE32-E72D297353CC}">
              <c16:uniqueId val="{00000014-3815-40B5-B146-574135B90E6D}"/>
            </c:ext>
          </c:extLst>
        </c:ser>
        <c:dLbls>
          <c:showLegendKey val="0"/>
          <c:showVal val="0"/>
          <c:showCatName val="0"/>
          <c:showSerName val="0"/>
          <c:showPercent val="0"/>
          <c:showBubbleSize val="0"/>
        </c:dLbls>
        <c:marker val="1"/>
        <c:smooth val="0"/>
        <c:axId val="780817056"/>
        <c:axId val="1"/>
      </c:lineChart>
      <c:catAx>
        <c:axId val="780817056"/>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50.201997144598373"/>
          <c:min val="0"/>
        </c:scaling>
        <c:delete val="1"/>
        <c:axPos val="r"/>
        <c:numFmt formatCode="General" sourceLinked="1"/>
        <c:majorTickMark val="out"/>
        <c:minorTickMark val="none"/>
        <c:tickLblPos val="nextTo"/>
        <c:crossAx val="780817056"/>
        <c:crosses val="max"/>
        <c:crossBetween val="midCat"/>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812325531458022E-2"/>
          <c:y val="6.7245119305856832E-2"/>
          <c:w val="0.90702168778183379"/>
          <c:h val="0.79609544468546634"/>
        </c:manualLayout>
      </c:layout>
      <c:barChart>
        <c:barDir val="col"/>
        <c:grouping val="stacked"/>
        <c:varyColors val="0"/>
        <c:ser>
          <c:idx val="0"/>
          <c:order val="0"/>
          <c:spPr>
            <a:solidFill>
              <a:srgbClr val="C0E6F4"/>
            </a:solidFill>
            <a:ln w="9525" algn="ctr">
              <a:solidFill>
                <a:srgbClr val="808080"/>
              </a:solidFill>
              <a:prstDash val="solid"/>
            </a:ln>
          </c:spPr>
          <c:invertIfNegative val="0"/>
          <c:dLbls>
            <c:dLbl>
              <c:idx val="0"/>
              <c:layout>
                <c:manualLayout>
                  <c:x val="0"/>
                  <c:y val="0.1062906724511930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66C-45FC-9F29-B7BA70659CEC}"/>
                </c:ext>
              </c:extLst>
            </c:dLbl>
            <c:dLbl>
              <c:idx val="1"/>
              <c:layout>
                <c:manualLayout>
                  <c:x val="0"/>
                  <c:y val="9.5444685466377438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66C-45FC-9F29-B7BA70659CEC}"/>
                </c:ext>
              </c:extLst>
            </c:dLbl>
            <c:dLbl>
              <c:idx val="2"/>
              <c:layout>
                <c:manualLayout>
                  <c:x val="0"/>
                  <c:y val="0.101952277657266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66C-45FC-9F29-B7BA70659CEC}"/>
                </c:ext>
              </c:extLst>
            </c:dLbl>
            <c:dLbl>
              <c:idx val="3"/>
              <c:layout>
                <c:manualLayout>
                  <c:x val="0"/>
                  <c:y val="0.1127982646420824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66C-45FC-9F29-B7BA70659CEC}"/>
                </c:ext>
              </c:extLst>
            </c:dLbl>
            <c:dLbl>
              <c:idx val="4"/>
              <c:layout>
                <c:manualLayout>
                  <c:x val="0"/>
                  <c:y val="0.105206073752711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66C-45FC-9F29-B7BA70659CEC}"/>
                </c:ext>
              </c:extLst>
            </c:dLbl>
            <c:dLbl>
              <c:idx val="5"/>
              <c:layout>
                <c:manualLayout>
                  <c:x val="0"/>
                  <c:y val="0.1073752711496746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66C-45FC-9F29-B7BA70659CEC}"/>
                </c:ext>
              </c:extLst>
            </c:dLbl>
            <c:dLbl>
              <c:idx val="6"/>
              <c:layout>
                <c:manualLayout>
                  <c:x val="0"/>
                  <c:y val="0.1106290672451193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66C-45FC-9F29-B7BA70659CEC}"/>
                </c:ext>
              </c:extLst>
            </c:dLbl>
            <c:dLbl>
              <c:idx val="7"/>
              <c:layout>
                <c:manualLayout>
                  <c:x val="0"/>
                  <c:y val="0.1127982646420824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66C-45FC-9F29-B7BA70659CE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T$1</c:f>
              <c:numCache>
                <c:formatCode>General</c:formatCode>
                <c:ptCount val="20"/>
                <c:pt idx="0">
                  <c:v>1831.0990928372739</c:v>
                </c:pt>
                <c:pt idx="1">
                  <c:v>1315.3415649930248</c:v>
                </c:pt>
                <c:pt idx="2">
                  <c:v>1630.468895788071</c:v>
                </c:pt>
                <c:pt idx="3">
                  <c:v>2166.3528803335312</c:v>
                </c:pt>
                <c:pt idx="4">
                  <c:v>1819.3719599225492</c:v>
                </c:pt>
                <c:pt idx="5">
                  <c:v>1911.2856195037848</c:v>
                </c:pt>
                <c:pt idx="6">
                  <c:v>2072.5259064335096</c:v>
                </c:pt>
                <c:pt idx="7">
                  <c:v>2157.005917350868</c:v>
                </c:pt>
                <c:pt idx="8">
                  <c:v>2755.874143598689</c:v>
                </c:pt>
                <c:pt idx="9">
                  <c:v>2744.2110193821595</c:v>
                </c:pt>
                <c:pt idx="10">
                  <c:v>3046.5597900719749</c:v>
                </c:pt>
                <c:pt idx="11">
                  <c:v>3304.6165061530883</c:v>
                </c:pt>
                <c:pt idx="12">
                  <c:v>3851.7608083717769</c:v>
                </c:pt>
                <c:pt idx="13">
                  <c:v>4745.4384822430038</c:v>
                </c:pt>
                <c:pt idx="14">
                  <c:v>5595.5473843814934</c:v>
                </c:pt>
                <c:pt idx="15">
                  <c:v>6504.8230859878986</c:v>
                </c:pt>
                <c:pt idx="16">
                  <c:v>7100.9551475526905</c:v>
                </c:pt>
                <c:pt idx="17">
                  <c:v>7518.7742358563637</c:v>
                </c:pt>
                <c:pt idx="18">
                  <c:v>7547.0724828950715</c:v>
                </c:pt>
                <c:pt idx="19">
                  <c:v>7671.4467137206857</c:v>
                </c:pt>
              </c:numCache>
            </c:numRef>
          </c:val>
          <c:extLst>
            <c:ext xmlns:c16="http://schemas.microsoft.com/office/drawing/2014/chart" uri="{C3380CC4-5D6E-409C-BE32-E72D297353CC}">
              <c16:uniqueId val="{00000008-366C-45FC-9F29-B7BA70659CEC}"/>
            </c:ext>
          </c:extLst>
        </c:ser>
        <c:ser>
          <c:idx val="1"/>
          <c:order val="1"/>
          <c:spPr>
            <a:solidFill>
              <a:srgbClr val="80CCE8"/>
            </a:solidFill>
            <a:ln w="9525" algn="ctr">
              <a:solidFill>
                <a:srgbClr val="808080"/>
              </a:solidFill>
              <a:prstDash val="solid"/>
            </a:ln>
          </c:spPr>
          <c:invertIfNegative val="0"/>
          <c:val>
            <c:numRef>
              <c:f>Sheet1!$A$2:$T$2</c:f>
              <c:numCache>
                <c:formatCode>General</c:formatCode>
                <c:ptCount val="20"/>
                <c:pt idx="0">
                  <c:v>3208.6832342248927</c:v>
                </c:pt>
                <c:pt idx="1">
                  <c:v>3401.6721990760207</c:v>
                </c:pt>
                <c:pt idx="2">
                  <c:v>3574.0329260735498</c:v>
                </c:pt>
                <c:pt idx="3">
                  <c:v>3676.8526364035934</c:v>
                </c:pt>
                <c:pt idx="4">
                  <c:v>3784.9400293904887</c:v>
                </c:pt>
                <c:pt idx="5">
                  <c:v>3882.9108013443692</c:v>
                </c:pt>
                <c:pt idx="6">
                  <c:v>4037.4412918266053</c:v>
                </c:pt>
                <c:pt idx="7">
                  <c:v>4283.4606471364732</c:v>
                </c:pt>
                <c:pt idx="8">
                  <c:v>4631.2874810840367</c:v>
                </c:pt>
                <c:pt idx="9">
                  <c:v>5123.3454171218</c:v>
                </c:pt>
                <c:pt idx="10">
                  <c:v>5444.454751319925</c:v>
                </c:pt>
                <c:pt idx="11">
                  <c:v>5598.4808827664019</c:v>
                </c:pt>
                <c:pt idx="12">
                  <c:v>5948.9218473616438</c:v>
                </c:pt>
                <c:pt idx="13">
                  <c:v>6634.0453087059104</c:v>
                </c:pt>
                <c:pt idx="14">
                  <c:v>6828.7023800148445</c:v>
                </c:pt>
                <c:pt idx="15">
                  <c:v>7312.4897264102419</c:v>
                </c:pt>
                <c:pt idx="16">
                  <c:v>7897.7015314301179</c:v>
                </c:pt>
                <c:pt idx="17">
                  <c:v>8058.8160320277902</c:v>
                </c:pt>
                <c:pt idx="18">
                  <c:v>7544.7852125071477</c:v>
                </c:pt>
                <c:pt idx="19">
                  <c:v>7609.711706380368</c:v>
                </c:pt>
              </c:numCache>
            </c:numRef>
          </c:val>
          <c:extLst>
            <c:ext xmlns:c16="http://schemas.microsoft.com/office/drawing/2014/chart" uri="{C3380CC4-5D6E-409C-BE32-E72D297353CC}">
              <c16:uniqueId val="{00000009-366C-45FC-9F29-B7BA70659CEC}"/>
            </c:ext>
          </c:extLst>
        </c:ser>
        <c:dLbls>
          <c:showLegendKey val="0"/>
          <c:showVal val="0"/>
          <c:showCatName val="0"/>
          <c:showSerName val="0"/>
          <c:showPercent val="0"/>
          <c:showBubbleSize val="0"/>
        </c:dLbls>
        <c:gapWidth val="60"/>
        <c:overlap val="100"/>
        <c:axId val="481779167"/>
        <c:axId val="1"/>
      </c:barChart>
      <c:catAx>
        <c:axId val="48177916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481779167"/>
        <c:crosses val="min"/>
        <c:crossBetween val="between"/>
        <c:majorUnit val="5000"/>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1656389538592394E-2"/>
          <c:y val="6.5887353878852278E-2"/>
          <c:w val="0.91728683818839041"/>
          <c:h val="0.86822529224229539"/>
        </c:manualLayout>
      </c:layout>
      <c:barChart>
        <c:barDir val="col"/>
        <c:grouping val="stacked"/>
        <c:varyColors val="0"/>
        <c:ser>
          <c:idx val="0"/>
          <c:order val="0"/>
          <c:spPr>
            <a:solidFill>
              <a:srgbClr val="C0E6F4"/>
            </a:solidFill>
            <a:ln w="9525" algn="ctr">
              <a:solidFill>
                <a:srgbClr val="808080"/>
              </a:solidFill>
              <a:prstDash val="solid"/>
            </a:ln>
          </c:spPr>
          <c:invertIfNegative val="0"/>
          <c:val>
            <c:numRef>
              <c:f>Sheet1!$A$1:$T$1</c:f>
              <c:numCache>
                <c:formatCode>General</c:formatCode>
                <c:ptCount val="20"/>
                <c:pt idx="0">
                  <c:v>454.49434663886586</c:v>
                </c:pt>
                <c:pt idx="1">
                  <c:v>322.61338877891882</c:v>
                </c:pt>
                <c:pt idx="2">
                  <c:v>397.24718548181147</c:v>
                </c:pt>
                <c:pt idx="3">
                  <c:v>524.63909821662207</c:v>
                </c:pt>
                <c:pt idx="4">
                  <c:v>435.54684904086753</c:v>
                </c:pt>
                <c:pt idx="5">
                  <c:v>448.06044595015641</c:v>
                </c:pt>
                <c:pt idx="6">
                  <c:v>470.77920911296968</c:v>
                </c:pt>
                <c:pt idx="7">
                  <c:v>471.10291011740804</c:v>
                </c:pt>
                <c:pt idx="8">
                  <c:v>577.04925570619912</c:v>
                </c:pt>
                <c:pt idx="9">
                  <c:v>552.53156766001155</c:v>
                </c:pt>
                <c:pt idx="10">
                  <c:v>593.73565923574085</c:v>
                </c:pt>
                <c:pt idx="11">
                  <c:v>627.82010499074931</c:v>
                </c:pt>
                <c:pt idx="12">
                  <c:v>717.34389135397521</c:v>
                </c:pt>
                <c:pt idx="13">
                  <c:v>870.12602225648311</c:v>
                </c:pt>
                <c:pt idx="14">
                  <c:v>1012.6540204460988</c:v>
                </c:pt>
                <c:pt idx="15">
                  <c:v>1163.2057007727792</c:v>
                </c:pt>
                <c:pt idx="16">
                  <c:v>1255.9983804315402</c:v>
                </c:pt>
                <c:pt idx="17">
                  <c:v>1317.2249876720166</c:v>
                </c:pt>
                <c:pt idx="18">
                  <c:v>1310.8248013408374</c:v>
                </c:pt>
                <c:pt idx="19">
                  <c:v>1321.6749326789065</c:v>
                </c:pt>
              </c:numCache>
            </c:numRef>
          </c:val>
          <c:extLst>
            <c:ext xmlns:c16="http://schemas.microsoft.com/office/drawing/2014/chart" uri="{C3380CC4-5D6E-409C-BE32-E72D297353CC}">
              <c16:uniqueId val="{00000000-BA59-439F-A554-2DE42E88B382}"/>
            </c:ext>
          </c:extLst>
        </c:ser>
        <c:ser>
          <c:idx val="1"/>
          <c:order val="1"/>
          <c:spPr>
            <a:solidFill>
              <a:srgbClr val="80CCE8"/>
            </a:solidFill>
            <a:ln w="9525" algn="ctr">
              <a:solidFill>
                <a:srgbClr val="808080"/>
              </a:solidFill>
              <a:prstDash val="solid"/>
            </a:ln>
          </c:spPr>
          <c:invertIfNegative val="0"/>
          <c:val>
            <c:numRef>
              <c:f>Sheet1!$A$2:$T$2</c:f>
              <c:numCache>
                <c:formatCode>General</c:formatCode>
                <c:ptCount val="20"/>
                <c:pt idx="0">
                  <c:v>796.42243055806284</c:v>
                </c:pt>
                <c:pt idx="1">
                  <c:v>834.32701046345437</c:v>
                </c:pt>
                <c:pt idx="2">
                  <c:v>870.7768203181862</c:v>
                </c:pt>
                <c:pt idx="3">
                  <c:v>890.44618212947773</c:v>
                </c:pt>
                <c:pt idx="4">
                  <c:v>906.09217901756256</c:v>
                </c:pt>
                <c:pt idx="5">
                  <c:v>910.26622472402892</c:v>
                </c:pt>
                <c:pt idx="6">
                  <c:v>917.11443138342042</c:v>
                </c:pt>
                <c:pt idx="7">
                  <c:v>935.53325932352527</c:v>
                </c:pt>
                <c:pt idx="8">
                  <c:v>969.73985554768069</c:v>
                </c:pt>
                <c:pt idx="9">
                  <c:v>1031.5569957966941</c:v>
                </c:pt>
                <c:pt idx="10">
                  <c:v>1061.0548138553772</c:v>
                </c:pt>
                <c:pt idx="11">
                  <c:v>1063.6147489618206</c:v>
                </c:pt>
                <c:pt idx="12">
                  <c:v>1107.914784861995</c:v>
                </c:pt>
                <c:pt idx="13">
                  <c:v>1216.4219339337249</c:v>
                </c:pt>
                <c:pt idx="14">
                  <c:v>1235.8242088796537</c:v>
                </c:pt>
                <c:pt idx="15">
                  <c:v>1307.6342929180471</c:v>
                </c:pt>
                <c:pt idx="16">
                  <c:v>1396.9247976487541</c:v>
                </c:pt>
                <c:pt idx="17">
                  <c:v>1411.8356949481954</c:v>
                </c:pt>
                <c:pt idx="18">
                  <c:v>1310.4275332930406</c:v>
                </c:pt>
                <c:pt idx="19">
                  <c:v>1311.0389190669614</c:v>
                </c:pt>
              </c:numCache>
            </c:numRef>
          </c:val>
          <c:extLst>
            <c:ext xmlns:c16="http://schemas.microsoft.com/office/drawing/2014/chart" uri="{C3380CC4-5D6E-409C-BE32-E72D297353CC}">
              <c16:uniqueId val="{00000001-BA59-439F-A554-2DE42E88B382}"/>
            </c:ext>
          </c:extLst>
        </c:ser>
        <c:dLbls>
          <c:showLegendKey val="0"/>
          <c:showVal val="0"/>
          <c:showCatName val="0"/>
          <c:showSerName val="0"/>
          <c:showPercent val="0"/>
          <c:showBubbleSize val="0"/>
        </c:dLbls>
        <c:gapWidth val="60"/>
        <c:overlap val="100"/>
        <c:axId val="370834080"/>
        <c:axId val="1"/>
      </c:barChart>
      <c:catAx>
        <c:axId val="37083408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70834080"/>
        <c:crosses val="min"/>
        <c:crossBetween val="between"/>
        <c:majorUnit val="500"/>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9.v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image" Target="../media/image2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7.v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image" Target="../media/image1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6" y="3"/>
            <a:ext cx="2950375" cy="498965"/>
          </a:xfrm>
          <a:prstGeom prst="rect">
            <a:avLst/>
          </a:prstGeom>
        </p:spPr>
        <p:txBody>
          <a:bodyPr vert="horz" lIns="92201" tIns="46100" rIns="92201" bIns="46100"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55221" y="3"/>
            <a:ext cx="2950374" cy="498965"/>
          </a:xfrm>
          <a:prstGeom prst="rect">
            <a:avLst/>
          </a:prstGeom>
        </p:spPr>
        <p:txBody>
          <a:bodyPr vert="horz" lIns="92201" tIns="46100" rIns="92201" bIns="46100" rtlCol="0"/>
          <a:lstStyle>
            <a:lvl1pPr algn="r">
              <a:defRPr sz="1200"/>
            </a:lvl1pPr>
          </a:lstStyle>
          <a:p>
            <a:fld id="{AD5813BB-2A59-4094-A80D-63C58A298EE5}" type="datetimeFigureOut">
              <a:rPr kumimoji="1" lang="ja-JP" altLang="en-US" smtClean="0">
                <a:latin typeface="Arial" panose="020B0604020202020204" pitchFamily="34" charset="0"/>
              </a:rPr>
              <a:pPr/>
              <a:t>2023/3/29</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6" y="9440374"/>
            <a:ext cx="2950375" cy="498965"/>
          </a:xfrm>
          <a:prstGeom prst="rect">
            <a:avLst/>
          </a:prstGeom>
        </p:spPr>
        <p:txBody>
          <a:bodyPr vert="horz" lIns="92201" tIns="46100" rIns="92201" bIns="46100"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55221" y="9440374"/>
            <a:ext cx="2950374" cy="498965"/>
          </a:xfrm>
          <a:prstGeom prst="rect">
            <a:avLst/>
          </a:prstGeom>
        </p:spPr>
        <p:txBody>
          <a:bodyPr vert="horz" lIns="92201" tIns="46100" rIns="92201" bIns="46100"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5" y="5"/>
            <a:ext cx="2950529" cy="497524"/>
          </a:xfrm>
          <a:prstGeom prst="rect">
            <a:avLst/>
          </a:prstGeom>
        </p:spPr>
        <p:txBody>
          <a:bodyPr vert="horz" lIns="91518" tIns="45758" rIns="91518" bIns="45758"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55085" y="5"/>
            <a:ext cx="2950529" cy="497524"/>
          </a:xfrm>
          <a:prstGeom prst="rect">
            <a:avLst/>
          </a:prstGeom>
        </p:spPr>
        <p:txBody>
          <a:bodyPr vert="horz" lIns="91518" tIns="45758" rIns="91518" bIns="45758" rtlCol="0"/>
          <a:lstStyle>
            <a:lvl1pPr algn="r">
              <a:defRPr sz="1200">
                <a:latin typeface="Arial" panose="020B0604020202020204" pitchFamily="34" charset="0"/>
              </a:defRPr>
            </a:lvl1pPr>
          </a:lstStyle>
          <a:p>
            <a:fld id="{6F0D6084-7E8B-4A36-97F0-DEDFB028508E}" type="datetimeFigureOut">
              <a:rPr lang="ja-JP" altLang="en-US" smtClean="0"/>
              <a:pPr/>
              <a:t>2023/3/29</a:t>
            </a:fld>
            <a:endParaRPr lang="ja-JP" altLang="en-US" dirty="0"/>
          </a:p>
        </p:txBody>
      </p:sp>
      <p:sp>
        <p:nvSpPr>
          <p:cNvPr id="4" name="スライド イメージ プレースホルダ 3"/>
          <p:cNvSpPr>
            <a:spLocks noGrp="1" noRot="1" noChangeAspect="1"/>
          </p:cNvSpPr>
          <p:nvPr>
            <p:ph type="sldImg" idx="2"/>
          </p:nvPr>
        </p:nvSpPr>
        <p:spPr>
          <a:xfrm>
            <a:off x="709613" y="744538"/>
            <a:ext cx="5387975" cy="3729037"/>
          </a:xfrm>
          <a:prstGeom prst="rect">
            <a:avLst/>
          </a:prstGeom>
          <a:noFill/>
          <a:ln w="12700">
            <a:solidFill>
              <a:prstClr val="black"/>
            </a:solidFill>
          </a:ln>
        </p:spPr>
        <p:txBody>
          <a:bodyPr vert="horz" lIns="91518" tIns="45758" rIns="91518" bIns="45758" rtlCol="0" anchor="ctr"/>
          <a:lstStyle/>
          <a:p>
            <a:endParaRPr lang="ja-JP" altLang="en-US" dirty="0"/>
          </a:p>
        </p:txBody>
      </p:sp>
      <p:sp>
        <p:nvSpPr>
          <p:cNvPr id="5" name="ノート プレースホルダ 4"/>
          <p:cNvSpPr>
            <a:spLocks noGrp="1"/>
          </p:cNvSpPr>
          <p:nvPr>
            <p:ph type="body" sz="quarter" idx="3"/>
          </p:nvPr>
        </p:nvSpPr>
        <p:spPr>
          <a:xfrm>
            <a:off x="680404" y="4720911"/>
            <a:ext cx="5446396" cy="4472939"/>
          </a:xfrm>
          <a:prstGeom prst="rect">
            <a:avLst/>
          </a:prstGeom>
        </p:spPr>
        <p:txBody>
          <a:bodyPr vert="horz" lIns="91518" tIns="45758" rIns="91518" bIns="45758"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5" y="9440230"/>
            <a:ext cx="2950529" cy="497523"/>
          </a:xfrm>
          <a:prstGeom prst="rect">
            <a:avLst/>
          </a:prstGeom>
        </p:spPr>
        <p:txBody>
          <a:bodyPr vert="horz" lIns="91518" tIns="45758" rIns="91518" bIns="45758"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55085" y="9440230"/>
            <a:ext cx="2950529" cy="497523"/>
          </a:xfrm>
          <a:prstGeom prst="rect">
            <a:avLst/>
          </a:prstGeom>
        </p:spPr>
        <p:txBody>
          <a:bodyPr vert="horz" lIns="91518" tIns="45758" rIns="91518" bIns="45758"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8827358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28883277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1988828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6</a:t>
            </a:fld>
            <a:endParaRPr kumimoji="1" lang="ja-JP" altLang="en-US"/>
          </a:p>
        </p:txBody>
      </p:sp>
    </p:spTree>
    <p:extLst>
      <p:ext uri="{BB962C8B-B14F-4D97-AF65-F5344CB8AC3E}">
        <p14:creationId xmlns:p14="http://schemas.microsoft.com/office/powerpoint/2010/main" val="386215997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8.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1823" name="正方形/長方形 1822"/>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4" name="正方形/長方形 1823"/>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5" name="Oval 128"/>
          <p:cNvSpPr>
            <a:spLocks noChangeArrowheads="1"/>
          </p:cNvSpPr>
          <p:nvPr userDrawn="1"/>
        </p:nvSpPr>
        <p:spPr bwMode="auto">
          <a:xfrm>
            <a:off x="8180880" y="237561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6" name="Oval 129"/>
          <p:cNvSpPr>
            <a:spLocks noChangeArrowheads="1"/>
          </p:cNvSpPr>
          <p:nvPr userDrawn="1"/>
        </p:nvSpPr>
        <p:spPr bwMode="auto">
          <a:xfrm>
            <a:off x="8268443" y="23756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7" name="Oval 130"/>
          <p:cNvSpPr>
            <a:spLocks noChangeArrowheads="1"/>
          </p:cNvSpPr>
          <p:nvPr userDrawn="1"/>
        </p:nvSpPr>
        <p:spPr bwMode="auto">
          <a:xfrm>
            <a:off x="8353467" y="237561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8" name="Oval 120"/>
          <p:cNvSpPr>
            <a:spLocks noChangeArrowheads="1"/>
          </p:cNvSpPr>
          <p:nvPr userDrawn="1"/>
        </p:nvSpPr>
        <p:spPr bwMode="auto">
          <a:xfrm>
            <a:off x="8440848" y="23710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29" name="Oval 121"/>
          <p:cNvSpPr>
            <a:spLocks noChangeArrowheads="1"/>
          </p:cNvSpPr>
          <p:nvPr userDrawn="1"/>
        </p:nvSpPr>
        <p:spPr bwMode="auto">
          <a:xfrm>
            <a:off x="8525872" y="237106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0" name="Oval 65"/>
          <p:cNvSpPr>
            <a:spLocks noChangeArrowheads="1"/>
          </p:cNvSpPr>
          <p:nvPr userDrawn="1"/>
        </p:nvSpPr>
        <p:spPr bwMode="auto">
          <a:xfrm>
            <a:off x="8180880" y="245920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1" name="Oval 66"/>
          <p:cNvSpPr>
            <a:spLocks noChangeArrowheads="1"/>
          </p:cNvSpPr>
          <p:nvPr userDrawn="1"/>
        </p:nvSpPr>
        <p:spPr bwMode="auto">
          <a:xfrm>
            <a:off x="8268443" y="245920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2" name="Oval 67"/>
          <p:cNvSpPr>
            <a:spLocks noChangeArrowheads="1"/>
          </p:cNvSpPr>
          <p:nvPr userDrawn="1"/>
        </p:nvSpPr>
        <p:spPr bwMode="auto">
          <a:xfrm>
            <a:off x="8353467" y="245920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3" name="Oval 89"/>
          <p:cNvSpPr>
            <a:spLocks noChangeArrowheads="1"/>
          </p:cNvSpPr>
          <p:nvPr userDrawn="1"/>
        </p:nvSpPr>
        <p:spPr bwMode="auto">
          <a:xfrm>
            <a:off x="8180880" y="2544226"/>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4" name="Oval 90"/>
          <p:cNvSpPr>
            <a:spLocks noChangeArrowheads="1"/>
          </p:cNvSpPr>
          <p:nvPr userDrawn="1"/>
        </p:nvSpPr>
        <p:spPr bwMode="auto">
          <a:xfrm>
            <a:off x="8268443" y="254422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5" name="Oval 91"/>
          <p:cNvSpPr>
            <a:spLocks noChangeArrowheads="1"/>
          </p:cNvSpPr>
          <p:nvPr userDrawn="1"/>
        </p:nvSpPr>
        <p:spPr bwMode="auto">
          <a:xfrm>
            <a:off x="8353467" y="254422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6" name="Oval 108"/>
          <p:cNvSpPr>
            <a:spLocks noChangeArrowheads="1"/>
          </p:cNvSpPr>
          <p:nvPr userDrawn="1"/>
        </p:nvSpPr>
        <p:spPr bwMode="auto">
          <a:xfrm>
            <a:off x="8180880" y="262925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7" name="Oval 109"/>
          <p:cNvSpPr>
            <a:spLocks noChangeArrowheads="1"/>
          </p:cNvSpPr>
          <p:nvPr userDrawn="1"/>
        </p:nvSpPr>
        <p:spPr bwMode="auto">
          <a:xfrm>
            <a:off x="8268443" y="262925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8" name="Oval 110"/>
          <p:cNvSpPr>
            <a:spLocks noChangeArrowheads="1"/>
          </p:cNvSpPr>
          <p:nvPr userDrawn="1"/>
        </p:nvSpPr>
        <p:spPr bwMode="auto">
          <a:xfrm>
            <a:off x="8353467" y="262925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39" name="Oval 127"/>
          <p:cNvSpPr>
            <a:spLocks noChangeArrowheads="1"/>
          </p:cNvSpPr>
          <p:nvPr userDrawn="1"/>
        </p:nvSpPr>
        <p:spPr bwMode="auto">
          <a:xfrm>
            <a:off x="8095856"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0" name="Oval 128"/>
          <p:cNvSpPr>
            <a:spLocks noChangeArrowheads="1"/>
          </p:cNvSpPr>
          <p:nvPr userDrawn="1"/>
        </p:nvSpPr>
        <p:spPr bwMode="auto">
          <a:xfrm>
            <a:off x="8180880" y="271681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1" name="Oval 129"/>
          <p:cNvSpPr>
            <a:spLocks noChangeArrowheads="1"/>
          </p:cNvSpPr>
          <p:nvPr userDrawn="1"/>
        </p:nvSpPr>
        <p:spPr bwMode="auto">
          <a:xfrm>
            <a:off x="8268443"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2" name="Oval 130"/>
          <p:cNvSpPr>
            <a:spLocks noChangeArrowheads="1"/>
          </p:cNvSpPr>
          <p:nvPr userDrawn="1"/>
        </p:nvSpPr>
        <p:spPr bwMode="auto">
          <a:xfrm>
            <a:off x="8353467" y="271681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3" name="Oval 57"/>
          <p:cNvSpPr>
            <a:spLocks noChangeArrowheads="1"/>
          </p:cNvSpPr>
          <p:nvPr userDrawn="1"/>
        </p:nvSpPr>
        <p:spPr bwMode="auto">
          <a:xfrm>
            <a:off x="8440848" y="24546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4" name="Oval 59"/>
          <p:cNvSpPr>
            <a:spLocks noChangeArrowheads="1"/>
          </p:cNvSpPr>
          <p:nvPr userDrawn="1"/>
        </p:nvSpPr>
        <p:spPr bwMode="auto">
          <a:xfrm>
            <a:off x="8525872" y="245465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5" name="Oval 81"/>
          <p:cNvSpPr>
            <a:spLocks noChangeArrowheads="1"/>
          </p:cNvSpPr>
          <p:nvPr userDrawn="1"/>
        </p:nvSpPr>
        <p:spPr bwMode="auto">
          <a:xfrm>
            <a:off x="8440848" y="25396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6" name="Oval 82"/>
          <p:cNvSpPr>
            <a:spLocks noChangeArrowheads="1"/>
          </p:cNvSpPr>
          <p:nvPr userDrawn="1"/>
        </p:nvSpPr>
        <p:spPr bwMode="auto">
          <a:xfrm>
            <a:off x="8525872" y="253967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7" name="Oval 100"/>
          <p:cNvSpPr>
            <a:spLocks noChangeArrowheads="1"/>
          </p:cNvSpPr>
          <p:nvPr userDrawn="1"/>
        </p:nvSpPr>
        <p:spPr bwMode="auto">
          <a:xfrm>
            <a:off x="8440848"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8" name="Oval 101"/>
          <p:cNvSpPr>
            <a:spLocks noChangeArrowheads="1"/>
          </p:cNvSpPr>
          <p:nvPr userDrawn="1"/>
        </p:nvSpPr>
        <p:spPr bwMode="auto">
          <a:xfrm>
            <a:off x="8525872"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49" name="Oval 102"/>
          <p:cNvSpPr>
            <a:spLocks noChangeArrowheads="1"/>
          </p:cNvSpPr>
          <p:nvPr userDrawn="1"/>
        </p:nvSpPr>
        <p:spPr bwMode="auto">
          <a:xfrm>
            <a:off x="8610897" y="2624701"/>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0" name="Oval 103"/>
          <p:cNvSpPr>
            <a:spLocks noChangeArrowheads="1"/>
          </p:cNvSpPr>
          <p:nvPr userDrawn="1"/>
        </p:nvSpPr>
        <p:spPr bwMode="auto">
          <a:xfrm>
            <a:off x="8698459" y="2624701"/>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1" name="Oval 120"/>
          <p:cNvSpPr>
            <a:spLocks noChangeArrowheads="1"/>
          </p:cNvSpPr>
          <p:nvPr userDrawn="1"/>
        </p:nvSpPr>
        <p:spPr bwMode="auto">
          <a:xfrm>
            <a:off x="8440848"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2" name="Oval 121"/>
          <p:cNvSpPr>
            <a:spLocks noChangeArrowheads="1"/>
          </p:cNvSpPr>
          <p:nvPr userDrawn="1"/>
        </p:nvSpPr>
        <p:spPr bwMode="auto">
          <a:xfrm>
            <a:off x="8525872"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3" name="Oval 122"/>
          <p:cNvSpPr>
            <a:spLocks noChangeArrowheads="1"/>
          </p:cNvSpPr>
          <p:nvPr userDrawn="1"/>
        </p:nvSpPr>
        <p:spPr bwMode="auto">
          <a:xfrm>
            <a:off x="8610897" y="27122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4" name="Oval 123"/>
          <p:cNvSpPr>
            <a:spLocks noChangeArrowheads="1"/>
          </p:cNvSpPr>
          <p:nvPr userDrawn="1"/>
        </p:nvSpPr>
        <p:spPr bwMode="auto">
          <a:xfrm>
            <a:off x="8698459"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5" name="Oval 124"/>
          <p:cNvSpPr>
            <a:spLocks noChangeArrowheads="1"/>
          </p:cNvSpPr>
          <p:nvPr userDrawn="1"/>
        </p:nvSpPr>
        <p:spPr bwMode="auto">
          <a:xfrm>
            <a:off x="8783484" y="2712263"/>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6" name="Oval 125"/>
          <p:cNvSpPr>
            <a:spLocks noChangeArrowheads="1"/>
          </p:cNvSpPr>
          <p:nvPr userDrawn="1"/>
        </p:nvSpPr>
        <p:spPr bwMode="auto">
          <a:xfrm>
            <a:off x="8868508" y="2712263"/>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7" name="Oval 126"/>
          <p:cNvSpPr>
            <a:spLocks noChangeArrowheads="1"/>
          </p:cNvSpPr>
          <p:nvPr userDrawn="1"/>
        </p:nvSpPr>
        <p:spPr bwMode="auto">
          <a:xfrm>
            <a:off x="8954802"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8" name="Oval 127"/>
          <p:cNvSpPr>
            <a:spLocks noChangeArrowheads="1"/>
          </p:cNvSpPr>
          <p:nvPr userDrawn="1"/>
        </p:nvSpPr>
        <p:spPr bwMode="auto">
          <a:xfrm>
            <a:off x="9039826"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59" name="Oval 128"/>
          <p:cNvSpPr>
            <a:spLocks noChangeArrowheads="1"/>
          </p:cNvSpPr>
          <p:nvPr userDrawn="1"/>
        </p:nvSpPr>
        <p:spPr bwMode="auto">
          <a:xfrm>
            <a:off x="9124850" y="271226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0" name="Oval 129"/>
          <p:cNvSpPr>
            <a:spLocks noChangeArrowheads="1"/>
          </p:cNvSpPr>
          <p:nvPr userDrawn="1"/>
        </p:nvSpPr>
        <p:spPr bwMode="auto">
          <a:xfrm>
            <a:off x="9212413" y="271226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1" name="Oval 128"/>
          <p:cNvSpPr>
            <a:spLocks noChangeArrowheads="1"/>
          </p:cNvSpPr>
          <p:nvPr userDrawn="1"/>
        </p:nvSpPr>
        <p:spPr bwMode="auto">
          <a:xfrm>
            <a:off x="5348970" y="3078477"/>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2" name="Oval 129"/>
          <p:cNvSpPr>
            <a:spLocks noChangeArrowheads="1"/>
          </p:cNvSpPr>
          <p:nvPr userDrawn="1"/>
        </p:nvSpPr>
        <p:spPr bwMode="auto">
          <a:xfrm>
            <a:off x="5436533" y="307847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3" name="Oval 130"/>
          <p:cNvSpPr>
            <a:spLocks noChangeArrowheads="1"/>
          </p:cNvSpPr>
          <p:nvPr userDrawn="1"/>
        </p:nvSpPr>
        <p:spPr bwMode="auto">
          <a:xfrm>
            <a:off x="5521557" y="307847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4" name="Oval 60"/>
          <p:cNvSpPr>
            <a:spLocks noChangeArrowheads="1"/>
          </p:cNvSpPr>
          <p:nvPr userDrawn="1"/>
        </p:nvSpPr>
        <p:spPr bwMode="auto">
          <a:xfrm>
            <a:off x="5866549" y="28163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5" name="Oval 61"/>
          <p:cNvSpPr>
            <a:spLocks noChangeArrowheads="1"/>
          </p:cNvSpPr>
          <p:nvPr userDrawn="1"/>
        </p:nvSpPr>
        <p:spPr bwMode="auto">
          <a:xfrm>
            <a:off x="5951574" y="2816317"/>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6" name="Oval 62"/>
          <p:cNvSpPr>
            <a:spLocks noChangeArrowheads="1"/>
          </p:cNvSpPr>
          <p:nvPr userDrawn="1"/>
        </p:nvSpPr>
        <p:spPr bwMode="auto">
          <a:xfrm>
            <a:off x="6036598" y="2816317"/>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7" name="Oval 63"/>
          <p:cNvSpPr>
            <a:spLocks noChangeArrowheads="1"/>
          </p:cNvSpPr>
          <p:nvPr userDrawn="1"/>
        </p:nvSpPr>
        <p:spPr bwMode="auto">
          <a:xfrm>
            <a:off x="6122892" y="2816317"/>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8" name="Oval 83"/>
          <p:cNvSpPr>
            <a:spLocks noChangeArrowheads="1"/>
          </p:cNvSpPr>
          <p:nvPr userDrawn="1"/>
        </p:nvSpPr>
        <p:spPr bwMode="auto">
          <a:xfrm>
            <a:off x="5778987" y="29013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69" name="Oval 84"/>
          <p:cNvSpPr>
            <a:spLocks noChangeArrowheads="1"/>
          </p:cNvSpPr>
          <p:nvPr userDrawn="1"/>
        </p:nvSpPr>
        <p:spPr bwMode="auto">
          <a:xfrm>
            <a:off x="5866549" y="29013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0" name="Oval 85"/>
          <p:cNvSpPr>
            <a:spLocks noChangeArrowheads="1"/>
          </p:cNvSpPr>
          <p:nvPr userDrawn="1"/>
        </p:nvSpPr>
        <p:spPr bwMode="auto">
          <a:xfrm>
            <a:off x="5951574" y="290134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1" name="Oval 86"/>
          <p:cNvSpPr>
            <a:spLocks noChangeArrowheads="1"/>
          </p:cNvSpPr>
          <p:nvPr userDrawn="1"/>
        </p:nvSpPr>
        <p:spPr bwMode="auto">
          <a:xfrm>
            <a:off x="6036598" y="290134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2" name="Oval 87"/>
          <p:cNvSpPr>
            <a:spLocks noChangeArrowheads="1"/>
          </p:cNvSpPr>
          <p:nvPr userDrawn="1"/>
        </p:nvSpPr>
        <p:spPr bwMode="auto">
          <a:xfrm>
            <a:off x="6122892" y="290134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3" name="Oval 100"/>
          <p:cNvSpPr>
            <a:spLocks noChangeArrowheads="1"/>
          </p:cNvSpPr>
          <p:nvPr userDrawn="1"/>
        </p:nvSpPr>
        <p:spPr bwMode="auto">
          <a:xfrm>
            <a:off x="5608938"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4" name="Oval 101"/>
          <p:cNvSpPr>
            <a:spLocks noChangeArrowheads="1"/>
          </p:cNvSpPr>
          <p:nvPr userDrawn="1"/>
        </p:nvSpPr>
        <p:spPr bwMode="auto">
          <a:xfrm>
            <a:off x="5693962"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5" name="Oval 102"/>
          <p:cNvSpPr>
            <a:spLocks noChangeArrowheads="1"/>
          </p:cNvSpPr>
          <p:nvPr userDrawn="1"/>
        </p:nvSpPr>
        <p:spPr bwMode="auto">
          <a:xfrm>
            <a:off x="5778987" y="29863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6" name="Oval 103"/>
          <p:cNvSpPr>
            <a:spLocks noChangeArrowheads="1"/>
          </p:cNvSpPr>
          <p:nvPr userDrawn="1"/>
        </p:nvSpPr>
        <p:spPr bwMode="auto">
          <a:xfrm>
            <a:off x="5866549"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7" name="Oval 104"/>
          <p:cNvSpPr>
            <a:spLocks noChangeArrowheads="1"/>
          </p:cNvSpPr>
          <p:nvPr userDrawn="1"/>
        </p:nvSpPr>
        <p:spPr bwMode="auto">
          <a:xfrm>
            <a:off x="5951574" y="2986366"/>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8" name="Oval 105"/>
          <p:cNvSpPr>
            <a:spLocks noChangeArrowheads="1"/>
          </p:cNvSpPr>
          <p:nvPr userDrawn="1"/>
        </p:nvSpPr>
        <p:spPr bwMode="auto">
          <a:xfrm>
            <a:off x="6036598" y="2986366"/>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79" name="Oval 106"/>
          <p:cNvSpPr>
            <a:spLocks noChangeArrowheads="1"/>
          </p:cNvSpPr>
          <p:nvPr userDrawn="1"/>
        </p:nvSpPr>
        <p:spPr bwMode="auto">
          <a:xfrm>
            <a:off x="6122892" y="2986366"/>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0" name="Oval 120"/>
          <p:cNvSpPr>
            <a:spLocks noChangeArrowheads="1"/>
          </p:cNvSpPr>
          <p:nvPr userDrawn="1"/>
        </p:nvSpPr>
        <p:spPr bwMode="auto">
          <a:xfrm>
            <a:off x="5608938"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1" name="Oval 121"/>
          <p:cNvSpPr>
            <a:spLocks noChangeArrowheads="1"/>
          </p:cNvSpPr>
          <p:nvPr userDrawn="1"/>
        </p:nvSpPr>
        <p:spPr bwMode="auto">
          <a:xfrm>
            <a:off x="5693962"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2" name="Oval 122"/>
          <p:cNvSpPr>
            <a:spLocks noChangeArrowheads="1"/>
          </p:cNvSpPr>
          <p:nvPr userDrawn="1"/>
        </p:nvSpPr>
        <p:spPr bwMode="auto">
          <a:xfrm>
            <a:off x="5778987" y="30739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3" name="Oval 123"/>
          <p:cNvSpPr>
            <a:spLocks noChangeArrowheads="1"/>
          </p:cNvSpPr>
          <p:nvPr userDrawn="1"/>
        </p:nvSpPr>
        <p:spPr bwMode="auto">
          <a:xfrm>
            <a:off x="5866549"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4" name="Oval 124"/>
          <p:cNvSpPr>
            <a:spLocks noChangeArrowheads="1"/>
          </p:cNvSpPr>
          <p:nvPr userDrawn="1"/>
        </p:nvSpPr>
        <p:spPr bwMode="auto">
          <a:xfrm>
            <a:off x="5951574" y="3073928"/>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5" name="Oval 125"/>
          <p:cNvSpPr>
            <a:spLocks noChangeArrowheads="1"/>
          </p:cNvSpPr>
          <p:nvPr userDrawn="1"/>
        </p:nvSpPr>
        <p:spPr bwMode="auto">
          <a:xfrm>
            <a:off x="6036598" y="307392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6" name="Oval 126"/>
          <p:cNvSpPr>
            <a:spLocks noChangeArrowheads="1"/>
          </p:cNvSpPr>
          <p:nvPr userDrawn="1"/>
        </p:nvSpPr>
        <p:spPr bwMode="auto">
          <a:xfrm>
            <a:off x="6122892" y="307392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7" name="Oval 63"/>
          <p:cNvSpPr>
            <a:spLocks noChangeArrowheads="1"/>
          </p:cNvSpPr>
          <p:nvPr userDrawn="1"/>
        </p:nvSpPr>
        <p:spPr bwMode="auto">
          <a:xfrm>
            <a:off x="8010832"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8" name="Oval 64"/>
          <p:cNvSpPr>
            <a:spLocks noChangeArrowheads="1"/>
          </p:cNvSpPr>
          <p:nvPr userDrawn="1"/>
        </p:nvSpPr>
        <p:spPr bwMode="auto">
          <a:xfrm>
            <a:off x="8095856"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89" name="Oval 65"/>
          <p:cNvSpPr>
            <a:spLocks noChangeArrowheads="1"/>
          </p:cNvSpPr>
          <p:nvPr userDrawn="1"/>
        </p:nvSpPr>
        <p:spPr bwMode="auto">
          <a:xfrm>
            <a:off x="8180880" y="280721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0" name="Oval 66"/>
          <p:cNvSpPr>
            <a:spLocks noChangeArrowheads="1"/>
          </p:cNvSpPr>
          <p:nvPr userDrawn="1"/>
        </p:nvSpPr>
        <p:spPr bwMode="auto">
          <a:xfrm>
            <a:off x="8268443"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1" name="Oval 67"/>
          <p:cNvSpPr>
            <a:spLocks noChangeArrowheads="1"/>
          </p:cNvSpPr>
          <p:nvPr userDrawn="1"/>
        </p:nvSpPr>
        <p:spPr bwMode="auto">
          <a:xfrm>
            <a:off x="8353467" y="280721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2" name="Oval 86"/>
          <p:cNvSpPr>
            <a:spLocks noChangeArrowheads="1"/>
          </p:cNvSpPr>
          <p:nvPr userDrawn="1"/>
        </p:nvSpPr>
        <p:spPr bwMode="auto">
          <a:xfrm>
            <a:off x="7924538" y="289224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3" name="Oval 87"/>
          <p:cNvSpPr>
            <a:spLocks noChangeArrowheads="1"/>
          </p:cNvSpPr>
          <p:nvPr userDrawn="1"/>
        </p:nvSpPr>
        <p:spPr bwMode="auto">
          <a:xfrm>
            <a:off x="8010832"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4" name="Oval 88"/>
          <p:cNvSpPr>
            <a:spLocks noChangeArrowheads="1"/>
          </p:cNvSpPr>
          <p:nvPr userDrawn="1"/>
        </p:nvSpPr>
        <p:spPr bwMode="auto">
          <a:xfrm>
            <a:off x="8095856"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5" name="Oval 89"/>
          <p:cNvSpPr>
            <a:spLocks noChangeArrowheads="1"/>
          </p:cNvSpPr>
          <p:nvPr userDrawn="1"/>
        </p:nvSpPr>
        <p:spPr bwMode="auto">
          <a:xfrm>
            <a:off x="8180880" y="289224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6" name="Oval 90"/>
          <p:cNvSpPr>
            <a:spLocks noChangeArrowheads="1"/>
          </p:cNvSpPr>
          <p:nvPr userDrawn="1"/>
        </p:nvSpPr>
        <p:spPr bwMode="auto">
          <a:xfrm>
            <a:off x="8268443"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7" name="Oval 91"/>
          <p:cNvSpPr>
            <a:spLocks noChangeArrowheads="1"/>
          </p:cNvSpPr>
          <p:nvPr userDrawn="1"/>
        </p:nvSpPr>
        <p:spPr bwMode="auto">
          <a:xfrm>
            <a:off x="8353467" y="289224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8" name="Oval 105"/>
          <p:cNvSpPr>
            <a:spLocks noChangeArrowheads="1"/>
          </p:cNvSpPr>
          <p:nvPr userDrawn="1"/>
        </p:nvSpPr>
        <p:spPr bwMode="auto">
          <a:xfrm>
            <a:off x="7924538" y="297726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899" name="Oval 106"/>
          <p:cNvSpPr>
            <a:spLocks noChangeArrowheads="1"/>
          </p:cNvSpPr>
          <p:nvPr userDrawn="1"/>
        </p:nvSpPr>
        <p:spPr bwMode="auto">
          <a:xfrm>
            <a:off x="8010832"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0" name="Oval 107"/>
          <p:cNvSpPr>
            <a:spLocks noChangeArrowheads="1"/>
          </p:cNvSpPr>
          <p:nvPr userDrawn="1"/>
        </p:nvSpPr>
        <p:spPr bwMode="auto">
          <a:xfrm>
            <a:off x="8095856"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1" name="Oval 108"/>
          <p:cNvSpPr>
            <a:spLocks noChangeArrowheads="1"/>
          </p:cNvSpPr>
          <p:nvPr userDrawn="1"/>
        </p:nvSpPr>
        <p:spPr bwMode="auto">
          <a:xfrm>
            <a:off x="8180880" y="2977268"/>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2" name="Oval 109"/>
          <p:cNvSpPr>
            <a:spLocks noChangeArrowheads="1"/>
          </p:cNvSpPr>
          <p:nvPr userDrawn="1"/>
        </p:nvSpPr>
        <p:spPr bwMode="auto">
          <a:xfrm>
            <a:off x="8268443"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3" name="Oval 110"/>
          <p:cNvSpPr>
            <a:spLocks noChangeArrowheads="1"/>
          </p:cNvSpPr>
          <p:nvPr userDrawn="1"/>
        </p:nvSpPr>
        <p:spPr bwMode="auto">
          <a:xfrm>
            <a:off x="8353467" y="297726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4" name="Oval 129"/>
          <p:cNvSpPr>
            <a:spLocks noChangeArrowheads="1"/>
          </p:cNvSpPr>
          <p:nvPr userDrawn="1"/>
        </p:nvSpPr>
        <p:spPr bwMode="auto">
          <a:xfrm>
            <a:off x="8268443" y="30648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5" name="Oval 130"/>
          <p:cNvSpPr>
            <a:spLocks noChangeArrowheads="1"/>
          </p:cNvSpPr>
          <p:nvPr userDrawn="1"/>
        </p:nvSpPr>
        <p:spPr bwMode="auto">
          <a:xfrm>
            <a:off x="8353467" y="306483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6" name="Oval 57"/>
          <p:cNvSpPr>
            <a:spLocks noChangeArrowheads="1"/>
          </p:cNvSpPr>
          <p:nvPr userDrawn="1"/>
        </p:nvSpPr>
        <p:spPr bwMode="auto">
          <a:xfrm>
            <a:off x="8440848"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7" name="Oval 58"/>
          <p:cNvSpPr>
            <a:spLocks noChangeArrowheads="1"/>
          </p:cNvSpPr>
          <p:nvPr userDrawn="1"/>
        </p:nvSpPr>
        <p:spPr bwMode="auto">
          <a:xfrm>
            <a:off x="8610897" y="280267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8" name="Oval 59"/>
          <p:cNvSpPr>
            <a:spLocks noChangeArrowheads="1"/>
          </p:cNvSpPr>
          <p:nvPr userDrawn="1"/>
        </p:nvSpPr>
        <p:spPr bwMode="auto">
          <a:xfrm>
            <a:off x="8525872"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09" name="Oval 60"/>
          <p:cNvSpPr>
            <a:spLocks noChangeArrowheads="1"/>
          </p:cNvSpPr>
          <p:nvPr userDrawn="1"/>
        </p:nvSpPr>
        <p:spPr bwMode="auto">
          <a:xfrm>
            <a:off x="8698459"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0" name="Oval 61"/>
          <p:cNvSpPr>
            <a:spLocks noChangeArrowheads="1"/>
          </p:cNvSpPr>
          <p:nvPr userDrawn="1"/>
        </p:nvSpPr>
        <p:spPr bwMode="auto">
          <a:xfrm>
            <a:off x="8783484" y="2802670"/>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1" name="Oval 62"/>
          <p:cNvSpPr>
            <a:spLocks noChangeArrowheads="1"/>
          </p:cNvSpPr>
          <p:nvPr userDrawn="1"/>
        </p:nvSpPr>
        <p:spPr bwMode="auto">
          <a:xfrm>
            <a:off x="8868508" y="2802670"/>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2" name="Oval 63"/>
          <p:cNvSpPr>
            <a:spLocks noChangeArrowheads="1"/>
          </p:cNvSpPr>
          <p:nvPr userDrawn="1"/>
        </p:nvSpPr>
        <p:spPr bwMode="auto">
          <a:xfrm>
            <a:off x="8954802"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3" name="Oval 64"/>
          <p:cNvSpPr>
            <a:spLocks noChangeArrowheads="1"/>
          </p:cNvSpPr>
          <p:nvPr userDrawn="1"/>
        </p:nvSpPr>
        <p:spPr bwMode="auto">
          <a:xfrm>
            <a:off x="9039826"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4" name="Oval 65"/>
          <p:cNvSpPr>
            <a:spLocks noChangeArrowheads="1"/>
          </p:cNvSpPr>
          <p:nvPr userDrawn="1"/>
        </p:nvSpPr>
        <p:spPr bwMode="auto">
          <a:xfrm>
            <a:off x="9124850" y="280267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5" name="Oval 66"/>
          <p:cNvSpPr>
            <a:spLocks noChangeArrowheads="1"/>
          </p:cNvSpPr>
          <p:nvPr userDrawn="1"/>
        </p:nvSpPr>
        <p:spPr bwMode="auto">
          <a:xfrm>
            <a:off x="9212413" y="280267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6" name="Oval 81"/>
          <p:cNvSpPr>
            <a:spLocks noChangeArrowheads="1"/>
          </p:cNvSpPr>
          <p:nvPr userDrawn="1"/>
        </p:nvSpPr>
        <p:spPr bwMode="auto">
          <a:xfrm>
            <a:off x="8440848"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7" name="Oval 82"/>
          <p:cNvSpPr>
            <a:spLocks noChangeArrowheads="1"/>
          </p:cNvSpPr>
          <p:nvPr userDrawn="1"/>
        </p:nvSpPr>
        <p:spPr bwMode="auto">
          <a:xfrm>
            <a:off x="8525872"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8" name="Oval 83"/>
          <p:cNvSpPr>
            <a:spLocks noChangeArrowheads="1"/>
          </p:cNvSpPr>
          <p:nvPr userDrawn="1"/>
        </p:nvSpPr>
        <p:spPr bwMode="auto">
          <a:xfrm>
            <a:off x="8610897" y="288769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19" name="Oval 84"/>
          <p:cNvSpPr>
            <a:spLocks noChangeArrowheads="1"/>
          </p:cNvSpPr>
          <p:nvPr userDrawn="1"/>
        </p:nvSpPr>
        <p:spPr bwMode="auto">
          <a:xfrm>
            <a:off x="8698459"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0" name="Oval 85"/>
          <p:cNvSpPr>
            <a:spLocks noChangeArrowheads="1"/>
          </p:cNvSpPr>
          <p:nvPr userDrawn="1"/>
        </p:nvSpPr>
        <p:spPr bwMode="auto">
          <a:xfrm>
            <a:off x="8783484" y="288769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1" name="Oval 86"/>
          <p:cNvSpPr>
            <a:spLocks noChangeArrowheads="1"/>
          </p:cNvSpPr>
          <p:nvPr userDrawn="1"/>
        </p:nvSpPr>
        <p:spPr bwMode="auto">
          <a:xfrm>
            <a:off x="8868508" y="288769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2" name="Oval 87"/>
          <p:cNvSpPr>
            <a:spLocks noChangeArrowheads="1"/>
          </p:cNvSpPr>
          <p:nvPr userDrawn="1"/>
        </p:nvSpPr>
        <p:spPr bwMode="auto">
          <a:xfrm>
            <a:off x="8954802"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3" name="Oval 88"/>
          <p:cNvSpPr>
            <a:spLocks noChangeArrowheads="1"/>
          </p:cNvSpPr>
          <p:nvPr userDrawn="1"/>
        </p:nvSpPr>
        <p:spPr bwMode="auto">
          <a:xfrm>
            <a:off x="9039826"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4" name="Oval 89"/>
          <p:cNvSpPr>
            <a:spLocks noChangeArrowheads="1"/>
          </p:cNvSpPr>
          <p:nvPr userDrawn="1"/>
        </p:nvSpPr>
        <p:spPr bwMode="auto">
          <a:xfrm>
            <a:off x="9124850" y="288769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5" name="Oval 90"/>
          <p:cNvSpPr>
            <a:spLocks noChangeArrowheads="1"/>
          </p:cNvSpPr>
          <p:nvPr userDrawn="1"/>
        </p:nvSpPr>
        <p:spPr bwMode="auto">
          <a:xfrm>
            <a:off x="9212413" y="288769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6" name="Oval 100"/>
          <p:cNvSpPr>
            <a:spLocks noChangeArrowheads="1"/>
          </p:cNvSpPr>
          <p:nvPr userDrawn="1"/>
        </p:nvSpPr>
        <p:spPr bwMode="auto">
          <a:xfrm>
            <a:off x="8440848"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7" name="Oval 101"/>
          <p:cNvSpPr>
            <a:spLocks noChangeArrowheads="1"/>
          </p:cNvSpPr>
          <p:nvPr userDrawn="1"/>
        </p:nvSpPr>
        <p:spPr bwMode="auto">
          <a:xfrm>
            <a:off x="8525872"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8" name="Oval 102"/>
          <p:cNvSpPr>
            <a:spLocks noChangeArrowheads="1"/>
          </p:cNvSpPr>
          <p:nvPr userDrawn="1"/>
        </p:nvSpPr>
        <p:spPr bwMode="auto">
          <a:xfrm>
            <a:off x="8610897" y="297271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29" name="Oval 103"/>
          <p:cNvSpPr>
            <a:spLocks noChangeArrowheads="1"/>
          </p:cNvSpPr>
          <p:nvPr userDrawn="1"/>
        </p:nvSpPr>
        <p:spPr bwMode="auto">
          <a:xfrm>
            <a:off x="8698459"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0" name="Oval 104"/>
          <p:cNvSpPr>
            <a:spLocks noChangeArrowheads="1"/>
          </p:cNvSpPr>
          <p:nvPr userDrawn="1"/>
        </p:nvSpPr>
        <p:spPr bwMode="auto">
          <a:xfrm>
            <a:off x="8783484" y="2972719"/>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1" name="Oval 105"/>
          <p:cNvSpPr>
            <a:spLocks noChangeArrowheads="1"/>
          </p:cNvSpPr>
          <p:nvPr userDrawn="1"/>
        </p:nvSpPr>
        <p:spPr bwMode="auto">
          <a:xfrm>
            <a:off x="8868508" y="2972719"/>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2" name="Oval 106"/>
          <p:cNvSpPr>
            <a:spLocks noChangeArrowheads="1"/>
          </p:cNvSpPr>
          <p:nvPr userDrawn="1"/>
        </p:nvSpPr>
        <p:spPr bwMode="auto">
          <a:xfrm>
            <a:off x="8954802"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3" name="Oval 107"/>
          <p:cNvSpPr>
            <a:spLocks noChangeArrowheads="1"/>
          </p:cNvSpPr>
          <p:nvPr userDrawn="1"/>
        </p:nvSpPr>
        <p:spPr bwMode="auto">
          <a:xfrm>
            <a:off x="9039826"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4" name="Oval 108"/>
          <p:cNvSpPr>
            <a:spLocks noChangeArrowheads="1"/>
          </p:cNvSpPr>
          <p:nvPr userDrawn="1"/>
        </p:nvSpPr>
        <p:spPr bwMode="auto">
          <a:xfrm>
            <a:off x="9124850" y="297271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5" name="Oval 109"/>
          <p:cNvSpPr>
            <a:spLocks noChangeArrowheads="1"/>
          </p:cNvSpPr>
          <p:nvPr userDrawn="1"/>
        </p:nvSpPr>
        <p:spPr bwMode="auto">
          <a:xfrm>
            <a:off x="9212413" y="297271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6" name="Oval 120"/>
          <p:cNvSpPr>
            <a:spLocks noChangeArrowheads="1"/>
          </p:cNvSpPr>
          <p:nvPr userDrawn="1"/>
        </p:nvSpPr>
        <p:spPr bwMode="auto">
          <a:xfrm>
            <a:off x="8440848"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7" name="Oval 121"/>
          <p:cNvSpPr>
            <a:spLocks noChangeArrowheads="1"/>
          </p:cNvSpPr>
          <p:nvPr userDrawn="1"/>
        </p:nvSpPr>
        <p:spPr bwMode="auto">
          <a:xfrm>
            <a:off x="8525872"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8" name="Oval 122"/>
          <p:cNvSpPr>
            <a:spLocks noChangeArrowheads="1"/>
          </p:cNvSpPr>
          <p:nvPr userDrawn="1"/>
        </p:nvSpPr>
        <p:spPr bwMode="auto">
          <a:xfrm>
            <a:off x="8610897" y="306028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39" name="Oval 123"/>
          <p:cNvSpPr>
            <a:spLocks noChangeArrowheads="1"/>
          </p:cNvSpPr>
          <p:nvPr userDrawn="1"/>
        </p:nvSpPr>
        <p:spPr bwMode="auto">
          <a:xfrm>
            <a:off x="8698459"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0" name="Oval 124"/>
          <p:cNvSpPr>
            <a:spLocks noChangeArrowheads="1"/>
          </p:cNvSpPr>
          <p:nvPr userDrawn="1"/>
        </p:nvSpPr>
        <p:spPr bwMode="auto">
          <a:xfrm>
            <a:off x="8783484" y="306028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1" name="Oval 125"/>
          <p:cNvSpPr>
            <a:spLocks noChangeArrowheads="1"/>
          </p:cNvSpPr>
          <p:nvPr userDrawn="1"/>
        </p:nvSpPr>
        <p:spPr bwMode="auto">
          <a:xfrm>
            <a:off x="8868508" y="306028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2" name="Oval 126"/>
          <p:cNvSpPr>
            <a:spLocks noChangeArrowheads="1"/>
          </p:cNvSpPr>
          <p:nvPr userDrawn="1"/>
        </p:nvSpPr>
        <p:spPr bwMode="auto">
          <a:xfrm>
            <a:off x="8954802" y="30602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3" name="Oval 127"/>
          <p:cNvSpPr>
            <a:spLocks noChangeArrowheads="1"/>
          </p:cNvSpPr>
          <p:nvPr userDrawn="1"/>
        </p:nvSpPr>
        <p:spPr bwMode="auto">
          <a:xfrm>
            <a:off x="9039826" y="306028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4" name="Oval 128"/>
          <p:cNvSpPr>
            <a:spLocks noChangeArrowheads="1"/>
          </p:cNvSpPr>
          <p:nvPr userDrawn="1"/>
        </p:nvSpPr>
        <p:spPr bwMode="auto">
          <a:xfrm>
            <a:off x="9124850" y="306028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5" name="Oval 65"/>
          <p:cNvSpPr>
            <a:spLocks noChangeArrowheads="1"/>
          </p:cNvSpPr>
          <p:nvPr userDrawn="1"/>
        </p:nvSpPr>
        <p:spPr bwMode="auto">
          <a:xfrm>
            <a:off x="5348970" y="3162060"/>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6" name="Oval 66"/>
          <p:cNvSpPr>
            <a:spLocks noChangeArrowheads="1"/>
          </p:cNvSpPr>
          <p:nvPr userDrawn="1"/>
        </p:nvSpPr>
        <p:spPr bwMode="auto">
          <a:xfrm>
            <a:off x="5436533" y="31620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7" name="Oval 67"/>
          <p:cNvSpPr>
            <a:spLocks noChangeArrowheads="1"/>
          </p:cNvSpPr>
          <p:nvPr userDrawn="1"/>
        </p:nvSpPr>
        <p:spPr bwMode="auto">
          <a:xfrm>
            <a:off x="5521557" y="3162060"/>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8" name="Oval 89"/>
          <p:cNvSpPr>
            <a:spLocks noChangeArrowheads="1"/>
          </p:cNvSpPr>
          <p:nvPr userDrawn="1"/>
        </p:nvSpPr>
        <p:spPr bwMode="auto">
          <a:xfrm>
            <a:off x="5348970" y="3247085"/>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49" name="Oval 90"/>
          <p:cNvSpPr>
            <a:spLocks noChangeArrowheads="1"/>
          </p:cNvSpPr>
          <p:nvPr userDrawn="1"/>
        </p:nvSpPr>
        <p:spPr bwMode="auto">
          <a:xfrm>
            <a:off x="5436533" y="32470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0" name="Oval 91"/>
          <p:cNvSpPr>
            <a:spLocks noChangeArrowheads="1"/>
          </p:cNvSpPr>
          <p:nvPr userDrawn="1"/>
        </p:nvSpPr>
        <p:spPr bwMode="auto">
          <a:xfrm>
            <a:off x="5521557" y="324708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1" name="Oval 108"/>
          <p:cNvSpPr>
            <a:spLocks noChangeArrowheads="1"/>
          </p:cNvSpPr>
          <p:nvPr userDrawn="1"/>
        </p:nvSpPr>
        <p:spPr bwMode="auto">
          <a:xfrm>
            <a:off x="5348970" y="3332109"/>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2" name="Oval 109"/>
          <p:cNvSpPr>
            <a:spLocks noChangeArrowheads="1"/>
          </p:cNvSpPr>
          <p:nvPr userDrawn="1"/>
        </p:nvSpPr>
        <p:spPr bwMode="auto">
          <a:xfrm>
            <a:off x="5436533" y="333210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3" name="Oval 110"/>
          <p:cNvSpPr>
            <a:spLocks noChangeArrowheads="1"/>
          </p:cNvSpPr>
          <p:nvPr userDrawn="1"/>
        </p:nvSpPr>
        <p:spPr bwMode="auto">
          <a:xfrm>
            <a:off x="5521557" y="3332109"/>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4" name="Oval 127"/>
          <p:cNvSpPr>
            <a:spLocks noChangeArrowheads="1"/>
          </p:cNvSpPr>
          <p:nvPr userDrawn="1"/>
        </p:nvSpPr>
        <p:spPr bwMode="auto">
          <a:xfrm>
            <a:off x="5263946"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5" name="Oval 128"/>
          <p:cNvSpPr>
            <a:spLocks noChangeArrowheads="1"/>
          </p:cNvSpPr>
          <p:nvPr userDrawn="1"/>
        </p:nvSpPr>
        <p:spPr bwMode="auto">
          <a:xfrm>
            <a:off x="5348970" y="3419671"/>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6" name="Oval 129"/>
          <p:cNvSpPr>
            <a:spLocks noChangeArrowheads="1"/>
          </p:cNvSpPr>
          <p:nvPr userDrawn="1"/>
        </p:nvSpPr>
        <p:spPr bwMode="auto">
          <a:xfrm>
            <a:off x="5436533"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7" name="Oval 130"/>
          <p:cNvSpPr>
            <a:spLocks noChangeArrowheads="1"/>
          </p:cNvSpPr>
          <p:nvPr userDrawn="1"/>
        </p:nvSpPr>
        <p:spPr bwMode="auto">
          <a:xfrm>
            <a:off x="5521557" y="341967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8" name="Oval 57"/>
          <p:cNvSpPr>
            <a:spLocks noChangeArrowheads="1"/>
          </p:cNvSpPr>
          <p:nvPr userDrawn="1"/>
        </p:nvSpPr>
        <p:spPr bwMode="auto">
          <a:xfrm>
            <a:off x="5608938"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59" name="Oval 58"/>
          <p:cNvSpPr>
            <a:spLocks noChangeArrowheads="1"/>
          </p:cNvSpPr>
          <p:nvPr userDrawn="1"/>
        </p:nvSpPr>
        <p:spPr bwMode="auto">
          <a:xfrm>
            <a:off x="5778987" y="31575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0" name="Oval 59"/>
          <p:cNvSpPr>
            <a:spLocks noChangeArrowheads="1"/>
          </p:cNvSpPr>
          <p:nvPr userDrawn="1"/>
        </p:nvSpPr>
        <p:spPr bwMode="auto">
          <a:xfrm>
            <a:off x="5693962"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1" name="Oval 60"/>
          <p:cNvSpPr>
            <a:spLocks noChangeArrowheads="1"/>
          </p:cNvSpPr>
          <p:nvPr userDrawn="1"/>
        </p:nvSpPr>
        <p:spPr bwMode="auto">
          <a:xfrm>
            <a:off x="5866549"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2" name="Oval 61"/>
          <p:cNvSpPr>
            <a:spLocks noChangeArrowheads="1"/>
          </p:cNvSpPr>
          <p:nvPr userDrawn="1"/>
        </p:nvSpPr>
        <p:spPr bwMode="auto">
          <a:xfrm>
            <a:off x="5951574" y="315751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3" name="Oval 62"/>
          <p:cNvSpPr>
            <a:spLocks noChangeArrowheads="1"/>
          </p:cNvSpPr>
          <p:nvPr userDrawn="1"/>
        </p:nvSpPr>
        <p:spPr bwMode="auto">
          <a:xfrm>
            <a:off x="6036598" y="315751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4" name="Oval 63"/>
          <p:cNvSpPr>
            <a:spLocks noChangeArrowheads="1"/>
          </p:cNvSpPr>
          <p:nvPr userDrawn="1"/>
        </p:nvSpPr>
        <p:spPr bwMode="auto">
          <a:xfrm>
            <a:off x="6122892" y="3157511"/>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5" name="Oval 81"/>
          <p:cNvSpPr>
            <a:spLocks noChangeArrowheads="1"/>
          </p:cNvSpPr>
          <p:nvPr userDrawn="1"/>
        </p:nvSpPr>
        <p:spPr bwMode="auto">
          <a:xfrm>
            <a:off x="5608938"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6" name="Oval 82"/>
          <p:cNvSpPr>
            <a:spLocks noChangeArrowheads="1"/>
          </p:cNvSpPr>
          <p:nvPr userDrawn="1"/>
        </p:nvSpPr>
        <p:spPr bwMode="auto">
          <a:xfrm>
            <a:off x="5693962"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7" name="Oval 83"/>
          <p:cNvSpPr>
            <a:spLocks noChangeArrowheads="1"/>
          </p:cNvSpPr>
          <p:nvPr userDrawn="1"/>
        </p:nvSpPr>
        <p:spPr bwMode="auto">
          <a:xfrm>
            <a:off x="5778987" y="324253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8" name="Oval 84"/>
          <p:cNvSpPr>
            <a:spLocks noChangeArrowheads="1"/>
          </p:cNvSpPr>
          <p:nvPr userDrawn="1"/>
        </p:nvSpPr>
        <p:spPr bwMode="auto">
          <a:xfrm>
            <a:off x="5866549"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69" name="Oval 85"/>
          <p:cNvSpPr>
            <a:spLocks noChangeArrowheads="1"/>
          </p:cNvSpPr>
          <p:nvPr userDrawn="1"/>
        </p:nvSpPr>
        <p:spPr bwMode="auto">
          <a:xfrm>
            <a:off x="5951574" y="3242536"/>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0" name="Oval 86"/>
          <p:cNvSpPr>
            <a:spLocks noChangeArrowheads="1"/>
          </p:cNvSpPr>
          <p:nvPr userDrawn="1"/>
        </p:nvSpPr>
        <p:spPr bwMode="auto">
          <a:xfrm>
            <a:off x="6036598" y="3242536"/>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1" name="Oval 87"/>
          <p:cNvSpPr>
            <a:spLocks noChangeArrowheads="1"/>
          </p:cNvSpPr>
          <p:nvPr userDrawn="1"/>
        </p:nvSpPr>
        <p:spPr bwMode="auto">
          <a:xfrm>
            <a:off x="6122892" y="3242536"/>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2" name="Oval 100"/>
          <p:cNvSpPr>
            <a:spLocks noChangeArrowheads="1"/>
          </p:cNvSpPr>
          <p:nvPr userDrawn="1"/>
        </p:nvSpPr>
        <p:spPr bwMode="auto">
          <a:xfrm>
            <a:off x="5608938"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3" name="Oval 101"/>
          <p:cNvSpPr>
            <a:spLocks noChangeArrowheads="1"/>
          </p:cNvSpPr>
          <p:nvPr userDrawn="1"/>
        </p:nvSpPr>
        <p:spPr bwMode="auto">
          <a:xfrm>
            <a:off x="5693962"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4" name="Oval 102"/>
          <p:cNvSpPr>
            <a:spLocks noChangeArrowheads="1"/>
          </p:cNvSpPr>
          <p:nvPr userDrawn="1"/>
        </p:nvSpPr>
        <p:spPr bwMode="auto">
          <a:xfrm>
            <a:off x="5778987" y="332756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5" name="Oval 103"/>
          <p:cNvSpPr>
            <a:spLocks noChangeArrowheads="1"/>
          </p:cNvSpPr>
          <p:nvPr userDrawn="1"/>
        </p:nvSpPr>
        <p:spPr bwMode="auto">
          <a:xfrm>
            <a:off x="5866549"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6" name="Oval 104"/>
          <p:cNvSpPr>
            <a:spLocks noChangeArrowheads="1"/>
          </p:cNvSpPr>
          <p:nvPr userDrawn="1"/>
        </p:nvSpPr>
        <p:spPr bwMode="auto">
          <a:xfrm>
            <a:off x="5951574" y="332756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7" name="Oval 105"/>
          <p:cNvSpPr>
            <a:spLocks noChangeArrowheads="1"/>
          </p:cNvSpPr>
          <p:nvPr userDrawn="1"/>
        </p:nvSpPr>
        <p:spPr bwMode="auto">
          <a:xfrm>
            <a:off x="6036598" y="332756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8" name="Oval 106"/>
          <p:cNvSpPr>
            <a:spLocks noChangeArrowheads="1"/>
          </p:cNvSpPr>
          <p:nvPr userDrawn="1"/>
        </p:nvSpPr>
        <p:spPr bwMode="auto">
          <a:xfrm>
            <a:off x="6122892"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79" name="Oval 107"/>
          <p:cNvSpPr>
            <a:spLocks noChangeArrowheads="1"/>
          </p:cNvSpPr>
          <p:nvPr userDrawn="1"/>
        </p:nvSpPr>
        <p:spPr bwMode="auto">
          <a:xfrm>
            <a:off x="6207916"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0" name="Oval 108"/>
          <p:cNvSpPr>
            <a:spLocks noChangeArrowheads="1"/>
          </p:cNvSpPr>
          <p:nvPr userDrawn="1"/>
        </p:nvSpPr>
        <p:spPr bwMode="auto">
          <a:xfrm>
            <a:off x="6292940" y="3327560"/>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1" name="Oval 109"/>
          <p:cNvSpPr>
            <a:spLocks noChangeArrowheads="1"/>
          </p:cNvSpPr>
          <p:nvPr userDrawn="1"/>
        </p:nvSpPr>
        <p:spPr bwMode="auto">
          <a:xfrm>
            <a:off x="6380503" y="3327560"/>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2" name="Oval 120"/>
          <p:cNvSpPr>
            <a:spLocks noChangeArrowheads="1"/>
          </p:cNvSpPr>
          <p:nvPr userDrawn="1"/>
        </p:nvSpPr>
        <p:spPr bwMode="auto">
          <a:xfrm>
            <a:off x="5608938"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3" name="Oval 121"/>
          <p:cNvSpPr>
            <a:spLocks noChangeArrowheads="1"/>
          </p:cNvSpPr>
          <p:nvPr userDrawn="1"/>
        </p:nvSpPr>
        <p:spPr bwMode="auto">
          <a:xfrm>
            <a:off x="5693962"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4" name="Oval 122"/>
          <p:cNvSpPr>
            <a:spLocks noChangeArrowheads="1"/>
          </p:cNvSpPr>
          <p:nvPr userDrawn="1"/>
        </p:nvSpPr>
        <p:spPr bwMode="auto">
          <a:xfrm>
            <a:off x="5778987" y="341512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5" name="Oval 123"/>
          <p:cNvSpPr>
            <a:spLocks noChangeArrowheads="1"/>
          </p:cNvSpPr>
          <p:nvPr userDrawn="1"/>
        </p:nvSpPr>
        <p:spPr bwMode="auto">
          <a:xfrm>
            <a:off x="5866549"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6" name="Oval 124"/>
          <p:cNvSpPr>
            <a:spLocks noChangeArrowheads="1"/>
          </p:cNvSpPr>
          <p:nvPr userDrawn="1"/>
        </p:nvSpPr>
        <p:spPr bwMode="auto">
          <a:xfrm>
            <a:off x="5951574" y="341512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7" name="Oval 125"/>
          <p:cNvSpPr>
            <a:spLocks noChangeArrowheads="1"/>
          </p:cNvSpPr>
          <p:nvPr userDrawn="1"/>
        </p:nvSpPr>
        <p:spPr bwMode="auto">
          <a:xfrm>
            <a:off x="6036598" y="341512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8" name="Oval 126"/>
          <p:cNvSpPr>
            <a:spLocks noChangeArrowheads="1"/>
          </p:cNvSpPr>
          <p:nvPr userDrawn="1"/>
        </p:nvSpPr>
        <p:spPr bwMode="auto">
          <a:xfrm>
            <a:off x="6122892"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89" name="Oval 127"/>
          <p:cNvSpPr>
            <a:spLocks noChangeArrowheads="1"/>
          </p:cNvSpPr>
          <p:nvPr userDrawn="1"/>
        </p:nvSpPr>
        <p:spPr bwMode="auto">
          <a:xfrm>
            <a:off x="6207916"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0" name="Oval 128"/>
          <p:cNvSpPr>
            <a:spLocks noChangeArrowheads="1"/>
          </p:cNvSpPr>
          <p:nvPr userDrawn="1"/>
        </p:nvSpPr>
        <p:spPr bwMode="auto">
          <a:xfrm>
            <a:off x="6292940" y="3415122"/>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1" name="Oval 129"/>
          <p:cNvSpPr>
            <a:spLocks noChangeArrowheads="1"/>
          </p:cNvSpPr>
          <p:nvPr userDrawn="1"/>
        </p:nvSpPr>
        <p:spPr bwMode="auto">
          <a:xfrm>
            <a:off x="6380503"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2" name="Oval 130"/>
          <p:cNvSpPr>
            <a:spLocks noChangeArrowheads="1"/>
          </p:cNvSpPr>
          <p:nvPr userDrawn="1"/>
        </p:nvSpPr>
        <p:spPr bwMode="auto">
          <a:xfrm>
            <a:off x="6465527" y="341512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3" name="Oval 63"/>
          <p:cNvSpPr>
            <a:spLocks noChangeArrowheads="1"/>
          </p:cNvSpPr>
          <p:nvPr userDrawn="1"/>
        </p:nvSpPr>
        <p:spPr bwMode="auto">
          <a:xfrm>
            <a:off x="8010832"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4" name="Oval 64"/>
          <p:cNvSpPr>
            <a:spLocks noChangeArrowheads="1"/>
          </p:cNvSpPr>
          <p:nvPr userDrawn="1"/>
        </p:nvSpPr>
        <p:spPr bwMode="auto">
          <a:xfrm>
            <a:off x="8095856"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5" name="Oval 65"/>
          <p:cNvSpPr>
            <a:spLocks noChangeArrowheads="1"/>
          </p:cNvSpPr>
          <p:nvPr userDrawn="1"/>
        </p:nvSpPr>
        <p:spPr bwMode="auto">
          <a:xfrm>
            <a:off x="8180880" y="3148413"/>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6" name="Oval 66"/>
          <p:cNvSpPr>
            <a:spLocks noChangeArrowheads="1"/>
          </p:cNvSpPr>
          <p:nvPr userDrawn="1"/>
        </p:nvSpPr>
        <p:spPr bwMode="auto">
          <a:xfrm>
            <a:off x="8268443"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7" name="Oval 67"/>
          <p:cNvSpPr>
            <a:spLocks noChangeArrowheads="1"/>
          </p:cNvSpPr>
          <p:nvPr userDrawn="1"/>
        </p:nvSpPr>
        <p:spPr bwMode="auto">
          <a:xfrm>
            <a:off x="8353467" y="3148413"/>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8" name="Oval 86"/>
          <p:cNvSpPr>
            <a:spLocks noChangeArrowheads="1"/>
          </p:cNvSpPr>
          <p:nvPr userDrawn="1"/>
        </p:nvSpPr>
        <p:spPr bwMode="auto">
          <a:xfrm>
            <a:off x="7924538" y="3233438"/>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999" name="Oval 87"/>
          <p:cNvSpPr>
            <a:spLocks noChangeArrowheads="1"/>
          </p:cNvSpPr>
          <p:nvPr userDrawn="1"/>
        </p:nvSpPr>
        <p:spPr bwMode="auto">
          <a:xfrm>
            <a:off x="8010832"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0" name="Oval 88"/>
          <p:cNvSpPr>
            <a:spLocks noChangeArrowheads="1"/>
          </p:cNvSpPr>
          <p:nvPr userDrawn="1"/>
        </p:nvSpPr>
        <p:spPr bwMode="auto">
          <a:xfrm>
            <a:off x="8095856"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1" name="Oval 89"/>
          <p:cNvSpPr>
            <a:spLocks noChangeArrowheads="1"/>
          </p:cNvSpPr>
          <p:nvPr userDrawn="1"/>
        </p:nvSpPr>
        <p:spPr bwMode="auto">
          <a:xfrm>
            <a:off x="8180880" y="3233438"/>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2" name="Oval 90"/>
          <p:cNvSpPr>
            <a:spLocks noChangeArrowheads="1"/>
          </p:cNvSpPr>
          <p:nvPr userDrawn="1"/>
        </p:nvSpPr>
        <p:spPr bwMode="auto">
          <a:xfrm>
            <a:off x="8268443"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3" name="Oval 91"/>
          <p:cNvSpPr>
            <a:spLocks noChangeArrowheads="1"/>
          </p:cNvSpPr>
          <p:nvPr userDrawn="1"/>
        </p:nvSpPr>
        <p:spPr bwMode="auto">
          <a:xfrm>
            <a:off x="8353467" y="3233438"/>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4" name="Oval 102"/>
          <p:cNvSpPr>
            <a:spLocks noChangeArrowheads="1"/>
          </p:cNvSpPr>
          <p:nvPr userDrawn="1"/>
        </p:nvSpPr>
        <p:spPr bwMode="auto">
          <a:xfrm>
            <a:off x="7666927" y="331846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5" name="Oval 103"/>
          <p:cNvSpPr>
            <a:spLocks noChangeArrowheads="1"/>
          </p:cNvSpPr>
          <p:nvPr userDrawn="1"/>
        </p:nvSpPr>
        <p:spPr bwMode="auto">
          <a:xfrm>
            <a:off x="7754489" y="331846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6" name="Oval 104"/>
          <p:cNvSpPr>
            <a:spLocks noChangeArrowheads="1"/>
          </p:cNvSpPr>
          <p:nvPr userDrawn="1"/>
        </p:nvSpPr>
        <p:spPr bwMode="auto">
          <a:xfrm>
            <a:off x="7839514" y="3318462"/>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7" name="Oval 105"/>
          <p:cNvSpPr>
            <a:spLocks noChangeArrowheads="1"/>
          </p:cNvSpPr>
          <p:nvPr userDrawn="1"/>
        </p:nvSpPr>
        <p:spPr bwMode="auto">
          <a:xfrm>
            <a:off x="7924538" y="3318462"/>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8" name="Oval 106"/>
          <p:cNvSpPr>
            <a:spLocks noChangeArrowheads="1"/>
          </p:cNvSpPr>
          <p:nvPr userDrawn="1"/>
        </p:nvSpPr>
        <p:spPr bwMode="auto">
          <a:xfrm>
            <a:off x="8010832"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09" name="Oval 107"/>
          <p:cNvSpPr>
            <a:spLocks noChangeArrowheads="1"/>
          </p:cNvSpPr>
          <p:nvPr userDrawn="1"/>
        </p:nvSpPr>
        <p:spPr bwMode="auto">
          <a:xfrm>
            <a:off x="8095856"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0" name="Oval 108"/>
          <p:cNvSpPr>
            <a:spLocks noChangeArrowheads="1"/>
          </p:cNvSpPr>
          <p:nvPr userDrawn="1"/>
        </p:nvSpPr>
        <p:spPr bwMode="auto">
          <a:xfrm>
            <a:off x="8180880" y="3318462"/>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1" name="Oval 109"/>
          <p:cNvSpPr>
            <a:spLocks noChangeArrowheads="1"/>
          </p:cNvSpPr>
          <p:nvPr userDrawn="1"/>
        </p:nvSpPr>
        <p:spPr bwMode="auto">
          <a:xfrm>
            <a:off x="8268443"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2" name="Oval 110"/>
          <p:cNvSpPr>
            <a:spLocks noChangeArrowheads="1"/>
          </p:cNvSpPr>
          <p:nvPr userDrawn="1"/>
        </p:nvSpPr>
        <p:spPr bwMode="auto">
          <a:xfrm>
            <a:off x="8353467" y="3318462"/>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3" name="Oval 122"/>
          <p:cNvSpPr>
            <a:spLocks noChangeArrowheads="1"/>
          </p:cNvSpPr>
          <p:nvPr userDrawn="1"/>
        </p:nvSpPr>
        <p:spPr bwMode="auto">
          <a:xfrm>
            <a:off x="7666927" y="34060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4" name="Oval 123"/>
          <p:cNvSpPr>
            <a:spLocks noChangeArrowheads="1"/>
          </p:cNvSpPr>
          <p:nvPr userDrawn="1"/>
        </p:nvSpPr>
        <p:spPr bwMode="auto">
          <a:xfrm>
            <a:off x="7754489" y="34060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5" name="Oval 124"/>
          <p:cNvSpPr>
            <a:spLocks noChangeArrowheads="1"/>
          </p:cNvSpPr>
          <p:nvPr userDrawn="1"/>
        </p:nvSpPr>
        <p:spPr bwMode="auto">
          <a:xfrm>
            <a:off x="7839514" y="340602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6" name="Oval 125"/>
          <p:cNvSpPr>
            <a:spLocks noChangeArrowheads="1"/>
          </p:cNvSpPr>
          <p:nvPr userDrawn="1"/>
        </p:nvSpPr>
        <p:spPr bwMode="auto">
          <a:xfrm>
            <a:off x="7924538" y="340602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7" name="Oval 126"/>
          <p:cNvSpPr>
            <a:spLocks noChangeArrowheads="1"/>
          </p:cNvSpPr>
          <p:nvPr userDrawn="1"/>
        </p:nvSpPr>
        <p:spPr bwMode="auto">
          <a:xfrm>
            <a:off x="8010832"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8" name="Oval 127"/>
          <p:cNvSpPr>
            <a:spLocks noChangeArrowheads="1"/>
          </p:cNvSpPr>
          <p:nvPr userDrawn="1"/>
        </p:nvSpPr>
        <p:spPr bwMode="auto">
          <a:xfrm>
            <a:off x="8095856"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19" name="Oval 128"/>
          <p:cNvSpPr>
            <a:spLocks noChangeArrowheads="1"/>
          </p:cNvSpPr>
          <p:nvPr userDrawn="1"/>
        </p:nvSpPr>
        <p:spPr bwMode="auto">
          <a:xfrm>
            <a:off x="8180880" y="340602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0" name="Oval 129"/>
          <p:cNvSpPr>
            <a:spLocks noChangeArrowheads="1"/>
          </p:cNvSpPr>
          <p:nvPr userDrawn="1"/>
        </p:nvSpPr>
        <p:spPr bwMode="auto">
          <a:xfrm>
            <a:off x="8268443"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1" name="Oval 130"/>
          <p:cNvSpPr>
            <a:spLocks noChangeArrowheads="1"/>
          </p:cNvSpPr>
          <p:nvPr userDrawn="1"/>
        </p:nvSpPr>
        <p:spPr bwMode="auto">
          <a:xfrm>
            <a:off x="8353467" y="340602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2" name="Oval 57"/>
          <p:cNvSpPr>
            <a:spLocks noChangeArrowheads="1"/>
          </p:cNvSpPr>
          <p:nvPr userDrawn="1"/>
        </p:nvSpPr>
        <p:spPr bwMode="auto">
          <a:xfrm>
            <a:off x="8440848"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3" name="Oval 58"/>
          <p:cNvSpPr>
            <a:spLocks noChangeArrowheads="1"/>
          </p:cNvSpPr>
          <p:nvPr userDrawn="1"/>
        </p:nvSpPr>
        <p:spPr bwMode="auto">
          <a:xfrm>
            <a:off x="8610897" y="31438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4" name="Oval 59"/>
          <p:cNvSpPr>
            <a:spLocks noChangeArrowheads="1"/>
          </p:cNvSpPr>
          <p:nvPr userDrawn="1"/>
        </p:nvSpPr>
        <p:spPr bwMode="auto">
          <a:xfrm>
            <a:off x="8525872"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5" name="Oval 60"/>
          <p:cNvSpPr>
            <a:spLocks noChangeArrowheads="1"/>
          </p:cNvSpPr>
          <p:nvPr userDrawn="1"/>
        </p:nvSpPr>
        <p:spPr bwMode="auto">
          <a:xfrm>
            <a:off x="8698459"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6" name="Oval 61"/>
          <p:cNvSpPr>
            <a:spLocks noChangeArrowheads="1"/>
          </p:cNvSpPr>
          <p:nvPr userDrawn="1"/>
        </p:nvSpPr>
        <p:spPr bwMode="auto">
          <a:xfrm>
            <a:off x="8783484" y="3143864"/>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7" name="Oval 62"/>
          <p:cNvSpPr>
            <a:spLocks noChangeArrowheads="1"/>
          </p:cNvSpPr>
          <p:nvPr userDrawn="1"/>
        </p:nvSpPr>
        <p:spPr bwMode="auto">
          <a:xfrm>
            <a:off x="8868508" y="3143864"/>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8" name="Oval 63"/>
          <p:cNvSpPr>
            <a:spLocks noChangeArrowheads="1"/>
          </p:cNvSpPr>
          <p:nvPr userDrawn="1"/>
        </p:nvSpPr>
        <p:spPr bwMode="auto">
          <a:xfrm>
            <a:off x="8954802" y="31438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29" name="Oval 64"/>
          <p:cNvSpPr>
            <a:spLocks noChangeArrowheads="1"/>
          </p:cNvSpPr>
          <p:nvPr userDrawn="1"/>
        </p:nvSpPr>
        <p:spPr bwMode="auto">
          <a:xfrm>
            <a:off x="9039826" y="314386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0" name="Oval 65"/>
          <p:cNvSpPr>
            <a:spLocks noChangeArrowheads="1"/>
          </p:cNvSpPr>
          <p:nvPr userDrawn="1"/>
        </p:nvSpPr>
        <p:spPr bwMode="auto">
          <a:xfrm>
            <a:off x="9124850" y="3143864"/>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1" name="Oval 81"/>
          <p:cNvSpPr>
            <a:spLocks noChangeArrowheads="1"/>
          </p:cNvSpPr>
          <p:nvPr userDrawn="1"/>
        </p:nvSpPr>
        <p:spPr bwMode="auto">
          <a:xfrm>
            <a:off x="8440848"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2" name="Oval 82"/>
          <p:cNvSpPr>
            <a:spLocks noChangeArrowheads="1"/>
          </p:cNvSpPr>
          <p:nvPr userDrawn="1"/>
        </p:nvSpPr>
        <p:spPr bwMode="auto">
          <a:xfrm>
            <a:off x="8525872"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3" name="Oval 83"/>
          <p:cNvSpPr>
            <a:spLocks noChangeArrowheads="1"/>
          </p:cNvSpPr>
          <p:nvPr userDrawn="1"/>
        </p:nvSpPr>
        <p:spPr bwMode="auto">
          <a:xfrm>
            <a:off x="8610897" y="322888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4" name="Oval 84"/>
          <p:cNvSpPr>
            <a:spLocks noChangeArrowheads="1"/>
          </p:cNvSpPr>
          <p:nvPr userDrawn="1"/>
        </p:nvSpPr>
        <p:spPr bwMode="auto">
          <a:xfrm>
            <a:off x="8698459"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5" name="Oval 85"/>
          <p:cNvSpPr>
            <a:spLocks noChangeArrowheads="1"/>
          </p:cNvSpPr>
          <p:nvPr userDrawn="1"/>
        </p:nvSpPr>
        <p:spPr bwMode="auto">
          <a:xfrm>
            <a:off x="8783484" y="3228889"/>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6" name="Oval 86"/>
          <p:cNvSpPr>
            <a:spLocks noChangeArrowheads="1"/>
          </p:cNvSpPr>
          <p:nvPr userDrawn="1"/>
        </p:nvSpPr>
        <p:spPr bwMode="auto">
          <a:xfrm>
            <a:off x="8868508" y="3228889"/>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7" name="Oval 87"/>
          <p:cNvSpPr>
            <a:spLocks noChangeArrowheads="1"/>
          </p:cNvSpPr>
          <p:nvPr userDrawn="1"/>
        </p:nvSpPr>
        <p:spPr bwMode="auto">
          <a:xfrm>
            <a:off x="8954802" y="322888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8" name="Oval 88"/>
          <p:cNvSpPr>
            <a:spLocks noChangeArrowheads="1"/>
          </p:cNvSpPr>
          <p:nvPr userDrawn="1"/>
        </p:nvSpPr>
        <p:spPr bwMode="auto">
          <a:xfrm>
            <a:off x="9039826" y="3228889"/>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39" name="Oval 89"/>
          <p:cNvSpPr>
            <a:spLocks noChangeArrowheads="1"/>
          </p:cNvSpPr>
          <p:nvPr userDrawn="1"/>
        </p:nvSpPr>
        <p:spPr bwMode="auto">
          <a:xfrm>
            <a:off x="9124850" y="3228889"/>
            <a:ext cx="78679"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0" name="Oval 100"/>
          <p:cNvSpPr>
            <a:spLocks noChangeArrowheads="1"/>
          </p:cNvSpPr>
          <p:nvPr userDrawn="1"/>
        </p:nvSpPr>
        <p:spPr bwMode="auto">
          <a:xfrm>
            <a:off x="8440848"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1" name="Oval 101"/>
          <p:cNvSpPr>
            <a:spLocks noChangeArrowheads="1"/>
          </p:cNvSpPr>
          <p:nvPr userDrawn="1"/>
        </p:nvSpPr>
        <p:spPr bwMode="auto">
          <a:xfrm>
            <a:off x="8525872"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2" name="Oval 102"/>
          <p:cNvSpPr>
            <a:spLocks noChangeArrowheads="1"/>
          </p:cNvSpPr>
          <p:nvPr userDrawn="1"/>
        </p:nvSpPr>
        <p:spPr bwMode="auto">
          <a:xfrm>
            <a:off x="8610897" y="331391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3" name="Oval 103"/>
          <p:cNvSpPr>
            <a:spLocks noChangeArrowheads="1"/>
          </p:cNvSpPr>
          <p:nvPr userDrawn="1"/>
        </p:nvSpPr>
        <p:spPr bwMode="auto">
          <a:xfrm>
            <a:off x="8698459"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4" name="Oval 104"/>
          <p:cNvSpPr>
            <a:spLocks noChangeArrowheads="1"/>
          </p:cNvSpPr>
          <p:nvPr userDrawn="1"/>
        </p:nvSpPr>
        <p:spPr bwMode="auto">
          <a:xfrm>
            <a:off x="8783484" y="3313913"/>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5" name="Oval 105"/>
          <p:cNvSpPr>
            <a:spLocks noChangeArrowheads="1"/>
          </p:cNvSpPr>
          <p:nvPr userDrawn="1"/>
        </p:nvSpPr>
        <p:spPr bwMode="auto">
          <a:xfrm>
            <a:off x="8868508" y="3313913"/>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6" name="Oval 106"/>
          <p:cNvSpPr>
            <a:spLocks noChangeArrowheads="1"/>
          </p:cNvSpPr>
          <p:nvPr userDrawn="1"/>
        </p:nvSpPr>
        <p:spPr bwMode="auto">
          <a:xfrm>
            <a:off x="8954802" y="331391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7" name="Oval 107"/>
          <p:cNvSpPr>
            <a:spLocks noChangeArrowheads="1"/>
          </p:cNvSpPr>
          <p:nvPr userDrawn="1"/>
        </p:nvSpPr>
        <p:spPr bwMode="auto">
          <a:xfrm>
            <a:off x="9039826" y="3313913"/>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8" name="Oval 108"/>
          <p:cNvSpPr>
            <a:spLocks noChangeArrowheads="1"/>
          </p:cNvSpPr>
          <p:nvPr userDrawn="1"/>
        </p:nvSpPr>
        <p:spPr bwMode="auto">
          <a:xfrm>
            <a:off x="9124850" y="3313913"/>
            <a:ext cx="78679"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49" name="Oval 120"/>
          <p:cNvSpPr>
            <a:spLocks noChangeArrowheads="1"/>
          </p:cNvSpPr>
          <p:nvPr userDrawn="1"/>
        </p:nvSpPr>
        <p:spPr bwMode="auto">
          <a:xfrm>
            <a:off x="8440848"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0" name="Oval 121"/>
          <p:cNvSpPr>
            <a:spLocks noChangeArrowheads="1"/>
          </p:cNvSpPr>
          <p:nvPr userDrawn="1"/>
        </p:nvSpPr>
        <p:spPr bwMode="auto">
          <a:xfrm>
            <a:off x="8525872"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1" name="Oval 122"/>
          <p:cNvSpPr>
            <a:spLocks noChangeArrowheads="1"/>
          </p:cNvSpPr>
          <p:nvPr userDrawn="1"/>
        </p:nvSpPr>
        <p:spPr bwMode="auto">
          <a:xfrm>
            <a:off x="8610897" y="340147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2" name="Oval 123"/>
          <p:cNvSpPr>
            <a:spLocks noChangeArrowheads="1"/>
          </p:cNvSpPr>
          <p:nvPr userDrawn="1"/>
        </p:nvSpPr>
        <p:spPr bwMode="auto">
          <a:xfrm>
            <a:off x="8698459"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3" name="Oval 124"/>
          <p:cNvSpPr>
            <a:spLocks noChangeArrowheads="1"/>
          </p:cNvSpPr>
          <p:nvPr userDrawn="1"/>
        </p:nvSpPr>
        <p:spPr bwMode="auto">
          <a:xfrm>
            <a:off x="8783484" y="340147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4" name="Oval 125"/>
          <p:cNvSpPr>
            <a:spLocks noChangeArrowheads="1"/>
          </p:cNvSpPr>
          <p:nvPr userDrawn="1"/>
        </p:nvSpPr>
        <p:spPr bwMode="auto">
          <a:xfrm>
            <a:off x="8868508" y="340147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5" name="Oval 126"/>
          <p:cNvSpPr>
            <a:spLocks noChangeArrowheads="1"/>
          </p:cNvSpPr>
          <p:nvPr userDrawn="1"/>
        </p:nvSpPr>
        <p:spPr bwMode="auto">
          <a:xfrm>
            <a:off x="8954802" y="340147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6" name="Oval 127"/>
          <p:cNvSpPr>
            <a:spLocks noChangeArrowheads="1"/>
          </p:cNvSpPr>
          <p:nvPr userDrawn="1"/>
        </p:nvSpPr>
        <p:spPr bwMode="auto">
          <a:xfrm>
            <a:off x="9039826" y="3401475"/>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7" name="Oval 57"/>
          <p:cNvSpPr>
            <a:spLocks noChangeArrowheads="1"/>
          </p:cNvSpPr>
          <p:nvPr userDrawn="1"/>
        </p:nvSpPr>
        <p:spPr bwMode="auto">
          <a:xfrm>
            <a:off x="4664968"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8" name="Oval 58"/>
          <p:cNvSpPr>
            <a:spLocks noChangeArrowheads="1"/>
          </p:cNvSpPr>
          <p:nvPr userDrawn="1"/>
        </p:nvSpPr>
        <p:spPr bwMode="auto">
          <a:xfrm>
            <a:off x="4835017" y="351172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59" name="Oval 59"/>
          <p:cNvSpPr>
            <a:spLocks noChangeArrowheads="1"/>
          </p:cNvSpPr>
          <p:nvPr userDrawn="1"/>
        </p:nvSpPr>
        <p:spPr bwMode="auto">
          <a:xfrm>
            <a:off x="4749992"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0" name="Oval 60"/>
          <p:cNvSpPr>
            <a:spLocks noChangeArrowheads="1"/>
          </p:cNvSpPr>
          <p:nvPr userDrawn="1"/>
        </p:nvSpPr>
        <p:spPr bwMode="auto">
          <a:xfrm>
            <a:off x="4922579"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1" name="Oval 61"/>
          <p:cNvSpPr>
            <a:spLocks noChangeArrowheads="1"/>
          </p:cNvSpPr>
          <p:nvPr userDrawn="1"/>
        </p:nvSpPr>
        <p:spPr bwMode="auto">
          <a:xfrm>
            <a:off x="5007604" y="351172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2" name="Oval 62"/>
          <p:cNvSpPr>
            <a:spLocks noChangeArrowheads="1"/>
          </p:cNvSpPr>
          <p:nvPr userDrawn="1"/>
        </p:nvSpPr>
        <p:spPr bwMode="auto">
          <a:xfrm>
            <a:off x="5092628" y="351172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3" name="Oval 63"/>
          <p:cNvSpPr>
            <a:spLocks noChangeArrowheads="1"/>
          </p:cNvSpPr>
          <p:nvPr userDrawn="1"/>
        </p:nvSpPr>
        <p:spPr bwMode="auto">
          <a:xfrm>
            <a:off x="5178922"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4" name="Oval 64"/>
          <p:cNvSpPr>
            <a:spLocks noChangeArrowheads="1"/>
          </p:cNvSpPr>
          <p:nvPr userDrawn="1"/>
        </p:nvSpPr>
        <p:spPr bwMode="auto">
          <a:xfrm>
            <a:off x="5263946"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5" name="Oval 65"/>
          <p:cNvSpPr>
            <a:spLocks noChangeArrowheads="1"/>
          </p:cNvSpPr>
          <p:nvPr userDrawn="1"/>
        </p:nvSpPr>
        <p:spPr bwMode="auto">
          <a:xfrm>
            <a:off x="5348970" y="351172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6" name="Oval 66"/>
          <p:cNvSpPr>
            <a:spLocks noChangeArrowheads="1"/>
          </p:cNvSpPr>
          <p:nvPr userDrawn="1"/>
        </p:nvSpPr>
        <p:spPr bwMode="auto">
          <a:xfrm>
            <a:off x="5436533"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7" name="Oval 67"/>
          <p:cNvSpPr>
            <a:spLocks noChangeArrowheads="1"/>
          </p:cNvSpPr>
          <p:nvPr userDrawn="1"/>
        </p:nvSpPr>
        <p:spPr bwMode="auto">
          <a:xfrm>
            <a:off x="5521557" y="351172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8" name="Oval 81"/>
          <p:cNvSpPr>
            <a:spLocks noChangeArrowheads="1"/>
          </p:cNvSpPr>
          <p:nvPr userDrawn="1"/>
        </p:nvSpPr>
        <p:spPr bwMode="auto">
          <a:xfrm>
            <a:off x="4664968"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69" name="Oval 82"/>
          <p:cNvSpPr>
            <a:spLocks noChangeArrowheads="1"/>
          </p:cNvSpPr>
          <p:nvPr userDrawn="1"/>
        </p:nvSpPr>
        <p:spPr bwMode="auto">
          <a:xfrm>
            <a:off x="4749992"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0" name="Oval 83"/>
          <p:cNvSpPr>
            <a:spLocks noChangeArrowheads="1"/>
          </p:cNvSpPr>
          <p:nvPr userDrawn="1"/>
        </p:nvSpPr>
        <p:spPr bwMode="auto">
          <a:xfrm>
            <a:off x="4835017" y="3596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1" name="Oval 84"/>
          <p:cNvSpPr>
            <a:spLocks noChangeArrowheads="1"/>
          </p:cNvSpPr>
          <p:nvPr userDrawn="1"/>
        </p:nvSpPr>
        <p:spPr bwMode="auto">
          <a:xfrm>
            <a:off x="4922579"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2" name="Oval 85"/>
          <p:cNvSpPr>
            <a:spLocks noChangeArrowheads="1"/>
          </p:cNvSpPr>
          <p:nvPr userDrawn="1"/>
        </p:nvSpPr>
        <p:spPr bwMode="auto">
          <a:xfrm>
            <a:off x="5007604" y="3596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3" name="Oval 86"/>
          <p:cNvSpPr>
            <a:spLocks noChangeArrowheads="1"/>
          </p:cNvSpPr>
          <p:nvPr userDrawn="1"/>
        </p:nvSpPr>
        <p:spPr bwMode="auto">
          <a:xfrm>
            <a:off x="5092628" y="3596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4" name="Oval 87"/>
          <p:cNvSpPr>
            <a:spLocks noChangeArrowheads="1"/>
          </p:cNvSpPr>
          <p:nvPr userDrawn="1"/>
        </p:nvSpPr>
        <p:spPr bwMode="auto">
          <a:xfrm>
            <a:off x="5178922"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5" name="Oval 88"/>
          <p:cNvSpPr>
            <a:spLocks noChangeArrowheads="1"/>
          </p:cNvSpPr>
          <p:nvPr userDrawn="1"/>
        </p:nvSpPr>
        <p:spPr bwMode="auto">
          <a:xfrm>
            <a:off x="5263946"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6" name="Oval 89"/>
          <p:cNvSpPr>
            <a:spLocks noChangeArrowheads="1"/>
          </p:cNvSpPr>
          <p:nvPr userDrawn="1"/>
        </p:nvSpPr>
        <p:spPr bwMode="auto">
          <a:xfrm>
            <a:off x="5348970" y="35967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7" name="Oval 90"/>
          <p:cNvSpPr>
            <a:spLocks noChangeArrowheads="1"/>
          </p:cNvSpPr>
          <p:nvPr userDrawn="1"/>
        </p:nvSpPr>
        <p:spPr bwMode="auto">
          <a:xfrm>
            <a:off x="5436533"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8" name="Oval 91"/>
          <p:cNvSpPr>
            <a:spLocks noChangeArrowheads="1"/>
          </p:cNvSpPr>
          <p:nvPr userDrawn="1"/>
        </p:nvSpPr>
        <p:spPr bwMode="auto">
          <a:xfrm>
            <a:off x="5521557" y="3596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79" name="Oval 100"/>
          <p:cNvSpPr>
            <a:spLocks noChangeArrowheads="1"/>
          </p:cNvSpPr>
          <p:nvPr userDrawn="1"/>
        </p:nvSpPr>
        <p:spPr bwMode="auto">
          <a:xfrm>
            <a:off x="4664968"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0" name="Oval 101"/>
          <p:cNvSpPr>
            <a:spLocks noChangeArrowheads="1"/>
          </p:cNvSpPr>
          <p:nvPr userDrawn="1"/>
        </p:nvSpPr>
        <p:spPr bwMode="auto">
          <a:xfrm>
            <a:off x="4749992"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1" name="Oval 102"/>
          <p:cNvSpPr>
            <a:spLocks noChangeArrowheads="1"/>
          </p:cNvSpPr>
          <p:nvPr userDrawn="1"/>
        </p:nvSpPr>
        <p:spPr bwMode="auto">
          <a:xfrm>
            <a:off x="4835017" y="368176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2" name="Oval 103"/>
          <p:cNvSpPr>
            <a:spLocks noChangeArrowheads="1"/>
          </p:cNvSpPr>
          <p:nvPr userDrawn="1"/>
        </p:nvSpPr>
        <p:spPr bwMode="auto">
          <a:xfrm>
            <a:off x="4922579"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3" name="Oval 104"/>
          <p:cNvSpPr>
            <a:spLocks noChangeArrowheads="1"/>
          </p:cNvSpPr>
          <p:nvPr userDrawn="1"/>
        </p:nvSpPr>
        <p:spPr bwMode="auto">
          <a:xfrm>
            <a:off x="5007604" y="368176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4" name="Oval 105"/>
          <p:cNvSpPr>
            <a:spLocks noChangeArrowheads="1"/>
          </p:cNvSpPr>
          <p:nvPr userDrawn="1"/>
        </p:nvSpPr>
        <p:spPr bwMode="auto">
          <a:xfrm>
            <a:off x="5092628" y="368176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5" name="Oval 106"/>
          <p:cNvSpPr>
            <a:spLocks noChangeArrowheads="1"/>
          </p:cNvSpPr>
          <p:nvPr userDrawn="1"/>
        </p:nvSpPr>
        <p:spPr bwMode="auto">
          <a:xfrm>
            <a:off x="5178922"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6" name="Oval 107"/>
          <p:cNvSpPr>
            <a:spLocks noChangeArrowheads="1"/>
          </p:cNvSpPr>
          <p:nvPr userDrawn="1"/>
        </p:nvSpPr>
        <p:spPr bwMode="auto">
          <a:xfrm>
            <a:off x="5263946"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7" name="Oval 108"/>
          <p:cNvSpPr>
            <a:spLocks noChangeArrowheads="1"/>
          </p:cNvSpPr>
          <p:nvPr userDrawn="1"/>
        </p:nvSpPr>
        <p:spPr bwMode="auto">
          <a:xfrm>
            <a:off x="5348970" y="368176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8" name="Oval 109"/>
          <p:cNvSpPr>
            <a:spLocks noChangeArrowheads="1"/>
          </p:cNvSpPr>
          <p:nvPr userDrawn="1"/>
        </p:nvSpPr>
        <p:spPr bwMode="auto">
          <a:xfrm>
            <a:off x="5436533"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89" name="Oval 110"/>
          <p:cNvSpPr>
            <a:spLocks noChangeArrowheads="1"/>
          </p:cNvSpPr>
          <p:nvPr userDrawn="1"/>
        </p:nvSpPr>
        <p:spPr bwMode="auto">
          <a:xfrm>
            <a:off x="5521557" y="368176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0" name="Oval 120"/>
          <p:cNvSpPr>
            <a:spLocks noChangeArrowheads="1"/>
          </p:cNvSpPr>
          <p:nvPr userDrawn="1"/>
        </p:nvSpPr>
        <p:spPr bwMode="auto">
          <a:xfrm>
            <a:off x="4664968"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1" name="Oval 121"/>
          <p:cNvSpPr>
            <a:spLocks noChangeArrowheads="1"/>
          </p:cNvSpPr>
          <p:nvPr userDrawn="1"/>
        </p:nvSpPr>
        <p:spPr bwMode="auto">
          <a:xfrm>
            <a:off x="4749992"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2" name="Oval 122"/>
          <p:cNvSpPr>
            <a:spLocks noChangeArrowheads="1"/>
          </p:cNvSpPr>
          <p:nvPr userDrawn="1"/>
        </p:nvSpPr>
        <p:spPr bwMode="auto">
          <a:xfrm>
            <a:off x="4835017" y="37693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3" name="Oval 123"/>
          <p:cNvSpPr>
            <a:spLocks noChangeArrowheads="1"/>
          </p:cNvSpPr>
          <p:nvPr userDrawn="1"/>
        </p:nvSpPr>
        <p:spPr bwMode="auto">
          <a:xfrm>
            <a:off x="4922579"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4" name="Oval 124"/>
          <p:cNvSpPr>
            <a:spLocks noChangeArrowheads="1"/>
          </p:cNvSpPr>
          <p:nvPr userDrawn="1"/>
        </p:nvSpPr>
        <p:spPr bwMode="auto">
          <a:xfrm>
            <a:off x="5007604" y="37693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5" name="Oval 125"/>
          <p:cNvSpPr>
            <a:spLocks noChangeArrowheads="1"/>
          </p:cNvSpPr>
          <p:nvPr userDrawn="1"/>
        </p:nvSpPr>
        <p:spPr bwMode="auto">
          <a:xfrm>
            <a:off x="5092628" y="37693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6" name="Oval 126"/>
          <p:cNvSpPr>
            <a:spLocks noChangeArrowheads="1"/>
          </p:cNvSpPr>
          <p:nvPr userDrawn="1"/>
        </p:nvSpPr>
        <p:spPr bwMode="auto">
          <a:xfrm>
            <a:off x="5178922"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7" name="Oval 127"/>
          <p:cNvSpPr>
            <a:spLocks noChangeArrowheads="1"/>
          </p:cNvSpPr>
          <p:nvPr userDrawn="1"/>
        </p:nvSpPr>
        <p:spPr bwMode="auto">
          <a:xfrm>
            <a:off x="5263946"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8" name="Oval 128"/>
          <p:cNvSpPr>
            <a:spLocks noChangeArrowheads="1"/>
          </p:cNvSpPr>
          <p:nvPr userDrawn="1"/>
        </p:nvSpPr>
        <p:spPr bwMode="auto">
          <a:xfrm>
            <a:off x="5348970" y="37693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099" name="Oval 129"/>
          <p:cNvSpPr>
            <a:spLocks noChangeArrowheads="1"/>
          </p:cNvSpPr>
          <p:nvPr userDrawn="1"/>
        </p:nvSpPr>
        <p:spPr bwMode="auto">
          <a:xfrm>
            <a:off x="5436533"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0" name="Oval 130"/>
          <p:cNvSpPr>
            <a:spLocks noChangeArrowheads="1"/>
          </p:cNvSpPr>
          <p:nvPr userDrawn="1"/>
        </p:nvSpPr>
        <p:spPr bwMode="auto">
          <a:xfrm>
            <a:off x="5521557" y="37693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1" name="Oval 57"/>
          <p:cNvSpPr>
            <a:spLocks noChangeArrowheads="1"/>
          </p:cNvSpPr>
          <p:nvPr userDrawn="1"/>
        </p:nvSpPr>
        <p:spPr bwMode="auto">
          <a:xfrm>
            <a:off x="5608938"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2" name="Oval 58"/>
          <p:cNvSpPr>
            <a:spLocks noChangeArrowheads="1"/>
          </p:cNvSpPr>
          <p:nvPr userDrawn="1"/>
        </p:nvSpPr>
        <p:spPr bwMode="auto">
          <a:xfrm>
            <a:off x="5778987" y="350717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3" name="Oval 59"/>
          <p:cNvSpPr>
            <a:spLocks noChangeArrowheads="1"/>
          </p:cNvSpPr>
          <p:nvPr userDrawn="1"/>
        </p:nvSpPr>
        <p:spPr bwMode="auto">
          <a:xfrm>
            <a:off x="5693962"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4" name="Oval 60"/>
          <p:cNvSpPr>
            <a:spLocks noChangeArrowheads="1"/>
          </p:cNvSpPr>
          <p:nvPr userDrawn="1"/>
        </p:nvSpPr>
        <p:spPr bwMode="auto">
          <a:xfrm>
            <a:off x="5866549"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5" name="Oval 61"/>
          <p:cNvSpPr>
            <a:spLocks noChangeArrowheads="1"/>
          </p:cNvSpPr>
          <p:nvPr userDrawn="1"/>
        </p:nvSpPr>
        <p:spPr bwMode="auto">
          <a:xfrm>
            <a:off x="5951574" y="350717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6" name="Oval 62"/>
          <p:cNvSpPr>
            <a:spLocks noChangeArrowheads="1"/>
          </p:cNvSpPr>
          <p:nvPr userDrawn="1"/>
        </p:nvSpPr>
        <p:spPr bwMode="auto">
          <a:xfrm>
            <a:off x="6036598" y="350717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7" name="Oval 63"/>
          <p:cNvSpPr>
            <a:spLocks noChangeArrowheads="1"/>
          </p:cNvSpPr>
          <p:nvPr userDrawn="1"/>
        </p:nvSpPr>
        <p:spPr bwMode="auto">
          <a:xfrm>
            <a:off x="6122892"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8" name="Oval 64"/>
          <p:cNvSpPr>
            <a:spLocks noChangeArrowheads="1"/>
          </p:cNvSpPr>
          <p:nvPr userDrawn="1"/>
        </p:nvSpPr>
        <p:spPr bwMode="auto">
          <a:xfrm>
            <a:off x="6207916"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09" name="Oval 65"/>
          <p:cNvSpPr>
            <a:spLocks noChangeArrowheads="1"/>
          </p:cNvSpPr>
          <p:nvPr userDrawn="1"/>
        </p:nvSpPr>
        <p:spPr bwMode="auto">
          <a:xfrm>
            <a:off x="6292940" y="350717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0" name="Oval 66"/>
          <p:cNvSpPr>
            <a:spLocks noChangeArrowheads="1"/>
          </p:cNvSpPr>
          <p:nvPr userDrawn="1"/>
        </p:nvSpPr>
        <p:spPr bwMode="auto">
          <a:xfrm>
            <a:off x="6380503"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1" name="Oval 67"/>
          <p:cNvSpPr>
            <a:spLocks noChangeArrowheads="1"/>
          </p:cNvSpPr>
          <p:nvPr userDrawn="1"/>
        </p:nvSpPr>
        <p:spPr bwMode="auto">
          <a:xfrm>
            <a:off x="6465527" y="350717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2" name="Oval 81"/>
          <p:cNvSpPr>
            <a:spLocks noChangeArrowheads="1"/>
          </p:cNvSpPr>
          <p:nvPr userDrawn="1"/>
        </p:nvSpPr>
        <p:spPr bwMode="auto">
          <a:xfrm>
            <a:off x="5608938"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3" name="Oval 82"/>
          <p:cNvSpPr>
            <a:spLocks noChangeArrowheads="1"/>
          </p:cNvSpPr>
          <p:nvPr userDrawn="1"/>
        </p:nvSpPr>
        <p:spPr bwMode="auto">
          <a:xfrm>
            <a:off x="5693962"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4" name="Oval 83"/>
          <p:cNvSpPr>
            <a:spLocks noChangeArrowheads="1"/>
          </p:cNvSpPr>
          <p:nvPr userDrawn="1"/>
        </p:nvSpPr>
        <p:spPr bwMode="auto">
          <a:xfrm>
            <a:off x="5778987" y="35921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5" name="Oval 84"/>
          <p:cNvSpPr>
            <a:spLocks noChangeArrowheads="1"/>
          </p:cNvSpPr>
          <p:nvPr userDrawn="1"/>
        </p:nvSpPr>
        <p:spPr bwMode="auto">
          <a:xfrm>
            <a:off x="5866549"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6" name="Oval 85"/>
          <p:cNvSpPr>
            <a:spLocks noChangeArrowheads="1"/>
          </p:cNvSpPr>
          <p:nvPr userDrawn="1"/>
        </p:nvSpPr>
        <p:spPr bwMode="auto">
          <a:xfrm>
            <a:off x="5951574" y="3592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7" name="Oval 86"/>
          <p:cNvSpPr>
            <a:spLocks noChangeArrowheads="1"/>
          </p:cNvSpPr>
          <p:nvPr userDrawn="1"/>
        </p:nvSpPr>
        <p:spPr bwMode="auto">
          <a:xfrm>
            <a:off x="6036598" y="35921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8" name="Oval 87"/>
          <p:cNvSpPr>
            <a:spLocks noChangeArrowheads="1"/>
          </p:cNvSpPr>
          <p:nvPr userDrawn="1"/>
        </p:nvSpPr>
        <p:spPr bwMode="auto">
          <a:xfrm>
            <a:off x="6122892"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19" name="Oval 88"/>
          <p:cNvSpPr>
            <a:spLocks noChangeArrowheads="1"/>
          </p:cNvSpPr>
          <p:nvPr userDrawn="1"/>
        </p:nvSpPr>
        <p:spPr bwMode="auto">
          <a:xfrm>
            <a:off x="6207916"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0" name="Oval 89"/>
          <p:cNvSpPr>
            <a:spLocks noChangeArrowheads="1"/>
          </p:cNvSpPr>
          <p:nvPr userDrawn="1"/>
        </p:nvSpPr>
        <p:spPr bwMode="auto">
          <a:xfrm>
            <a:off x="6292940" y="359219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1" name="Oval 90"/>
          <p:cNvSpPr>
            <a:spLocks noChangeArrowheads="1"/>
          </p:cNvSpPr>
          <p:nvPr userDrawn="1"/>
        </p:nvSpPr>
        <p:spPr bwMode="auto">
          <a:xfrm>
            <a:off x="6380503"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2" name="Oval 91"/>
          <p:cNvSpPr>
            <a:spLocks noChangeArrowheads="1"/>
          </p:cNvSpPr>
          <p:nvPr userDrawn="1"/>
        </p:nvSpPr>
        <p:spPr bwMode="auto">
          <a:xfrm>
            <a:off x="6465527" y="35921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3" name="Oval 100"/>
          <p:cNvSpPr>
            <a:spLocks noChangeArrowheads="1"/>
          </p:cNvSpPr>
          <p:nvPr userDrawn="1"/>
        </p:nvSpPr>
        <p:spPr bwMode="auto">
          <a:xfrm>
            <a:off x="5608938"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4" name="Oval 101"/>
          <p:cNvSpPr>
            <a:spLocks noChangeArrowheads="1"/>
          </p:cNvSpPr>
          <p:nvPr userDrawn="1"/>
        </p:nvSpPr>
        <p:spPr bwMode="auto">
          <a:xfrm>
            <a:off x="5693962"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5" name="Oval 102"/>
          <p:cNvSpPr>
            <a:spLocks noChangeArrowheads="1"/>
          </p:cNvSpPr>
          <p:nvPr userDrawn="1"/>
        </p:nvSpPr>
        <p:spPr bwMode="auto">
          <a:xfrm>
            <a:off x="5778987" y="367722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6" name="Oval 103"/>
          <p:cNvSpPr>
            <a:spLocks noChangeArrowheads="1"/>
          </p:cNvSpPr>
          <p:nvPr userDrawn="1"/>
        </p:nvSpPr>
        <p:spPr bwMode="auto">
          <a:xfrm>
            <a:off x="5866549"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7" name="Oval 104"/>
          <p:cNvSpPr>
            <a:spLocks noChangeArrowheads="1"/>
          </p:cNvSpPr>
          <p:nvPr userDrawn="1"/>
        </p:nvSpPr>
        <p:spPr bwMode="auto">
          <a:xfrm>
            <a:off x="5951574" y="367722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8" name="Oval 105"/>
          <p:cNvSpPr>
            <a:spLocks noChangeArrowheads="1"/>
          </p:cNvSpPr>
          <p:nvPr userDrawn="1"/>
        </p:nvSpPr>
        <p:spPr bwMode="auto">
          <a:xfrm>
            <a:off x="6036598" y="367722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29" name="Oval 106"/>
          <p:cNvSpPr>
            <a:spLocks noChangeArrowheads="1"/>
          </p:cNvSpPr>
          <p:nvPr userDrawn="1"/>
        </p:nvSpPr>
        <p:spPr bwMode="auto">
          <a:xfrm>
            <a:off x="6122892"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0" name="Oval 107"/>
          <p:cNvSpPr>
            <a:spLocks noChangeArrowheads="1"/>
          </p:cNvSpPr>
          <p:nvPr userDrawn="1"/>
        </p:nvSpPr>
        <p:spPr bwMode="auto">
          <a:xfrm>
            <a:off x="6207916"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1" name="Oval 108"/>
          <p:cNvSpPr>
            <a:spLocks noChangeArrowheads="1"/>
          </p:cNvSpPr>
          <p:nvPr userDrawn="1"/>
        </p:nvSpPr>
        <p:spPr bwMode="auto">
          <a:xfrm>
            <a:off x="6292940" y="367722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2" name="Oval 109"/>
          <p:cNvSpPr>
            <a:spLocks noChangeArrowheads="1"/>
          </p:cNvSpPr>
          <p:nvPr userDrawn="1"/>
        </p:nvSpPr>
        <p:spPr bwMode="auto">
          <a:xfrm>
            <a:off x="6380503"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3" name="Oval 110"/>
          <p:cNvSpPr>
            <a:spLocks noChangeArrowheads="1"/>
          </p:cNvSpPr>
          <p:nvPr userDrawn="1"/>
        </p:nvSpPr>
        <p:spPr bwMode="auto">
          <a:xfrm>
            <a:off x="6465527" y="367722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4" name="Oval 120"/>
          <p:cNvSpPr>
            <a:spLocks noChangeArrowheads="1"/>
          </p:cNvSpPr>
          <p:nvPr userDrawn="1"/>
        </p:nvSpPr>
        <p:spPr bwMode="auto">
          <a:xfrm>
            <a:off x="5608938"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5" name="Oval 121"/>
          <p:cNvSpPr>
            <a:spLocks noChangeArrowheads="1"/>
          </p:cNvSpPr>
          <p:nvPr userDrawn="1"/>
        </p:nvSpPr>
        <p:spPr bwMode="auto">
          <a:xfrm>
            <a:off x="5693962"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6" name="Oval 122"/>
          <p:cNvSpPr>
            <a:spLocks noChangeArrowheads="1"/>
          </p:cNvSpPr>
          <p:nvPr userDrawn="1"/>
        </p:nvSpPr>
        <p:spPr bwMode="auto">
          <a:xfrm>
            <a:off x="5778987" y="37647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7" name="Oval 123"/>
          <p:cNvSpPr>
            <a:spLocks noChangeArrowheads="1"/>
          </p:cNvSpPr>
          <p:nvPr userDrawn="1"/>
        </p:nvSpPr>
        <p:spPr bwMode="auto">
          <a:xfrm>
            <a:off x="5866549"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8" name="Oval 124"/>
          <p:cNvSpPr>
            <a:spLocks noChangeArrowheads="1"/>
          </p:cNvSpPr>
          <p:nvPr userDrawn="1"/>
        </p:nvSpPr>
        <p:spPr bwMode="auto">
          <a:xfrm>
            <a:off x="5951574" y="37647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39" name="Oval 125"/>
          <p:cNvSpPr>
            <a:spLocks noChangeArrowheads="1"/>
          </p:cNvSpPr>
          <p:nvPr userDrawn="1"/>
        </p:nvSpPr>
        <p:spPr bwMode="auto">
          <a:xfrm>
            <a:off x="6036598" y="37647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0" name="Oval 126"/>
          <p:cNvSpPr>
            <a:spLocks noChangeArrowheads="1"/>
          </p:cNvSpPr>
          <p:nvPr userDrawn="1"/>
        </p:nvSpPr>
        <p:spPr bwMode="auto">
          <a:xfrm>
            <a:off x="6122892"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1" name="Oval 127"/>
          <p:cNvSpPr>
            <a:spLocks noChangeArrowheads="1"/>
          </p:cNvSpPr>
          <p:nvPr userDrawn="1"/>
        </p:nvSpPr>
        <p:spPr bwMode="auto">
          <a:xfrm>
            <a:off x="6207916"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2" name="Oval 128"/>
          <p:cNvSpPr>
            <a:spLocks noChangeArrowheads="1"/>
          </p:cNvSpPr>
          <p:nvPr userDrawn="1"/>
        </p:nvSpPr>
        <p:spPr bwMode="auto">
          <a:xfrm>
            <a:off x="6292940" y="37647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3" name="Oval 129"/>
          <p:cNvSpPr>
            <a:spLocks noChangeArrowheads="1"/>
          </p:cNvSpPr>
          <p:nvPr userDrawn="1"/>
        </p:nvSpPr>
        <p:spPr bwMode="auto">
          <a:xfrm>
            <a:off x="6380503"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4" name="Oval 130"/>
          <p:cNvSpPr>
            <a:spLocks noChangeArrowheads="1"/>
          </p:cNvSpPr>
          <p:nvPr userDrawn="1"/>
        </p:nvSpPr>
        <p:spPr bwMode="auto">
          <a:xfrm>
            <a:off x="6465527" y="37647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5" name="Oval 81"/>
          <p:cNvSpPr>
            <a:spLocks noChangeArrowheads="1"/>
          </p:cNvSpPr>
          <p:nvPr userDrawn="1"/>
        </p:nvSpPr>
        <p:spPr bwMode="auto">
          <a:xfrm>
            <a:off x="6552908"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6" name="Oval 82"/>
          <p:cNvSpPr>
            <a:spLocks noChangeArrowheads="1"/>
          </p:cNvSpPr>
          <p:nvPr userDrawn="1"/>
        </p:nvSpPr>
        <p:spPr bwMode="auto">
          <a:xfrm>
            <a:off x="6637932"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7" name="Oval 83"/>
          <p:cNvSpPr>
            <a:spLocks noChangeArrowheads="1"/>
          </p:cNvSpPr>
          <p:nvPr userDrawn="1"/>
        </p:nvSpPr>
        <p:spPr bwMode="auto">
          <a:xfrm>
            <a:off x="6722957" y="358764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8" name="Oval 84"/>
          <p:cNvSpPr>
            <a:spLocks noChangeArrowheads="1"/>
          </p:cNvSpPr>
          <p:nvPr userDrawn="1"/>
        </p:nvSpPr>
        <p:spPr bwMode="auto">
          <a:xfrm>
            <a:off x="6810519"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49" name="Oval 85"/>
          <p:cNvSpPr>
            <a:spLocks noChangeArrowheads="1"/>
          </p:cNvSpPr>
          <p:nvPr userDrawn="1"/>
        </p:nvSpPr>
        <p:spPr bwMode="auto">
          <a:xfrm>
            <a:off x="6895544" y="35876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0" name="Oval 100"/>
          <p:cNvSpPr>
            <a:spLocks noChangeArrowheads="1"/>
          </p:cNvSpPr>
          <p:nvPr userDrawn="1"/>
        </p:nvSpPr>
        <p:spPr bwMode="auto">
          <a:xfrm>
            <a:off x="6552908"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1" name="Oval 101"/>
          <p:cNvSpPr>
            <a:spLocks noChangeArrowheads="1"/>
          </p:cNvSpPr>
          <p:nvPr userDrawn="1"/>
        </p:nvSpPr>
        <p:spPr bwMode="auto">
          <a:xfrm>
            <a:off x="6637932"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2" name="Oval 102"/>
          <p:cNvSpPr>
            <a:spLocks noChangeArrowheads="1"/>
          </p:cNvSpPr>
          <p:nvPr userDrawn="1"/>
        </p:nvSpPr>
        <p:spPr bwMode="auto">
          <a:xfrm>
            <a:off x="6722957" y="367267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3" name="Oval 103"/>
          <p:cNvSpPr>
            <a:spLocks noChangeArrowheads="1"/>
          </p:cNvSpPr>
          <p:nvPr userDrawn="1"/>
        </p:nvSpPr>
        <p:spPr bwMode="auto">
          <a:xfrm>
            <a:off x="6810519"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4" name="Oval 104"/>
          <p:cNvSpPr>
            <a:spLocks noChangeArrowheads="1"/>
          </p:cNvSpPr>
          <p:nvPr userDrawn="1"/>
        </p:nvSpPr>
        <p:spPr bwMode="auto">
          <a:xfrm>
            <a:off x="6895544" y="367267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5" name="Oval 105"/>
          <p:cNvSpPr>
            <a:spLocks noChangeArrowheads="1"/>
          </p:cNvSpPr>
          <p:nvPr userDrawn="1"/>
        </p:nvSpPr>
        <p:spPr bwMode="auto">
          <a:xfrm>
            <a:off x="6980568" y="367267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6" name="Oval 106"/>
          <p:cNvSpPr>
            <a:spLocks noChangeArrowheads="1"/>
          </p:cNvSpPr>
          <p:nvPr userDrawn="1"/>
        </p:nvSpPr>
        <p:spPr bwMode="auto">
          <a:xfrm>
            <a:off x="7066862"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7" name="Oval 109"/>
          <p:cNvSpPr>
            <a:spLocks noChangeArrowheads="1"/>
          </p:cNvSpPr>
          <p:nvPr userDrawn="1"/>
        </p:nvSpPr>
        <p:spPr bwMode="auto">
          <a:xfrm>
            <a:off x="7324473"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8" name="Oval 110"/>
          <p:cNvSpPr>
            <a:spLocks noChangeArrowheads="1"/>
          </p:cNvSpPr>
          <p:nvPr userDrawn="1"/>
        </p:nvSpPr>
        <p:spPr bwMode="auto">
          <a:xfrm>
            <a:off x="7409497" y="367267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59" name="Oval 120"/>
          <p:cNvSpPr>
            <a:spLocks noChangeArrowheads="1"/>
          </p:cNvSpPr>
          <p:nvPr userDrawn="1"/>
        </p:nvSpPr>
        <p:spPr bwMode="auto">
          <a:xfrm>
            <a:off x="6552908"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0" name="Oval 121"/>
          <p:cNvSpPr>
            <a:spLocks noChangeArrowheads="1"/>
          </p:cNvSpPr>
          <p:nvPr userDrawn="1"/>
        </p:nvSpPr>
        <p:spPr bwMode="auto">
          <a:xfrm>
            <a:off x="6637932"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1" name="Oval 122"/>
          <p:cNvSpPr>
            <a:spLocks noChangeArrowheads="1"/>
          </p:cNvSpPr>
          <p:nvPr userDrawn="1"/>
        </p:nvSpPr>
        <p:spPr bwMode="auto">
          <a:xfrm>
            <a:off x="6722957" y="37602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2" name="Oval 123"/>
          <p:cNvSpPr>
            <a:spLocks noChangeArrowheads="1"/>
          </p:cNvSpPr>
          <p:nvPr userDrawn="1"/>
        </p:nvSpPr>
        <p:spPr bwMode="auto">
          <a:xfrm>
            <a:off x="6810519"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3" name="Oval 124"/>
          <p:cNvSpPr>
            <a:spLocks noChangeArrowheads="1"/>
          </p:cNvSpPr>
          <p:nvPr userDrawn="1"/>
        </p:nvSpPr>
        <p:spPr bwMode="auto">
          <a:xfrm>
            <a:off x="6895544" y="37602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4" name="Oval 125"/>
          <p:cNvSpPr>
            <a:spLocks noChangeArrowheads="1"/>
          </p:cNvSpPr>
          <p:nvPr userDrawn="1"/>
        </p:nvSpPr>
        <p:spPr bwMode="auto">
          <a:xfrm>
            <a:off x="6980568" y="37602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5" name="Oval 126"/>
          <p:cNvSpPr>
            <a:spLocks noChangeArrowheads="1"/>
          </p:cNvSpPr>
          <p:nvPr userDrawn="1"/>
        </p:nvSpPr>
        <p:spPr bwMode="auto">
          <a:xfrm>
            <a:off x="7066862"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6" name="Oval 127"/>
          <p:cNvSpPr>
            <a:spLocks noChangeArrowheads="1"/>
          </p:cNvSpPr>
          <p:nvPr userDrawn="1"/>
        </p:nvSpPr>
        <p:spPr bwMode="auto">
          <a:xfrm>
            <a:off x="7151886"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7" name="Oval 128"/>
          <p:cNvSpPr>
            <a:spLocks noChangeArrowheads="1"/>
          </p:cNvSpPr>
          <p:nvPr userDrawn="1"/>
        </p:nvSpPr>
        <p:spPr bwMode="auto">
          <a:xfrm>
            <a:off x="7236910" y="37602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8" name="Oval 129"/>
          <p:cNvSpPr>
            <a:spLocks noChangeArrowheads="1"/>
          </p:cNvSpPr>
          <p:nvPr userDrawn="1"/>
        </p:nvSpPr>
        <p:spPr bwMode="auto">
          <a:xfrm>
            <a:off x="7324473"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69" name="Oval 130"/>
          <p:cNvSpPr>
            <a:spLocks noChangeArrowheads="1"/>
          </p:cNvSpPr>
          <p:nvPr userDrawn="1"/>
        </p:nvSpPr>
        <p:spPr bwMode="auto">
          <a:xfrm>
            <a:off x="7409497" y="37602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0" name="Oval 58"/>
          <p:cNvSpPr>
            <a:spLocks noChangeArrowheads="1"/>
          </p:cNvSpPr>
          <p:nvPr userDrawn="1"/>
        </p:nvSpPr>
        <p:spPr bwMode="auto">
          <a:xfrm>
            <a:off x="7666927" y="349807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1" name="Oval 60"/>
          <p:cNvSpPr>
            <a:spLocks noChangeArrowheads="1"/>
          </p:cNvSpPr>
          <p:nvPr userDrawn="1"/>
        </p:nvSpPr>
        <p:spPr bwMode="auto">
          <a:xfrm>
            <a:off x="7754489" y="34980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2" name="Oval 61"/>
          <p:cNvSpPr>
            <a:spLocks noChangeArrowheads="1"/>
          </p:cNvSpPr>
          <p:nvPr userDrawn="1"/>
        </p:nvSpPr>
        <p:spPr bwMode="auto">
          <a:xfrm>
            <a:off x="7839514" y="349807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3" name="Oval 62"/>
          <p:cNvSpPr>
            <a:spLocks noChangeArrowheads="1"/>
          </p:cNvSpPr>
          <p:nvPr userDrawn="1"/>
        </p:nvSpPr>
        <p:spPr bwMode="auto">
          <a:xfrm>
            <a:off x="7924538" y="349807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4" name="Oval 63"/>
          <p:cNvSpPr>
            <a:spLocks noChangeArrowheads="1"/>
          </p:cNvSpPr>
          <p:nvPr userDrawn="1"/>
        </p:nvSpPr>
        <p:spPr bwMode="auto">
          <a:xfrm>
            <a:off x="8010832"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5" name="Oval 64"/>
          <p:cNvSpPr>
            <a:spLocks noChangeArrowheads="1"/>
          </p:cNvSpPr>
          <p:nvPr userDrawn="1"/>
        </p:nvSpPr>
        <p:spPr bwMode="auto">
          <a:xfrm>
            <a:off x="8095856"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6" name="Oval 65"/>
          <p:cNvSpPr>
            <a:spLocks noChangeArrowheads="1"/>
          </p:cNvSpPr>
          <p:nvPr userDrawn="1"/>
        </p:nvSpPr>
        <p:spPr bwMode="auto">
          <a:xfrm>
            <a:off x="8180880" y="349807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7" name="Oval 66"/>
          <p:cNvSpPr>
            <a:spLocks noChangeArrowheads="1"/>
          </p:cNvSpPr>
          <p:nvPr userDrawn="1"/>
        </p:nvSpPr>
        <p:spPr bwMode="auto">
          <a:xfrm>
            <a:off x="8268443"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8" name="Oval 67"/>
          <p:cNvSpPr>
            <a:spLocks noChangeArrowheads="1"/>
          </p:cNvSpPr>
          <p:nvPr userDrawn="1"/>
        </p:nvSpPr>
        <p:spPr bwMode="auto">
          <a:xfrm>
            <a:off x="8353467" y="349807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79" name="Oval 82"/>
          <p:cNvSpPr>
            <a:spLocks noChangeArrowheads="1"/>
          </p:cNvSpPr>
          <p:nvPr userDrawn="1"/>
        </p:nvSpPr>
        <p:spPr bwMode="auto">
          <a:xfrm>
            <a:off x="7581902"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0" name="Oval 83"/>
          <p:cNvSpPr>
            <a:spLocks noChangeArrowheads="1"/>
          </p:cNvSpPr>
          <p:nvPr userDrawn="1"/>
        </p:nvSpPr>
        <p:spPr bwMode="auto">
          <a:xfrm>
            <a:off x="7666927" y="35830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1" name="Oval 84"/>
          <p:cNvSpPr>
            <a:spLocks noChangeArrowheads="1"/>
          </p:cNvSpPr>
          <p:nvPr userDrawn="1"/>
        </p:nvSpPr>
        <p:spPr bwMode="auto">
          <a:xfrm>
            <a:off x="7754489"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2" name="Oval 85"/>
          <p:cNvSpPr>
            <a:spLocks noChangeArrowheads="1"/>
          </p:cNvSpPr>
          <p:nvPr userDrawn="1"/>
        </p:nvSpPr>
        <p:spPr bwMode="auto">
          <a:xfrm>
            <a:off x="7839514" y="358309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3" name="Oval 86"/>
          <p:cNvSpPr>
            <a:spLocks noChangeArrowheads="1"/>
          </p:cNvSpPr>
          <p:nvPr userDrawn="1"/>
        </p:nvSpPr>
        <p:spPr bwMode="auto">
          <a:xfrm>
            <a:off x="7924538" y="358309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4" name="Oval 87"/>
          <p:cNvSpPr>
            <a:spLocks noChangeArrowheads="1"/>
          </p:cNvSpPr>
          <p:nvPr userDrawn="1"/>
        </p:nvSpPr>
        <p:spPr bwMode="auto">
          <a:xfrm>
            <a:off x="8010832"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5" name="Oval 88"/>
          <p:cNvSpPr>
            <a:spLocks noChangeArrowheads="1"/>
          </p:cNvSpPr>
          <p:nvPr userDrawn="1"/>
        </p:nvSpPr>
        <p:spPr bwMode="auto">
          <a:xfrm>
            <a:off x="8095856"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6" name="Oval 89"/>
          <p:cNvSpPr>
            <a:spLocks noChangeArrowheads="1"/>
          </p:cNvSpPr>
          <p:nvPr userDrawn="1"/>
        </p:nvSpPr>
        <p:spPr bwMode="auto">
          <a:xfrm>
            <a:off x="8180880" y="358309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7" name="Oval 90"/>
          <p:cNvSpPr>
            <a:spLocks noChangeArrowheads="1"/>
          </p:cNvSpPr>
          <p:nvPr userDrawn="1"/>
        </p:nvSpPr>
        <p:spPr bwMode="auto">
          <a:xfrm>
            <a:off x="8268443"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8" name="Oval 91"/>
          <p:cNvSpPr>
            <a:spLocks noChangeArrowheads="1"/>
          </p:cNvSpPr>
          <p:nvPr userDrawn="1"/>
        </p:nvSpPr>
        <p:spPr bwMode="auto">
          <a:xfrm>
            <a:off x="8353467" y="358309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89" name="Oval 100"/>
          <p:cNvSpPr>
            <a:spLocks noChangeArrowheads="1"/>
          </p:cNvSpPr>
          <p:nvPr userDrawn="1"/>
        </p:nvSpPr>
        <p:spPr bwMode="auto">
          <a:xfrm>
            <a:off x="7496878"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0" name="Oval 101"/>
          <p:cNvSpPr>
            <a:spLocks noChangeArrowheads="1"/>
          </p:cNvSpPr>
          <p:nvPr userDrawn="1"/>
        </p:nvSpPr>
        <p:spPr bwMode="auto">
          <a:xfrm>
            <a:off x="7581902"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1" name="Oval 102"/>
          <p:cNvSpPr>
            <a:spLocks noChangeArrowheads="1"/>
          </p:cNvSpPr>
          <p:nvPr userDrawn="1"/>
        </p:nvSpPr>
        <p:spPr bwMode="auto">
          <a:xfrm>
            <a:off x="7666927" y="366812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2" name="Oval 103"/>
          <p:cNvSpPr>
            <a:spLocks noChangeArrowheads="1"/>
          </p:cNvSpPr>
          <p:nvPr userDrawn="1"/>
        </p:nvSpPr>
        <p:spPr bwMode="auto">
          <a:xfrm>
            <a:off x="7754489"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3" name="Oval 104"/>
          <p:cNvSpPr>
            <a:spLocks noChangeArrowheads="1"/>
          </p:cNvSpPr>
          <p:nvPr userDrawn="1"/>
        </p:nvSpPr>
        <p:spPr bwMode="auto">
          <a:xfrm>
            <a:off x="7839514" y="366812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4" name="Oval 105"/>
          <p:cNvSpPr>
            <a:spLocks noChangeArrowheads="1"/>
          </p:cNvSpPr>
          <p:nvPr userDrawn="1"/>
        </p:nvSpPr>
        <p:spPr bwMode="auto">
          <a:xfrm>
            <a:off x="7924538" y="366812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5" name="Oval 106"/>
          <p:cNvSpPr>
            <a:spLocks noChangeArrowheads="1"/>
          </p:cNvSpPr>
          <p:nvPr userDrawn="1"/>
        </p:nvSpPr>
        <p:spPr bwMode="auto">
          <a:xfrm>
            <a:off x="8010832"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6" name="Oval 107"/>
          <p:cNvSpPr>
            <a:spLocks noChangeArrowheads="1"/>
          </p:cNvSpPr>
          <p:nvPr userDrawn="1"/>
        </p:nvSpPr>
        <p:spPr bwMode="auto">
          <a:xfrm>
            <a:off x="8095856"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7" name="Oval 108"/>
          <p:cNvSpPr>
            <a:spLocks noChangeArrowheads="1"/>
          </p:cNvSpPr>
          <p:nvPr userDrawn="1"/>
        </p:nvSpPr>
        <p:spPr bwMode="auto">
          <a:xfrm>
            <a:off x="8180880" y="366812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8" name="Oval 109"/>
          <p:cNvSpPr>
            <a:spLocks noChangeArrowheads="1"/>
          </p:cNvSpPr>
          <p:nvPr userDrawn="1"/>
        </p:nvSpPr>
        <p:spPr bwMode="auto">
          <a:xfrm>
            <a:off x="8268443"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199" name="Oval 110"/>
          <p:cNvSpPr>
            <a:spLocks noChangeArrowheads="1"/>
          </p:cNvSpPr>
          <p:nvPr userDrawn="1"/>
        </p:nvSpPr>
        <p:spPr bwMode="auto">
          <a:xfrm>
            <a:off x="8353467" y="366812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0" name="Oval 120"/>
          <p:cNvSpPr>
            <a:spLocks noChangeArrowheads="1"/>
          </p:cNvSpPr>
          <p:nvPr userDrawn="1"/>
        </p:nvSpPr>
        <p:spPr bwMode="auto">
          <a:xfrm>
            <a:off x="7496878"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1" name="Oval 121"/>
          <p:cNvSpPr>
            <a:spLocks noChangeArrowheads="1"/>
          </p:cNvSpPr>
          <p:nvPr userDrawn="1"/>
        </p:nvSpPr>
        <p:spPr bwMode="auto">
          <a:xfrm>
            <a:off x="7581902"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2" name="Oval 122"/>
          <p:cNvSpPr>
            <a:spLocks noChangeArrowheads="1"/>
          </p:cNvSpPr>
          <p:nvPr userDrawn="1"/>
        </p:nvSpPr>
        <p:spPr bwMode="auto">
          <a:xfrm>
            <a:off x="7666927" y="37556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3" name="Oval 123"/>
          <p:cNvSpPr>
            <a:spLocks noChangeArrowheads="1"/>
          </p:cNvSpPr>
          <p:nvPr userDrawn="1"/>
        </p:nvSpPr>
        <p:spPr bwMode="auto">
          <a:xfrm>
            <a:off x="7754489"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4" name="Oval 124"/>
          <p:cNvSpPr>
            <a:spLocks noChangeArrowheads="1"/>
          </p:cNvSpPr>
          <p:nvPr userDrawn="1"/>
        </p:nvSpPr>
        <p:spPr bwMode="auto">
          <a:xfrm>
            <a:off x="7839514" y="37556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5" name="Oval 125"/>
          <p:cNvSpPr>
            <a:spLocks noChangeArrowheads="1"/>
          </p:cNvSpPr>
          <p:nvPr userDrawn="1"/>
        </p:nvSpPr>
        <p:spPr bwMode="auto">
          <a:xfrm>
            <a:off x="7924538" y="37556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6" name="Oval 126"/>
          <p:cNvSpPr>
            <a:spLocks noChangeArrowheads="1"/>
          </p:cNvSpPr>
          <p:nvPr userDrawn="1"/>
        </p:nvSpPr>
        <p:spPr bwMode="auto">
          <a:xfrm>
            <a:off x="8010832"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7" name="Oval 127"/>
          <p:cNvSpPr>
            <a:spLocks noChangeArrowheads="1"/>
          </p:cNvSpPr>
          <p:nvPr userDrawn="1"/>
        </p:nvSpPr>
        <p:spPr bwMode="auto">
          <a:xfrm>
            <a:off x="8095856"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8" name="Oval 128"/>
          <p:cNvSpPr>
            <a:spLocks noChangeArrowheads="1"/>
          </p:cNvSpPr>
          <p:nvPr userDrawn="1"/>
        </p:nvSpPr>
        <p:spPr bwMode="auto">
          <a:xfrm>
            <a:off x="8180880" y="375568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09" name="Oval 129"/>
          <p:cNvSpPr>
            <a:spLocks noChangeArrowheads="1"/>
          </p:cNvSpPr>
          <p:nvPr userDrawn="1"/>
        </p:nvSpPr>
        <p:spPr bwMode="auto">
          <a:xfrm>
            <a:off x="8268443"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0" name="Oval 130"/>
          <p:cNvSpPr>
            <a:spLocks noChangeArrowheads="1"/>
          </p:cNvSpPr>
          <p:nvPr userDrawn="1"/>
        </p:nvSpPr>
        <p:spPr bwMode="auto">
          <a:xfrm>
            <a:off x="8353467" y="375568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1" name="Oval 57"/>
          <p:cNvSpPr>
            <a:spLocks noChangeArrowheads="1"/>
          </p:cNvSpPr>
          <p:nvPr userDrawn="1"/>
        </p:nvSpPr>
        <p:spPr bwMode="auto">
          <a:xfrm>
            <a:off x="8440848"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2" name="Oval 58"/>
          <p:cNvSpPr>
            <a:spLocks noChangeArrowheads="1"/>
          </p:cNvSpPr>
          <p:nvPr userDrawn="1"/>
        </p:nvSpPr>
        <p:spPr bwMode="auto">
          <a:xfrm>
            <a:off x="8610897" y="34935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3" name="Oval 59"/>
          <p:cNvSpPr>
            <a:spLocks noChangeArrowheads="1"/>
          </p:cNvSpPr>
          <p:nvPr userDrawn="1"/>
        </p:nvSpPr>
        <p:spPr bwMode="auto">
          <a:xfrm>
            <a:off x="8525872"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4" name="Oval 60"/>
          <p:cNvSpPr>
            <a:spLocks noChangeArrowheads="1"/>
          </p:cNvSpPr>
          <p:nvPr userDrawn="1"/>
        </p:nvSpPr>
        <p:spPr bwMode="auto">
          <a:xfrm>
            <a:off x="8698459"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5" name="Oval 61"/>
          <p:cNvSpPr>
            <a:spLocks noChangeArrowheads="1"/>
          </p:cNvSpPr>
          <p:nvPr userDrawn="1"/>
        </p:nvSpPr>
        <p:spPr bwMode="auto">
          <a:xfrm>
            <a:off x="8783484" y="349352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6" name="Oval 62"/>
          <p:cNvSpPr>
            <a:spLocks noChangeArrowheads="1"/>
          </p:cNvSpPr>
          <p:nvPr userDrawn="1"/>
        </p:nvSpPr>
        <p:spPr bwMode="auto">
          <a:xfrm>
            <a:off x="8868508" y="349352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7" name="Oval 63"/>
          <p:cNvSpPr>
            <a:spLocks noChangeArrowheads="1"/>
          </p:cNvSpPr>
          <p:nvPr userDrawn="1"/>
        </p:nvSpPr>
        <p:spPr bwMode="auto">
          <a:xfrm>
            <a:off x="8954802" y="349352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8" name="Oval 81"/>
          <p:cNvSpPr>
            <a:spLocks noChangeArrowheads="1"/>
          </p:cNvSpPr>
          <p:nvPr userDrawn="1"/>
        </p:nvSpPr>
        <p:spPr bwMode="auto">
          <a:xfrm>
            <a:off x="8440848"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19" name="Oval 82"/>
          <p:cNvSpPr>
            <a:spLocks noChangeArrowheads="1"/>
          </p:cNvSpPr>
          <p:nvPr userDrawn="1"/>
        </p:nvSpPr>
        <p:spPr bwMode="auto">
          <a:xfrm>
            <a:off x="8525872"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0" name="Oval 83"/>
          <p:cNvSpPr>
            <a:spLocks noChangeArrowheads="1"/>
          </p:cNvSpPr>
          <p:nvPr userDrawn="1"/>
        </p:nvSpPr>
        <p:spPr bwMode="auto">
          <a:xfrm>
            <a:off x="8610897" y="357854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1" name="Oval 84"/>
          <p:cNvSpPr>
            <a:spLocks noChangeArrowheads="1"/>
          </p:cNvSpPr>
          <p:nvPr userDrawn="1"/>
        </p:nvSpPr>
        <p:spPr bwMode="auto">
          <a:xfrm>
            <a:off x="8698459"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2" name="Oval 85"/>
          <p:cNvSpPr>
            <a:spLocks noChangeArrowheads="1"/>
          </p:cNvSpPr>
          <p:nvPr userDrawn="1"/>
        </p:nvSpPr>
        <p:spPr bwMode="auto">
          <a:xfrm>
            <a:off x="8783484" y="357854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3" name="Oval 100"/>
          <p:cNvSpPr>
            <a:spLocks noChangeArrowheads="1"/>
          </p:cNvSpPr>
          <p:nvPr userDrawn="1"/>
        </p:nvSpPr>
        <p:spPr bwMode="auto">
          <a:xfrm>
            <a:off x="8440848"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4" name="Oval 101"/>
          <p:cNvSpPr>
            <a:spLocks noChangeArrowheads="1"/>
          </p:cNvSpPr>
          <p:nvPr userDrawn="1"/>
        </p:nvSpPr>
        <p:spPr bwMode="auto">
          <a:xfrm>
            <a:off x="8525872"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5" name="Oval 102"/>
          <p:cNvSpPr>
            <a:spLocks noChangeArrowheads="1"/>
          </p:cNvSpPr>
          <p:nvPr userDrawn="1"/>
        </p:nvSpPr>
        <p:spPr bwMode="auto">
          <a:xfrm>
            <a:off x="8610897" y="366357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6" name="Oval 103"/>
          <p:cNvSpPr>
            <a:spLocks noChangeArrowheads="1"/>
          </p:cNvSpPr>
          <p:nvPr userDrawn="1"/>
        </p:nvSpPr>
        <p:spPr bwMode="auto">
          <a:xfrm>
            <a:off x="8698459"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7" name="Oval 104"/>
          <p:cNvSpPr>
            <a:spLocks noChangeArrowheads="1"/>
          </p:cNvSpPr>
          <p:nvPr userDrawn="1"/>
        </p:nvSpPr>
        <p:spPr bwMode="auto">
          <a:xfrm>
            <a:off x="8783484" y="366357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8" name="Oval 121"/>
          <p:cNvSpPr>
            <a:spLocks noChangeArrowheads="1"/>
          </p:cNvSpPr>
          <p:nvPr userDrawn="1"/>
        </p:nvSpPr>
        <p:spPr bwMode="auto">
          <a:xfrm>
            <a:off x="8525872" y="37511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29" name="Oval 122"/>
          <p:cNvSpPr>
            <a:spLocks noChangeArrowheads="1"/>
          </p:cNvSpPr>
          <p:nvPr userDrawn="1"/>
        </p:nvSpPr>
        <p:spPr bwMode="auto">
          <a:xfrm>
            <a:off x="8610897" y="375113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0" name="Oval 123"/>
          <p:cNvSpPr>
            <a:spLocks noChangeArrowheads="1"/>
          </p:cNvSpPr>
          <p:nvPr userDrawn="1"/>
        </p:nvSpPr>
        <p:spPr bwMode="auto">
          <a:xfrm>
            <a:off x="8698459" y="375113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1" name="Oval 57"/>
          <p:cNvSpPr>
            <a:spLocks noChangeArrowheads="1"/>
          </p:cNvSpPr>
          <p:nvPr userDrawn="1"/>
        </p:nvSpPr>
        <p:spPr bwMode="auto">
          <a:xfrm>
            <a:off x="4664968"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2" name="Oval 58"/>
          <p:cNvSpPr>
            <a:spLocks noChangeArrowheads="1"/>
          </p:cNvSpPr>
          <p:nvPr userDrawn="1"/>
        </p:nvSpPr>
        <p:spPr bwMode="auto">
          <a:xfrm>
            <a:off x="4835017" y="385291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3" name="Oval 59"/>
          <p:cNvSpPr>
            <a:spLocks noChangeArrowheads="1"/>
          </p:cNvSpPr>
          <p:nvPr userDrawn="1"/>
        </p:nvSpPr>
        <p:spPr bwMode="auto">
          <a:xfrm>
            <a:off x="4749992"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4" name="Oval 60"/>
          <p:cNvSpPr>
            <a:spLocks noChangeArrowheads="1"/>
          </p:cNvSpPr>
          <p:nvPr userDrawn="1"/>
        </p:nvSpPr>
        <p:spPr bwMode="auto">
          <a:xfrm>
            <a:off x="4922579"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5" name="Oval 61"/>
          <p:cNvSpPr>
            <a:spLocks noChangeArrowheads="1"/>
          </p:cNvSpPr>
          <p:nvPr userDrawn="1"/>
        </p:nvSpPr>
        <p:spPr bwMode="auto">
          <a:xfrm>
            <a:off x="5007604" y="385291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6" name="Oval 62"/>
          <p:cNvSpPr>
            <a:spLocks noChangeArrowheads="1"/>
          </p:cNvSpPr>
          <p:nvPr userDrawn="1"/>
        </p:nvSpPr>
        <p:spPr bwMode="auto">
          <a:xfrm>
            <a:off x="5092628" y="385291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7" name="Oval 63"/>
          <p:cNvSpPr>
            <a:spLocks noChangeArrowheads="1"/>
          </p:cNvSpPr>
          <p:nvPr userDrawn="1"/>
        </p:nvSpPr>
        <p:spPr bwMode="auto">
          <a:xfrm>
            <a:off x="5178922"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8" name="Oval 64"/>
          <p:cNvSpPr>
            <a:spLocks noChangeArrowheads="1"/>
          </p:cNvSpPr>
          <p:nvPr userDrawn="1"/>
        </p:nvSpPr>
        <p:spPr bwMode="auto">
          <a:xfrm>
            <a:off x="5263946"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39" name="Oval 65"/>
          <p:cNvSpPr>
            <a:spLocks noChangeArrowheads="1"/>
          </p:cNvSpPr>
          <p:nvPr userDrawn="1"/>
        </p:nvSpPr>
        <p:spPr bwMode="auto">
          <a:xfrm>
            <a:off x="5348970" y="385291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0" name="Oval 66"/>
          <p:cNvSpPr>
            <a:spLocks noChangeArrowheads="1"/>
          </p:cNvSpPr>
          <p:nvPr userDrawn="1"/>
        </p:nvSpPr>
        <p:spPr bwMode="auto">
          <a:xfrm>
            <a:off x="5436533"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1" name="Oval 67"/>
          <p:cNvSpPr>
            <a:spLocks noChangeArrowheads="1"/>
          </p:cNvSpPr>
          <p:nvPr userDrawn="1"/>
        </p:nvSpPr>
        <p:spPr bwMode="auto">
          <a:xfrm>
            <a:off x="5521557" y="385291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2" name="Oval 82"/>
          <p:cNvSpPr>
            <a:spLocks noChangeArrowheads="1"/>
          </p:cNvSpPr>
          <p:nvPr userDrawn="1"/>
        </p:nvSpPr>
        <p:spPr bwMode="auto">
          <a:xfrm>
            <a:off x="4749992"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3" name="Oval 83"/>
          <p:cNvSpPr>
            <a:spLocks noChangeArrowheads="1"/>
          </p:cNvSpPr>
          <p:nvPr userDrawn="1"/>
        </p:nvSpPr>
        <p:spPr bwMode="auto">
          <a:xfrm>
            <a:off x="4835017" y="39379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4" name="Oval 84"/>
          <p:cNvSpPr>
            <a:spLocks noChangeArrowheads="1"/>
          </p:cNvSpPr>
          <p:nvPr userDrawn="1"/>
        </p:nvSpPr>
        <p:spPr bwMode="auto">
          <a:xfrm>
            <a:off x="4922579"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5" name="Oval 85"/>
          <p:cNvSpPr>
            <a:spLocks noChangeArrowheads="1"/>
          </p:cNvSpPr>
          <p:nvPr userDrawn="1"/>
        </p:nvSpPr>
        <p:spPr bwMode="auto">
          <a:xfrm>
            <a:off x="5007604" y="39379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6" name="Oval 86"/>
          <p:cNvSpPr>
            <a:spLocks noChangeArrowheads="1"/>
          </p:cNvSpPr>
          <p:nvPr userDrawn="1"/>
        </p:nvSpPr>
        <p:spPr bwMode="auto">
          <a:xfrm>
            <a:off x="5092628" y="39379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7" name="Oval 87"/>
          <p:cNvSpPr>
            <a:spLocks noChangeArrowheads="1"/>
          </p:cNvSpPr>
          <p:nvPr userDrawn="1"/>
        </p:nvSpPr>
        <p:spPr bwMode="auto">
          <a:xfrm>
            <a:off x="5178922"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8" name="Oval 88"/>
          <p:cNvSpPr>
            <a:spLocks noChangeArrowheads="1"/>
          </p:cNvSpPr>
          <p:nvPr userDrawn="1"/>
        </p:nvSpPr>
        <p:spPr bwMode="auto">
          <a:xfrm>
            <a:off x="5263946"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49" name="Oval 89"/>
          <p:cNvSpPr>
            <a:spLocks noChangeArrowheads="1"/>
          </p:cNvSpPr>
          <p:nvPr userDrawn="1"/>
        </p:nvSpPr>
        <p:spPr bwMode="auto">
          <a:xfrm>
            <a:off x="5348970" y="39379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0" name="Oval 90"/>
          <p:cNvSpPr>
            <a:spLocks noChangeArrowheads="1"/>
          </p:cNvSpPr>
          <p:nvPr userDrawn="1"/>
        </p:nvSpPr>
        <p:spPr bwMode="auto">
          <a:xfrm>
            <a:off x="5436533"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1" name="Oval 91"/>
          <p:cNvSpPr>
            <a:spLocks noChangeArrowheads="1"/>
          </p:cNvSpPr>
          <p:nvPr userDrawn="1"/>
        </p:nvSpPr>
        <p:spPr bwMode="auto">
          <a:xfrm>
            <a:off x="5521557" y="39379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2" name="Oval 102"/>
          <p:cNvSpPr>
            <a:spLocks noChangeArrowheads="1"/>
          </p:cNvSpPr>
          <p:nvPr userDrawn="1"/>
        </p:nvSpPr>
        <p:spPr bwMode="auto">
          <a:xfrm>
            <a:off x="4835017" y="402296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3" name="Oval 103"/>
          <p:cNvSpPr>
            <a:spLocks noChangeArrowheads="1"/>
          </p:cNvSpPr>
          <p:nvPr userDrawn="1"/>
        </p:nvSpPr>
        <p:spPr bwMode="auto">
          <a:xfrm>
            <a:off x="4922579" y="402296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4" name="Oval 104"/>
          <p:cNvSpPr>
            <a:spLocks noChangeArrowheads="1"/>
          </p:cNvSpPr>
          <p:nvPr userDrawn="1"/>
        </p:nvSpPr>
        <p:spPr bwMode="auto">
          <a:xfrm>
            <a:off x="5007604" y="402296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5" name="Oval 105"/>
          <p:cNvSpPr>
            <a:spLocks noChangeArrowheads="1"/>
          </p:cNvSpPr>
          <p:nvPr userDrawn="1"/>
        </p:nvSpPr>
        <p:spPr bwMode="auto">
          <a:xfrm>
            <a:off x="5092628" y="402296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6" name="Oval 106"/>
          <p:cNvSpPr>
            <a:spLocks noChangeArrowheads="1"/>
          </p:cNvSpPr>
          <p:nvPr userDrawn="1"/>
        </p:nvSpPr>
        <p:spPr bwMode="auto">
          <a:xfrm>
            <a:off x="5178922"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7" name="Oval 107"/>
          <p:cNvSpPr>
            <a:spLocks noChangeArrowheads="1"/>
          </p:cNvSpPr>
          <p:nvPr userDrawn="1"/>
        </p:nvSpPr>
        <p:spPr bwMode="auto">
          <a:xfrm>
            <a:off x="5263946"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8" name="Oval 108"/>
          <p:cNvSpPr>
            <a:spLocks noChangeArrowheads="1"/>
          </p:cNvSpPr>
          <p:nvPr userDrawn="1"/>
        </p:nvSpPr>
        <p:spPr bwMode="auto">
          <a:xfrm>
            <a:off x="5348970" y="402296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59" name="Oval 109"/>
          <p:cNvSpPr>
            <a:spLocks noChangeArrowheads="1"/>
          </p:cNvSpPr>
          <p:nvPr userDrawn="1"/>
        </p:nvSpPr>
        <p:spPr bwMode="auto">
          <a:xfrm>
            <a:off x="5436533"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0" name="Oval 110"/>
          <p:cNvSpPr>
            <a:spLocks noChangeArrowheads="1"/>
          </p:cNvSpPr>
          <p:nvPr userDrawn="1"/>
        </p:nvSpPr>
        <p:spPr bwMode="auto">
          <a:xfrm>
            <a:off x="5521557" y="402296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1" name="Oval 122"/>
          <p:cNvSpPr>
            <a:spLocks noChangeArrowheads="1"/>
          </p:cNvSpPr>
          <p:nvPr userDrawn="1"/>
        </p:nvSpPr>
        <p:spPr bwMode="auto">
          <a:xfrm>
            <a:off x="4835017" y="41105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2" name="Oval 123"/>
          <p:cNvSpPr>
            <a:spLocks noChangeArrowheads="1"/>
          </p:cNvSpPr>
          <p:nvPr userDrawn="1"/>
        </p:nvSpPr>
        <p:spPr bwMode="auto">
          <a:xfrm>
            <a:off x="4922579" y="41105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3" name="Oval 124"/>
          <p:cNvSpPr>
            <a:spLocks noChangeArrowheads="1"/>
          </p:cNvSpPr>
          <p:nvPr userDrawn="1"/>
        </p:nvSpPr>
        <p:spPr bwMode="auto">
          <a:xfrm>
            <a:off x="5007604" y="41105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4" name="Oval 125"/>
          <p:cNvSpPr>
            <a:spLocks noChangeArrowheads="1"/>
          </p:cNvSpPr>
          <p:nvPr userDrawn="1"/>
        </p:nvSpPr>
        <p:spPr bwMode="auto">
          <a:xfrm>
            <a:off x="5092628" y="41105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5" name="Oval 126"/>
          <p:cNvSpPr>
            <a:spLocks noChangeArrowheads="1"/>
          </p:cNvSpPr>
          <p:nvPr userDrawn="1"/>
        </p:nvSpPr>
        <p:spPr bwMode="auto">
          <a:xfrm>
            <a:off x="5178922"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6" name="Oval 127"/>
          <p:cNvSpPr>
            <a:spLocks noChangeArrowheads="1"/>
          </p:cNvSpPr>
          <p:nvPr userDrawn="1"/>
        </p:nvSpPr>
        <p:spPr bwMode="auto">
          <a:xfrm>
            <a:off x="5263946"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7" name="Oval 128"/>
          <p:cNvSpPr>
            <a:spLocks noChangeArrowheads="1"/>
          </p:cNvSpPr>
          <p:nvPr userDrawn="1"/>
        </p:nvSpPr>
        <p:spPr bwMode="auto">
          <a:xfrm>
            <a:off x="5348970" y="41105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8" name="Oval 129"/>
          <p:cNvSpPr>
            <a:spLocks noChangeArrowheads="1"/>
          </p:cNvSpPr>
          <p:nvPr userDrawn="1"/>
        </p:nvSpPr>
        <p:spPr bwMode="auto">
          <a:xfrm>
            <a:off x="5436533"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69" name="Oval 130"/>
          <p:cNvSpPr>
            <a:spLocks noChangeArrowheads="1"/>
          </p:cNvSpPr>
          <p:nvPr userDrawn="1"/>
        </p:nvSpPr>
        <p:spPr bwMode="auto">
          <a:xfrm>
            <a:off x="5521557" y="41105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0" name="Oval 57"/>
          <p:cNvSpPr>
            <a:spLocks noChangeArrowheads="1"/>
          </p:cNvSpPr>
          <p:nvPr userDrawn="1"/>
        </p:nvSpPr>
        <p:spPr bwMode="auto">
          <a:xfrm>
            <a:off x="5608938"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1" name="Oval 58"/>
          <p:cNvSpPr>
            <a:spLocks noChangeArrowheads="1"/>
          </p:cNvSpPr>
          <p:nvPr userDrawn="1"/>
        </p:nvSpPr>
        <p:spPr bwMode="auto">
          <a:xfrm>
            <a:off x="5778987" y="384836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2" name="Oval 59"/>
          <p:cNvSpPr>
            <a:spLocks noChangeArrowheads="1"/>
          </p:cNvSpPr>
          <p:nvPr userDrawn="1"/>
        </p:nvSpPr>
        <p:spPr bwMode="auto">
          <a:xfrm>
            <a:off x="5693962"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3" name="Oval 60"/>
          <p:cNvSpPr>
            <a:spLocks noChangeArrowheads="1"/>
          </p:cNvSpPr>
          <p:nvPr userDrawn="1"/>
        </p:nvSpPr>
        <p:spPr bwMode="auto">
          <a:xfrm>
            <a:off x="5866549"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4" name="Oval 61"/>
          <p:cNvSpPr>
            <a:spLocks noChangeArrowheads="1"/>
          </p:cNvSpPr>
          <p:nvPr userDrawn="1"/>
        </p:nvSpPr>
        <p:spPr bwMode="auto">
          <a:xfrm>
            <a:off x="5951574" y="384836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5" name="Oval 62"/>
          <p:cNvSpPr>
            <a:spLocks noChangeArrowheads="1"/>
          </p:cNvSpPr>
          <p:nvPr userDrawn="1"/>
        </p:nvSpPr>
        <p:spPr bwMode="auto">
          <a:xfrm>
            <a:off x="6036598" y="384836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6" name="Oval 63"/>
          <p:cNvSpPr>
            <a:spLocks noChangeArrowheads="1"/>
          </p:cNvSpPr>
          <p:nvPr userDrawn="1"/>
        </p:nvSpPr>
        <p:spPr bwMode="auto">
          <a:xfrm>
            <a:off x="6122892"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7" name="Oval 64"/>
          <p:cNvSpPr>
            <a:spLocks noChangeArrowheads="1"/>
          </p:cNvSpPr>
          <p:nvPr userDrawn="1"/>
        </p:nvSpPr>
        <p:spPr bwMode="auto">
          <a:xfrm>
            <a:off x="6207916"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8" name="Oval 65"/>
          <p:cNvSpPr>
            <a:spLocks noChangeArrowheads="1"/>
          </p:cNvSpPr>
          <p:nvPr userDrawn="1"/>
        </p:nvSpPr>
        <p:spPr bwMode="auto">
          <a:xfrm>
            <a:off x="6292940" y="384836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79" name="Oval 66"/>
          <p:cNvSpPr>
            <a:spLocks noChangeArrowheads="1"/>
          </p:cNvSpPr>
          <p:nvPr userDrawn="1"/>
        </p:nvSpPr>
        <p:spPr bwMode="auto">
          <a:xfrm>
            <a:off x="6380503"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0" name="Oval 67"/>
          <p:cNvSpPr>
            <a:spLocks noChangeArrowheads="1"/>
          </p:cNvSpPr>
          <p:nvPr userDrawn="1"/>
        </p:nvSpPr>
        <p:spPr bwMode="auto">
          <a:xfrm>
            <a:off x="6465527" y="384836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1" name="Oval 81"/>
          <p:cNvSpPr>
            <a:spLocks noChangeArrowheads="1"/>
          </p:cNvSpPr>
          <p:nvPr userDrawn="1"/>
        </p:nvSpPr>
        <p:spPr bwMode="auto">
          <a:xfrm>
            <a:off x="5608938"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2" name="Oval 82"/>
          <p:cNvSpPr>
            <a:spLocks noChangeArrowheads="1"/>
          </p:cNvSpPr>
          <p:nvPr userDrawn="1"/>
        </p:nvSpPr>
        <p:spPr bwMode="auto">
          <a:xfrm>
            <a:off x="5693962"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3" name="Oval 83"/>
          <p:cNvSpPr>
            <a:spLocks noChangeArrowheads="1"/>
          </p:cNvSpPr>
          <p:nvPr userDrawn="1"/>
        </p:nvSpPr>
        <p:spPr bwMode="auto">
          <a:xfrm>
            <a:off x="5778987" y="39333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4" name="Oval 84"/>
          <p:cNvSpPr>
            <a:spLocks noChangeArrowheads="1"/>
          </p:cNvSpPr>
          <p:nvPr userDrawn="1"/>
        </p:nvSpPr>
        <p:spPr bwMode="auto">
          <a:xfrm>
            <a:off x="5866549"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5" name="Oval 85"/>
          <p:cNvSpPr>
            <a:spLocks noChangeArrowheads="1"/>
          </p:cNvSpPr>
          <p:nvPr userDrawn="1"/>
        </p:nvSpPr>
        <p:spPr bwMode="auto">
          <a:xfrm>
            <a:off x="5951574" y="39333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6" name="Oval 86"/>
          <p:cNvSpPr>
            <a:spLocks noChangeArrowheads="1"/>
          </p:cNvSpPr>
          <p:nvPr userDrawn="1"/>
        </p:nvSpPr>
        <p:spPr bwMode="auto">
          <a:xfrm>
            <a:off x="6036598" y="39333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7" name="Oval 87"/>
          <p:cNvSpPr>
            <a:spLocks noChangeArrowheads="1"/>
          </p:cNvSpPr>
          <p:nvPr userDrawn="1"/>
        </p:nvSpPr>
        <p:spPr bwMode="auto">
          <a:xfrm>
            <a:off x="6122892"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8" name="Oval 88"/>
          <p:cNvSpPr>
            <a:spLocks noChangeArrowheads="1"/>
          </p:cNvSpPr>
          <p:nvPr userDrawn="1"/>
        </p:nvSpPr>
        <p:spPr bwMode="auto">
          <a:xfrm>
            <a:off x="6207916"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89" name="Oval 89"/>
          <p:cNvSpPr>
            <a:spLocks noChangeArrowheads="1"/>
          </p:cNvSpPr>
          <p:nvPr userDrawn="1"/>
        </p:nvSpPr>
        <p:spPr bwMode="auto">
          <a:xfrm>
            <a:off x="6292940" y="39333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0" name="Oval 90"/>
          <p:cNvSpPr>
            <a:spLocks noChangeArrowheads="1"/>
          </p:cNvSpPr>
          <p:nvPr userDrawn="1"/>
        </p:nvSpPr>
        <p:spPr bwMode="auto">
          <a:xfrm>
            <a:off x="6380503"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1" name="Oval 91"/>
          <p:cNvSpPr>
            <a:spLocks noChangeArrowheads="1"/>
          </p:cNvSpPr>
          <p:nvPr userDrawn="1"/>
        </p:nvSpPr>
        <p:spPr bwMode="auto">
          <a:xfrm>
            <a:off x="6465527" y="39333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2" name="Oval 100"/>
          <p:cNvSpPr>
            <a:spLocks noChangeArrowheads="1"/>
          </p:cNvSpPr>
          <p:nvPr userDrawn="1"/>
        </p:nvSpPr>
        <p:spPr bwMode="auto">
          <a:xfrm>
            <a:off x="5608938"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3" name="Oval 101"/>
          <p:cNvSpPr>
            <a:spLocks noChangeArrowheads="1"/>
          </p:cNvSpPr>
          <p:nvPr userDrawn="1"/>
        </p:nvSpPr>
        <p:spPr bwMode="auto">
          <a:xfrm>
            <a:off x="5693962"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4" name="Oval 102"/>
          <p:cNvSpPr>
            <a:spLocks noChangeArrowheads="1"/>
          </p:cNvSpPr>
          <p:nvPr userDrawn="1"/>
        </p:nvSpPr>
        <p:spPr bwMode="auto">
          <a:xfrm>
            <a:off x="5778987" y="401841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5" name="Oval 103"/>
          <p:cNvSpPr>
            <a:spLocks noChangeArrowheads="1"/>
          </p:cNvSpPr>
          <p:nvPr userDrawn="1"/>
        </p:nvSpPr>
        <p:spPr bwMode="auto">
          <a:xfrm>
            <a:off x="5866549"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6" name="Oval 104"/>
          <p:cNvSpPr>
            <a:spLocks noChangeArrowheads="1"/>
          </p:cNvSpPr>
          <p:nvPr userDrawn="1"/>
        </p:nvSpPr>
        <p:spPr bwMode="auto">
          <a:xfrm>
            <a:off x="5951574" y="401841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7" name="Oval 105"/>
          <p:cNvSpPr>
            <a:spLocks noChangeArrowheads="1"/>
          </p:cNvSpPr>
          <p:nvPr userDrawn="1"/>
        </p:nvSpPr>
        <p:spPr bwMode="auto">
          <a:xfrm>
            <a:off x="6036598" y="401841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8" name="Oval 106"/>
          <p:cNvSpPr>
            <a:spLocks noChangeArrowheads="1"/>
          </p:cNvSpPr>
          <p:nvPr userDrawn="1"/>
        </p:nvSpPr>
        <p:spPr bwMode="auto">
          <a:xfrm>
            <a:off x="6122892"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299" name="Oval 107"/>
          <p:cNvSpPr>
            <a:spLocks noChangeArrowheads="1"/>
          </p:cNvSpPr>
          <p:nvPr userDrawn="1"/>
        </p:nvSpPr>
        <p:spPr bwMode="auto">
          <a:xfrm>
            <a:off x="6207916"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0" name="Oval 108"/>
          <p:cNvSpPr>
            <a:spLocks noChangeArrowheads="1"/>
          </p:cNvSpPr>
          <p:nvPr userDrawn="1"/>
        </p:nvSpPr>
        <p:spPr bwMode="auto">
          <a:xfrm>
            <a:off x="6292940" y="401841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1" name="Oval 109"/>
          <p:cNvSpPr>
            <a:spLocks noChangeArrowheads="1"/>
          </p:cNvSpPr>
          <p:nvPr userDrawn="1"/>
        </p:nvSpPr>
        <p:spPr bwMode="auto">
          <a:xfrm>
            <a:off x="6380503"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2" name="Oval 110"/>
          <p:cNvSpPr>
            <a:spLocks noChangeArrowheads="1"/>
          </p:cNvSpPr>
          <p:nvPr userDrawn="1"/>
        </p:nvSpPr>
        <p:spPr bwMode="auto">
          <a:xfrm>
            <a:off x="6465527" y="401841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3" name="Oval 120"/>
          <p:cNvSpPr>
            <a:spLocks noChangeArrowheads="1"/>
          </p:cNvSpPr>
          <p:nvPr userDrawn="1"/>
        </p:nvSpPr>
        <p:spPr bwMode="auto">
          <a:xfrm>
            <a:off x="5608938"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4" name="Oval 121"/>
          <p:cNvSpPr>
            <a:spLocks noChangeArrowheads="1"/>
          </p:cNvSpPr>
          <p:nvPr userDrawn="1"/>
        </p:nvSpPr>
        <p:spPr bwMode="auto">
          <a:xfrm>
            <a:off x="5693962"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5" name="Oval 122"/>
          <p:cNvSpPr>
            <a:spLocks noChangeArrowheads="1"/>
          </p:cNvSpPr>
          <p:nvPr userDrawn="1"/>
        </p:nvSpPr>
        <p:spPr bwMode="auto">
          <a:xfrm>
            <a:off x="5778987" y="41059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6" name="Oval 123"/>
          <p:cNvSpPr>
            <a:spLocks noChangeArrowheads="1"/>
          </p:cNvSpPr>
          <p:nvPr userDrawn="1"/>
        </p:nvSpPr>
        <p:spPr bwMode="auto">
          <a:xfrm>
            <a:off x="5866549"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7" name="Oval 124"/>
          <p:cNvSpPr>
            <a:spLocks noChangeArrowheads="1"/>
          </p:cNvSpPr>
          <p:nvPr userDrawn="1"/>
        </p:nvSpPr>
        <p:spPr bwMode="auto">
          <a:xfrm>
            <a:off x="5951574" y="41059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8" name="Oval 125"/>
          <p:cNvSpPr>
            <a:spLocks noChangeArrowheads="1"/>
          </p:cNvSpPr>
          <p:nvPr userDrawn="1"/>
        </p:nvSpPr>
        <p:spPr bwMode="auto">
          <a:xfrm>
            <a:off x="6036598" y="41059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09" name="Oval 126"/>
          <p:cNvSpPr>
            <a:spLocks noChangeArrowheads="1"/>
          </p:cNvSpPr>
          <p:nvPr userDrawn="1"/>
        </p:nvSpPr>
        <p:spPr bwMode="auto">
          <a:xfrm>
            <a:off x="6122892"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0" name="Oval 127"/>
          <p:cNvSpPr>
            <a:spLocks noChangeArrowheads="1"/>
          </p:cNvSpPr>
          <p:nvPr userDrawn="1"/>
        </p:nvSpPr>
        <p:spPr bwMode="auto">
          <a:xfrm>
            <a:off x="6207916"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1" name="Oval 128"/>
          <p:cNvSpPr>
            <a:spLocks noChangeArrowheads="1"/>
          </p:cNvSpPr>
          <p:nvPr userDrawn="1"/>
        </p:nvSpPr>
        <p:spPr bwMode="auto">
          <a:xfrm>
            <a:off x="6292940" y="41059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2" name="Oval 129"/>
          <p:cNvSpPr>
            <a:spLocks noChangeArrowheads="1"/>
          </p:cNvSpPr>
          <p:nvPr userDrawn="1"/>
        </p:nvSpPr>
        <p:spPr bwMode="auto">
          <a:xfrm>
            <a:off x="6380503"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3" name="Oval 130"/>
          <p:cNvSpPr>
            <a:spLocks noChangeArrowheads="1"/>
          </p:cNvSpPr>
          <p:nvPr userDrawn="1"/>
        </p:nvSpPr>
        <p:spPr bwMode="auto">
          <a:xfrm>
            <a:off x="6465527" y="41059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4" name="Oval 57"/>
          <p:cNvSpPr>
            <a:spLocks noChangeArrowheads="1"/>
          </p:cNvSpPr>
          <p:nvPr userDrawn="1"/>
        </p:nvSpPr>
        <p:spPr bwMode="auto">
          <a:xfrm>
            <a:off x="6552908"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5" name="Oval 58"/>
          <p:cNvSpPr>
            <a:spLocks noChangeArrowheads="1"/>
          </p:cNvSpPr>
          <p:nvPr userDrawn="1"/>
        </p:nvSpPr>
        <p:spPr bwMode="auto">
          <a:xfrm>
            <a:off x="6722957" y="38438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6" name="Oval 59"/>
          <p:cNvSpPr>
            <a:spLocks noChangeArrowheads="1"/>
          </p:cNvSpPr>
          <p:nvPr userDrawn="1"/>
        </p:nvSpPr>
        <p:spPr bwMode="auto">
          <a:xfrm>
            <a:off x="6637932"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7" name="Oval 60"/>
          <p:cNvSpPr>
            <a:spLocks noChangeArrowheads="1"/>
          </p:cNvSpPr>
          <p:nvPr userDrawn="1"/>
        </p:nvSpPr>
        <p:spPr bwMode="auto">
          <a:xfrm>
            <a:off x="6810519"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8" name="Oval 61"/>
          <p:cNvSpPr>
            <a:spLocks noChangeArrowheads="1"/>
          </p:cNvSpPr>
          <p:nvPr userDrawn="1"/>
        </p:nvSpPr>
        <p:spPr bwMode="auto">
          <a:xfrm>
            <a:off x="6895544" y="384381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19" name="Oval 62"/>
          <p:cNvSpPr>
            <a:spLocks noChangeArrowheads="1"/>
          </p:cNvSpPr>
          <p:nvPr userDrawn="1"/>
        </p:nvSpPr>
        <p:spPr bwMode="auto">
          <a:xfrm>
            <a:off x="6980568" y="384381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0" name="Oval 63"/>
          <p:cNvSpPr>
            <a:spLocks noChangeArrowheads="1"/>
          </p:cNvSpPr>
          <p:nvPr userDrawn="1"/>
        </p:nvSpPr>
        <p:spPr bwMode="auto">
          <a:xfrm>
            <a:off x="7066862"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1" name="Oval 64"/>
          <p:cNvSpPr>
            <a:spLocks noChangeArrowheads="1"/>
          </p:cNvSpPr>
          <p:nvPr userDrawn="1"/>
        </p:nvSpPr>
        <p:spPr bwMode="auto">
          <a:xfrm>
            <a:off x="7151886"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2" name="Oval 65"/>
          <p:cNvSpPr>
            <a:spLocks noChangeArrowheads="1"/>
          </p:cNvSpPr>
          <p:nvPr userDrawn="1"/>
        </p:nvSpPr>
        <p:spPr bwMode="auto">
          <a:xfrm>
            <a:off x="7236910" y="384381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3" name="Oval 66"/>
          <p:cNvSpPr>
            <a:spLocks noChangeArrowheads="1"/>
          </p:cNvSpPr>
          <p:nvPr userDrawn="1"/>
        </p:nvSpPr>
        <p:spPr bwMode="auto">
          <a:xfrm>
            <a:off x="7324473"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4" name="Oval 67"/>
          <p:cNvSpPr>
            <a:spLocks noChangeArrowheads="1"/>
          </p:cNvSpPr>
          <p:nvPr userDrawn="1"/>
        </p:nvSpPr>
        <p:spPr bwMode="auto">
          <a:xfrm>
            <a:off x="7409497" y="384381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5" name="Oval 81"/>
          <p:cNvSpPr>
            <a:spLocks noChangeArrowheads="1"/>
          </p:cNvSpPr>
          <p:nvPr userDrawn="1"/>
        </p:nvSpPr>
        <p:spPr bwMode="auto">
          <a:xfrm>
            <a:off x="6552908"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6" name="Oval 82"/>
          <p:cNvSpPr>
            <a:spLocks noChangeArrowheads="1"/>
          </p:cNvSpPr>
          <p:nvPr userDrawn="1"/>
        </p:nvSpPr>
        <p:spPr bwMode="auto">
          <a:xfrm>
            <a:off x="6637932"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7" name="Oval 83"/>
          <p:cNvSpPr>
            <a:spLocks noChangeArrowheads="1"/>
          </p:cNvSpPr>
          <p:nvPr userDrawn="1"/>
        </p:nvSpPr>
        <p:spPr bwMode="auto">
          <a:xfrm>
            <a:off x="6722957" y="39288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8" name="Oval 84"/>
          <p:cNvSpPr>
            <a:spLocks noChangeArrowheads="1"/>
          </p:cNvSpPr>
          <p:nvPr userDrawn="1"/>
        </p:nvSpPr>
        <p:spPr bwMode="auto">
          <a:xfrm>
            <a:off x="6810519"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29" name="Oval 85"/>
          <p:cNvSpPr>
            <a:spLocks noChangeArrowheads="1"/>
          </p:cNvSpPr>
          <p:nvPr userDrawn="1"/>
        </p:nvSpPr>
        <p:spPr bwMode="auto">
          <a:xfrm>
            <a:off x="6895544" y="39288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0" name="Oval 86"/>
          <p:cNvSpPr>
            <a:spLocks noChangeArrowheads="1"/>
          </p:cNvSpPr>
          <p:nvPr userDrawn="1"/>
        </p:nvSpPr>
        <p:spPr bwMode="auto">
          <a:xfrm>
            <a:off x="6980568" y="39288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1" name="Oval 87"/>
          <p:cNvSpPr>
            <a:spLocks noChangeArrowheads="1"/>
          </p:cNvSpPr>
          <p:nvPr userDrawn="1"/>
        </p:nvSpPr>
        <p:spPr bwMode="auto">
          <a:xfrm>
            <a:off x="7066862"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2" name="Oval 88"/>
          <p:cNvSpPr>
            <a:spLocks noChangeArrowheads="1"/>
          </p:cNvSpPr>
          <p:nvPr userDrawn="1"/>
        </p:nvSpPr>
        <p:spPr bwMode="auto">
          <a:xfrm>
            <a:off x="7151886"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3" name="Oval 89"/>
          <p:cNvSpPr>
            <a:spLocks noChangeArrowheads="1"/>
          </p:cNvSpPr>
          <p:nvPr userDrawn="1"/>
        </p:nvSpPr>
        <p:spPr bwMode="auto">
          <a:xfrm>
            <a:off x="7236910" y="392884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4" name="Oval 90"/>
          <p:cNvSpPr>
            <a:spLocks noChangeArrowheads="1"/>
          </p:cNvSpPr>
          <p:nvPr userDrawn="1"/>
        </p:nvSpPr>
        <p:spPr bwMode="auto">
          <a:xfrm>
            <a:off x="7324473"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5" name="Oval 91"/>
          <p:cNvSpPr>
            <a:spLocks noChangeArrowheads="1"/>
          </p:cNvSpPr>
          <p:nvPr userDrawn="1"/>
        </p:nvSpPr>
        <p:spPr bwMode="auto">
          <a:xfrm>
            <a:off x="7409497" y="392884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6" name="Oval 100"/>
          <p:cNvSpPr>
            <a:spLocks noChangeArrowheads="1"/>
          </p:cNvSpPr>
          <p:nvPr userDrawn="1"/>
        </p:nvSpPr>
        <p:spPr bwMode="auto">
          <a:xfrm>
            <a:off x="6552908"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7" name="Oval 101"/>
          <p:cNvSpPr>
            <a:spLocks noChangeArrowheads="1"/>
          </p:cNvSpPr>
          <p:nvPr userDrawn="1"/>
        </p:nvSpPr>
        <p:spPr bwMode="auto">
          <a:xfrm>
            <a:off x="6637932"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8" name="Oval 102"/>
          <p:cNvSpPr>
            <a:spLocks noChangeArrowheads="1"/>
          </p:cNvSpPr>
          <p:nvPr userDrawn="1"/>
        </p:nvSpPr>
        <p:spPr bwMode="auto">
          <a:xfrm>
            <a:off x="6722957" y="401386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39" name="Oval 103"/>
          <p:cNvSpPr>
            <a:spLocks noChangeArrowheads="1"/>
          </p:cNvSpPr>
          <p:nvPr userDrawn="1"/>
        </p:nvSpPr>
        <p:spPr bwMode="auto">
          <a:xfrm>
            <a:off x="6810519"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0" name="Oval 104"/>
          <p:cNvSpPr>
            <a:spLocks noChangeArrowheads="1"/>
          </p:cNvSpPr>
          <p:nvPr userDrawn="1"/>
        </p:nvSpPr>
        <p:spPr bwMode="auto">
          <a:xfrm>
            <a:off x="6895544" y="401386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1" name="Oval 105"/>
          <p:cNvSpPr>
            <a:spLocks noChangeArrowheads="1"/>
          </p:cNvSpPr>
          <p:nvPr userDrawn="1"/>
        </p:nvSpPr>
        <p:spPr bwMode="auto">
          <a:xfrm>
            <a:off x="6980568" y="401386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2" name="Oval 106"/>
          <p:cNvSpPr>
            <a:spLocks noChangeArrowheads="1"/>
          </p:cNvSpPr>
          <p:nvPr userDrawn="1"/>
        </p:nvSpPr>
        <p:spPr bwMode="auto">
          <a:xfrm>
            <a:off x="7066862"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3" name="Oval 107"/>
          <p:cNvSpPr>
            <a:spLocks noChangeArrowheads="1"/>
          </p:cNvSpPr>
          <p:nvPr userDrawn="1"/>
        </p:nvSpPr>
        <p:spPr bwMode="auto">
          <a:xfrm>
            <a:off x="7151886"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4" name="Oval 108"/>
          <p:cNvSpPr>
            <a:spLocks noChangeArrowheads="1"/>
          </p:cNvSpPr>
          <p:nvPr userDrawn="1"/>
        </p:nvSpPr>
        <p:spPr bwMode="auto">
          <a:xfrm>
            <a:off x="7236910" y="401386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5" name="Oval 109"/>
          <p:cNvSpPr>
            <a:spLocks noChangeArrowheads="1"/>
          </p:cNvSpPr>
          <p:nvPr userDrawn="1"/>
        </p:nvSpPr>
        <p:spPr bwMode="auto">
          <a:xfrm>
            <a:off x="7324473"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6" name="Oval 110"/>
          <p:cNvSpPr>
            <a:spLocks noChangeArrowheads="1"/>
          </p:cNvSpPr>
          <p:nvPr userDrawn="1"/>
        </p:nvSpPr>
        <p:spPr bwMode="auto">
          <a:xfrm>
            <a:off x="7409497" y="401386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7" name="Oval 120"/>
          <p:cNvSpPr>
            <a:spLocks noChangeArrowheads="1"/>
          </p:cNvSpPr>
          <p:nvPr userDrawn="1"/>
        </p:nvSpPr>
        <p:spPr bwMode="auto">
          <a:xfrm>
            <a:off x="6552908"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8" name="Oval 121"/>
          <p:cNvSpPr>
            <a:spLocks noChangeArrowheads="1"/>
          </p:cNvSpPr>
          <p:nvPr userDrawn="1"/>
        </p:nvSpPr>
        <p:spPr bwMode="auto">
          <a:xfrm>
            <a:off x="6637932"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49" name="Oval 122"/>
          <p:cNvSpPr>
            <a:spLocks noChangeArrowheads="1"/>
          </p:cNvSpPr>
          <p:nvPr userDrawn="1"/>
        </p:nvSpPr>
        <p:spPr bwMode="auto">
          <a:xfrm>
            <a:off x="6722957" y="410142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0" name="Oval 123"/>
          <p:cNvSpPr>
            <a:spLocks noChangeArrowheads="1"/>
          </p:cNvSpPr>
          <p:nvPr userDrawn="1"/>
        </p:nvSpPr>
        <p:spPr bwMode="auto">
          <a:xfrm>
            <a:off x="6810519"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1" name="Oval 124"/>
          <p:cNvSpPr>
            <a:spLocks noChangeArrowheads="1"/>
          </p:cNvSpPr>
          <p:nvPr userDrawn="1"/>
        </p:nvSpPr>
        <p:spPr bwMode="auto">
          <a:xfrm>
            <a:off x="6895544" y="41014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2" name="Oval 125"/>
          <p:cNvSpPr>
            <a:spLocks noChangeArrowheads="1"/>
          </p:cNvSpPr>
          <p:nvPr userDrawn="1"/>
        </p:nvSpPr>
        <p:spPr bwMode="auto">
          <a:xfrm>
            <a:off x="6980568" y="410142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3" name="Oval 126"/>
          <p:cNvSpPr>
            <a:spLocks noChangeArrowheads="1"/>
          </p:cNvSpPr>
          <p:nvPr userDrawn="1"/>
        </p:nvSpPr>
        <p:spPr bwMode="auto">
          <a:xfrm>
            <a:off x="7066862"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4" name="Oval 127"/>
          <p:cNvSpPr>
            <a:spLocks noChangeArrowheads="1"/>
          </p:cNvSpPr>
          <p:nvPr userDrawn="1"/>
        </p:nvSpPr>
        <p:spPr bwMode="auto">
          <a:xfrm>
            <a:off x="7151886"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5" name="Oval 128"/>
          <p:cNvSpPr>
            <a:spLocks noChangeArrowheads="1"/>
          </p:cNvSpPr>
          <p:nvPr userDrawn="1"/>
        </p:nvSpPr>
        <p:spPr bwMode="auto">
          <a:xfrm>
            <a:off x="7236910" y="410142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6" name="Oval 129"/>
          <p:cNvSpPr>
            <a:spLocks noChangeArrowheads="1"/>
          </p:cNvSpPr>
          <p:nvPr userDrawn="1"/>
        </p:nvSpPr>
        <p:spPr bwMode="auto">
          <a:xfrm>
            <a:off x="7324473"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7" name="Oval 130"/>
          <p:cNvSpPr>
            <a:spLocks noChangeArrowheads="1"/>
          </p:cNvSpPr>
          <p:nvPr userDrawn="1"/>
        </p:nvSpPr>
        <p:spPr bwMode="auto">
          <a:xfrm>
            <a:off x="7409497" y="410142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8" name="Oval 57"/>
          <p:cNvSpPr>
            <a:spLocks noChangeArrowheads="1"/>
          </p:cNvSpPr>
          <p:nvPr userDrawn="1"/>
        </p:nvSpPr>
        <p:spPr bwMode="auto">
          <a:xfrm>
            <a:off x="7496878"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59" name="Oval 58"/>
          <p:cNvSpPr>
            <a:spLocks noChangeArrowheads="1"/>
          </p:cNvSpPr>
          <p:nvPr userDrawn="1"/>
        </p:nvSpPr>
        <p:spPr bwMode="auto">
          <a:xfrm>
            <a:off x="7666927" y="38392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0" name="Oval 59"/>
          <p:cNvSpPr>
            <a:spLocks noChangeArrowheads="1"/>
          </p:cNvSpPr>
          <p:nvPr userDrawn="1"/>
        </p:nvSpPr>
        <p:spPr bwMode="auto">
          <a:xfrm>
            <a:off x="7581902"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1" name="Oval 60"/>
          <p:cNvSpPr>
            <a:spLocks noChangeArrowheads="1"/>
          </p:cNvSpPr>
          <p:nvPr userDrawn="1"/>
        </p:nvSpPr>
        <p:spPr bwMode="auto">
          <a:xfrm>
            <a:off x="7754489"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2" name="Oval 61"/>
          <p:cNvSpPr>
            <a:spLocks noChangeArrowheads="1"/>
          </p:cNvSpPr>
          <p:nvPr userDrawn="1"/>
        </p:nvSpPr>
        <p:spPr bwMode="auto">
          <a:xfrm>
            <a:off x="7839514" y="38392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3" name="Oval 62"/>
          <p:cNvSpPr>
            <a:spLocks noChangeArrowheads="1"/>
          </p:cNvSpPr>
          <p:nvPr userDrawn="1"/>
        </p:nvSpPr>
        <p:spPr bwMode="auto">
          <a:xfrm>
            <a:off x="7924538" y="38392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4" name="Oval 63"/>
          <p:cNvSpPr>
            <a:spLocks noChangeArrowheads="1"/>
          </p:cNvSpPr>
          <p:nvPr userDrawn="1"/>
        </p:nvSpPr>
        <p:spPr bwMode="auto">
          <a:xfrm>
            <a:off x="8010832"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5" name="Oval 64"/>
          <p:cNvSpPr>
            <a:spLocks noChangeArrowheads="1"/>
          </p:cNvSpPr>
          <p:nvPr userDrawn="1"/>
        </p:nvSpPr>
        <p:spPr bwMode="auto">
          <a:xfrm>
            <a:off x="8095856"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6" name="Oval 65"/>
          <p:cNvSpPr>
            <a:spLocks noChangeArrowheads="1"/>
          </p:cNvSpPr>
          <p:nvPr userDrawn="1"/>
        </p:nvSpPr>
        <p:spPr bwMode="auto">
          <a:xfrm>
            <a:off x="8180880" y="383926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7" name="Oval 66"/>
          <p:cNvSpPr>
            <a:spLocks noChangeArrowheads="1"/>
          </p:cNvSpPr>
          <p:nvPr userDrawn="1"/>
        </p:nvSpPr>
        <p:spPr bwMode="auto">
          <a:xfrm>
            <a:off x="8268443"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8" name="Oval 67"/>
          <p:cNvSpPr>
            <a:spLocks noChangeArrowheads="1"/>
          </p:cNvSpPr>
          <p:nvPr userDrawn="1"/>
        </p:nvSpPr>
        <p:spPr bwMode="auto">
          <a:xfrm>
            <a:off x="8353467" y="38392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69" name="Oval 81"/>
          <p:cNvSpPr>
            <a:spLocks noChangeArrowheads="1"/>
          </p:cNvSpPr>
          <p:nvPr userDrawn="1"/>
        </p:nvSpPr>
        <p:spPr bwMode="auto">
          <a:xfrm>
            <a:off x="7496878"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0" name="Oval 82"/>
          <p:cNvSpPr>
            <a:spLocks noChangeArrowheads="1"/>
          </p:cNvSpPr>
          <p:nvPr userDrawn="1"/>
        </p:nvSpPr>
        <p:spPr bwMode="auto">
          <a:xfrm>
            <a:off x="7581902"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1" name="Oval 83"/>
          <p:cNvSpPr>
            <a:spLocks noChangeArrowheads="1"/>
          </p:cNvSpPr>
          <p:nvPr userDrawn="1"/>
        </p:nvSpPr>
        <p:spPr bwMode="auto">
          <a:xfrm>
            <a:off x="7666927" y="39242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2" name="Oval 84"/>
          <p:cNvSpPr>
            <a:spLocks noChangeArrowheads="1"/>
          </p:cNvSpPr>
          <p:nvPr userDrawn="1"/>
        </p:nvSpPr>
        <p:spPr bwMode="auto">
          <a:xfrm>
            <a:off x="7754489"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3" name="Oval 85"/>
          <p:cNvSpPr>
            <a:spLocks noChangeArrowheads="1"/>
          </p:cNvSpPr>
          <p:nvPr userDrawn="1"/>
        </p:nvSpPr>
        <p:spPr bwMode="auto">
          <a:xfrm>
            <a:off x="7839514" y="39242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4" name="Oval 86"/>
          <p:cNvSpPr>
            <a:spLocks noChangeArrowheads="1"/>
          </p:cNvSpPr>
          <p:nvPr userDrawn="1"/>
        </p:nvSpPr>
        <p:spPr bwMode="auto">
          <a:xfrm>
            <a:off x="7924538" y="39242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5" name="Oval 87"/>
          <p:cNvSpPr>
            <a:spLocks noChangeArrowheads="1"/>
          </p:cNvSpPr>
          <p:nvPr userDrawn="1"/>
        </p:nvSpPr>
        <p:spPr bwMode="auto">
          <a:xfrm>
            <a:off x="8010832" y="39242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6" name="Oval 88"/>
          <p:cNvSpPr>
            <a:spLocks noChangeArrowheads="1"/>
          </p:cNvSpPr>
          <p:nvPr userDrawn="1"/>
        </p:nvSpPr>
        <p:spPr bwMode="auto">
          <a:xfrm>
            <a:off x="8095856" y="39242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7" name="Oval 89"/>
          <p:cNvSpPr>
            <a:spLocks noChangeArrowheads="1"/>
          </p:cNvSpPr>
          <p:nvPr userDrawn="1"/>
        </p:nvSpPr>
        <p:spPr bwMode="auto">
          <a:xfrm>
            <a:off x="8180880" y="392429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8" name="Oval 100"/>
          <p:cNvSpPr>
            <a:spLocks noChangeArrowheads="1"/>
          </p:cNvSpPr>
          <p:nvPr userDrawn="1"/>
        </p:nvSpPr>
        <p:spPr bwMode="auto">
          <a:xfrm>
            <a:off x="7496878"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79" name="Oval 101"/>
          <p:cNvSpPr>
            <a:spLocks noChangeArrowheads="1"/>
          </p:cNvSpPr>
          <p:nvPr userDrawn="1"/>
        </p:nvSpPr>
        <p:spPr bwMode="auto">
          <a:xfrm>
            <a:off x="7581902"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0" name="Oval 102"/>
          <p:cNvSpPr>
            <a:spLocks noChangeArrowheads="1"/>
          </p:cNvSpPr>
          <p:nvPr userDrawn="1"/>
        </p:nvSpPr>
        <p:spPr bwMode="auto">
          <a:xfrm>
            <a:off x="7666927" y="40093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1" name="Oval 103"/>
          <p:cNvSpPr>
            <a:spLocks noChangeArrowheads="1"/>
          </p:cNvSpPr>
          <p:nvPr userDrawn="1"/>
        </p:nvSpPr>
        <p:spPr bwMode="auto">
          <a:xfrm>
            <a:off x="7754489"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2" name="Oval 104"/>
          <p:cNvSpPr>
            <a:spLocks noChangeArrowheads="1"/>
          </p:cNvSpPr>
          <p:nvPr userDrawn="1"/>
        </p:nvSpPr>
        <p:spPr bwMode="auto">
          <a:xfrm>
            <a:off x="7839514" y="40093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3" name="Oval 105"/>
          <p:cNvSpPr>
            <a:spLocks noChangeArrowheads="1"/>
          </p:cNvSpPr>
          <p:nvPr userDrawn="1"/>
        </p:nvSpPr>
        <p:spPr bwMode="auto">
          <a:xfrm>
            <a:off x="7924538" y="40093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4" name="Oval 106"/>
          <p:cNvSpPr>
            <a:spLocks noChangeArrowheads="1"/>
          </p:cNvSpPr>
          <p:nvPr userDrawn="1"/>
        </p:nvSpPr>
        <p:spPr bwMode="auto">
          <a:xfrm>
            <a:off x="8010832" y="40093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5" name="Oval 107"/>
          <p:cNvSpPr>
            <a:spLocks noChangeArrowheads="1"/>
          </p:cNvSpPr>
          <p:nvPr userDrawn="1"/>
        </p:nvSpPr>
        <p:spPr bwMode="auto">
          <a:xfrm>
            <a:off x="8095856" y="40093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6" name="Oval 108"/>
          <p:cNvSpPr>
            <a:spLocks noChangeArrowheads="1"/>
          </p:cNvSpPr>
          <p:nvPr userDrawn="1"/>
        </p:nvSpPr>
        <p:spPr bwMode="auto">
          <a:xfrm>
            <a:off x="8180880" y="400931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7" name="Oval 120"/>
          <p:cNvSpPr>
            <a:spLocks noChangeArrowheads="1"/>
          </p:cNvSpPr>
          <p:nvPr userDrawn="1"/>
        </p:nvSpPr>
        <p:spPr bwMode="auto">
          <a:xfrm>
            <a:off x="7496878"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8" name="Oval 121"/>
          <p:cNvSpPr>
            <a:spLocks noChangeArrowheads="1"/>
          </p:cNvSpPr>
          <p:nvPr userDrawn="1"/>
        </p:nvSpPr>
        <p:spPr bwMode="auto">
          <a:xfrm>
            <a:off x="7581902"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89" name="Oval 122"/>
          <p:cNvSpPr>
            <a:spLocks noChangeArrowheads="1"/>
          </p:cNvSpPr>
          <p:nvPr userDrawn="1"/>
        </p:nvSpPr>
        <p:spPr bwMode="auto">
          <a:xfrm>
            <a:off x="7666927" y="409687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0" name="Oval 123"/>
          <p:cNvSpPr>
            <a:spLocks noChangeArrowheads="1"/>
          </p:cNvSpPr>
          <p:nvPr userDrawn="1"/>
        </p:nvSpPr>
        <p:spPr bwMode="auto">
          <a:xfrm>
            <a:off x="7754489"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1" name="Oval 124"/>
          <p:cNvSpPr>
            <a:spLocks noChangeArrowheads="1"/>
          </p:cNvSpPr>
          <p:nvPr userDrawn="1"/>
        </p:nvSpPr>
        <p:spPr bwMode="auto">
          <a:xfrm>
            <a:off x="7839514" y="409687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2" name="Oval 125"/>
          <p:cNvSpPr>
            <a:spLocks noChangeArrowheads="1"/>
          </p:cNvSpPr>
          <p:nvPr userDrawn="1"/>
        </p:nvSpPr>
        <p:spPr bwMode="auto">
          <a:xfrm>
            <a:off x="7924538" y="409687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3" name="Oval 126"/>
          <p:cNvSpPr>
            <a:spLocks noChangeArrowheads="1"/>
          </p:cNvSpPr>
          <p:nvPr userDrawn="1"/>
        </p:nvSpPr>
        <p:spPr bwMode="auto">
          <a:xfrm>
            <a:off x="8010832"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4" name="Oval 127"/>
          <p:cNvSpPr>
            <a:spLocks noChangeArrowheads="1"/>
          </p:cNvSpPr>
          <p:nvPr userDrawn="1"/>
        </p:nvSpPr>
        <p:spPr bwMode="auto">
          <a:xfrm>
            <a:off x="8095856"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5" name="Oval 128"/>
          <p:cNvSpPr>
            <a:spLocks noChangeArrowheads="1"/>
          </p:cNvSpPr>
          <p:nvPr userDrawn="1"/>
        </p:nvSpPr>
        <p:spPr bwMode="auto">
          <a:xfrm>
            <a:off x="8180880" y="409687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6" name="Oval 129"/>
          <p:cNvSpPr>
            <a:spLocks noChangeArrowheads="1"/>
          </p:cNvSpPr>
          <p:nvPr userDrawn="1"/>
        </p:nvSpPr>
        <p:spPr bwMode="auto">
          <a:xfrm>
            <a:off x="8268443"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7" name="Oval 130"/>
          <p:cNvSpPr>
            <a:spLocks noChangeArrowheads="1"/>
          </p:cNvSpPr>
          <p:nvPr userDrawn="1"/>
        </p:nvSpPr>
        <p:spPr bwMode="auto">
          <a:xfrm>
            <a:off x="8353467" y="409687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8" name="Oval 59"/>
          <p:cNvSpPr>
            <a:spLocks noChangeArrowheads="1"/>
          </p:cNvSpPr>
          <p:nvPr userDrawn="1"/>
        </p:nvSpPr>
        <p:spPr bwMode="auto">
          <a:xfrm>
            <a:off x="8525872" y="383471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399" name="Oval 120"/>
          <p:cNvSpPr>
            <a:spLocks noChangeArrowheads="1"/>
          </p:cNvSpPr>
          <p:nvPr userDrawn="1"/>
        </p:nvSpPr>
        <p:spPr bwMode="auto">
          <a:xfrm>
            <a:off x="8440848" y="409232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0" name="Oval 121"/>
          <p:cNvSpPr>
            <a:spLocks noChangeArrowheads="1"/>
          </p:cNvSpPr>
          <p:nvPr userDrawn="1"/>
        </p:nvSpPr>
        <p:spPr bwMode="auto">
          <a:xfrm>
            <a:off x="8525872" y="409232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1" name="Oval 122"/>
          <p:cNvSpPr>
            <a:spLocks noChangeArrowheads="1"/>
          </p:cNvSpPr>
          <p:nvPr userDrawn="1"/>
        </p:nvSpPr>
        <p:spPr bwMode="auto">
          <a:xfrm>
            <a:off x="8610897" y="409232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2" name="Oval 60"/>
          <p:cNvSpPr>
            <a:spLocks noChangeArrowheads="1"/>
          </p:cNvSpPr>
          <p:nvPr userDrawn="1"/>
        </p:nvSpPr>
        <p:spPr bwMode="auto">
          <a:xfrm>
            <a:off x="4922579" y="42009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3" name="Oval 61"/>
          <p:cNvSpPr>
            <a:spLocks noChangeArrowheads="1"/>
          </p:cNvSpPr>
          <p:nvPr userDrawn="1"/>
        </p:nvSpPr>
        <p:spPr bwMode="auto">
          <a:xfrm>
            <a:off x="5007604" y="42009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4" name="Oval 62"/>
          <p:cNvSpPr>
            <a:spLocks noChangeArrowheads="1"/>
          </p:cNvSpPr>
          <p:nvPr userDrawn="1"/>
        </p:nvSpPr>
        <p:spPr bwMode="auto">
          <a:xfrm>
            <a:off x="5092628" y="42009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5" name="Oval 63"/>
          <p:cNvSpPr>
            <a:spLocks noChangeArrowheads="1"/>
          </p:cNvSpPr>
          <p:nvPr userDrawn="1"/>
        </p:nvSpPr>
        <p:spPr bwMode="auto">
          <a:xfrm>
            <a:off x="5178922"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6" name="Oval 64"/>
          <p:cNvSpPr>
            <a:spLocks noChangeArrowheads="1"/>
          </p:cNvSpPr>
          <p:nvPr userDrawn="1"/>
        </p:nvSpPr>
        <p:spPr bwMode="auto">
          <a:xfrm>
            <a:off x="5263946"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7" name="Oval 65"/>
          <p:cNvSpPr>
            <a:spLocks noChangeArrowheads="1"/>
          </p:cNvSpPr>
          <p:nvPr userDrawn="1"/>
        </p:nvSpPr>
        <p:spPr bwMode="auto">
          <a:xfrm>
            <a:off x="5348970" y="420093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8" name="Oval 66"/>
          <p:cNvSpPr>
            <a:spLocks noChangeArrowheads="1"/>
          </p:cNvSpPr>
          <p:nvPr userDrawn="1"/>
        </p:nvSpPr>
        <p:spPr bwMode="auto">
          <a:xfrm>
            <a:off x="5436533"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09" name="Oval 67"/>
          <p:cNvSpPr>
            <a:spLocks noChangeArrowheads="1"/>
          </p:cNvSpPr>
          <p:nvPr userDrawn="1"/>
        </p:nvSpPr>
        <p:spPr bwMode="auto">
          <a:xfrm>
            <a:off x="5521557" y="42009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0" name="Oval 84"/>
          <p:cNvSpPr>
            <a:spLocks noChangeArrowheads="1"/>
          </p:cNvSpPr>
          <p:nvPr userDrawn="1"/>
        </p:nvSpPr>
        <p:spPr bwMode="auto">
          <a:xfrm>
            <a:off x="4922579" y="42859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1" name="Oval 85"/>
          <p:cNvSpPr>
            <a:spLocks noChangeArrowheads="1"/>
          </p:cNvSpPr>
          <p:nvPr userDrawn="1"/>
        </p:nvSpPr>
        <p:spPr bwMode="auto">
          <a:xfrm>
            <a:off x="5007604" y="42859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2" name="Oval 86"/>
          <p:cNvSpPr>
            <a:spLocks noChangeArrowheads="1"/>
          </p:cNvSpPr>
          <p:nvPr userDrawn="1"/>
        </p:nvSpPr>
        <p:spPr bwMode="auto">
          <a:xfrm>
            <a:off x="5092628" y="42859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3" name="Oval 87"/>
          <p:cNvSpPr>
            <a:spLocks noChangeArrowheads="1"/>
          </p:cNvSpPr>
          <p:nvPr userDrawn="1"/>
        </p:nvSpPr>
        <p:spPr bwMode="auto">
          <a:xfrm>
            <a:off x="5178922"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4" name="Oval 88"/>
          <p:cNvSpPr>
            <a:spLocks noChangeArrowheads="1"/>
          </p:cNvSpPr>
          <p:nvPr userDrawn="1"/>
        </p:nvSpPr>
        <p:spPr bwMode="auto">
          <a:xfrm>
            <a:off x="5263946"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5" name="Oval 89"/>
          <p:cNvSpPr>
            <a:spLocks noChangeArrowheads="1"/>
          </p:cNvSpPr>
          <p:nvPr userDrawn="1"/>
        </p:nvSpPr>
        <p:spPr bwMode="auto">
          <a:xfrm>
            <a:off x="5348970" y="428595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6" name="Oval 90"/>
          <p:cNvSpPr>
            <a:spLocks noChangeArrowheads="1"/>
          </p:cNvSpPr>
          <p:nvPr userDrawn="1"/>
        </p:nvSpPr>
        <p:spPr bwMode="auto">
          <a:xfrm>
            <a:off x="5436533"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7" name="Oval 91"/>
          <p:cNvSpPr>
            <a:spLocks noChangeArrowheads="1"/>
          </p:cNvSpPr>
          <p:nvPr userDrawn="1"/>
        </p:nvSpPr>
        <p:spPr bwMode="auto">
          <a:xfrm>
            <a:off x="5521557" y="42859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8" name="Oval 103"/>
          <p:cNvSpPr>
            <a:spLocks noChangeArrowheads="1"/>
          </p:cNvSpPr>
          <p:nvPr userDrawn="1"/>
        </p:nvSpPr>
        <p:spPr bwMode="auto">
          <a:xfrm>
            <a:off x="4922579" y="43709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19" name="Oval 104"/>
          <p:cNvSpPr>
            <a:spLocks noChangeArrowheads="1"/>
          </p:cNvSpPr>
          <p:nvPr userDrawn="1"/>
        </p:nvSpPr>
        <p:spPr bwMode="auto">
          <a:xfrm>
            <a:off x="5007604" y="43709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0" name="Oval 105"/>
          <p:cNvSpPr>
            <a:spLocks noChangeArrowheads="1"/>
          </p:cNvSpPr>
          <p:nvPr userDrawn="1"/>
        </p:nvSpPr>
        <p:spPr bwMode="auto">
          <a:xfrm>
            <a:off x="5092628" y="437098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1" name="Oval 106"/>
          <p:cNvSpPr>
            <a:spLocks noChangeArrowheads="1"/>
          </p:cNvSpPr>
          <p:nvPr userDrawn="1"/>
        </p:nvSpPr>
        <p:spPr bwMode="auto">
          <a:xfrm>
            <a:off x="5178922"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2" name="Oval 107"/>
          <p:cNvSpPr>
            <a:spLocks noChangeArrowheads="1"/>
          </p:cNvSpPr>
          <p:nvPr userDrawn="1"/>
        </p:nvSpPr>
        <p:spPr bwMode="auto">
          <a:xfrm>
            <a:off x="5263946"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3" name="Oval 108"/>
          <p:cNvSpPr>
            <a:spLocks noChangeArrowheads="1"/>
          </p:cNvSpPr>
          <p:nvPr userDrawn="1"/>
        </p:nvSpPr>
        <p:spPr bwMode="auto">
          <a:xfrm>
            <a:off x="5348970" y="437098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4" name="Oval 109"/>
          <p:cNvSpPr>
            <a:spLocks noChangeArrowheads="1"/>
          </p:cNvSpPr>
          <p:nvPr userDrawn="1"/>
        </p:nvSpPr>
        <p:spPr bwMode="auto">
          <a:xfrm>
            <a:off x="5436533"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5" name="Oval 110"/>
          <p:cNvSpPr>
            <a:spLocks noChangeArrowheads="1"/>
          </p:cNvSpPr>
          <p:nvPr userDrawn="1"/>
        </p:nvSpPr>
        <p:spPr bwMode="auto">
          <a:xfrm>
            <a:off x="5521557" y="43709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6" name="Oval 122"/>
          <p:cNvSpPr>
            <a:spLocks noChangeArrowheads="1"/>
          </p:cNvSpPr>
          <p:nvPr userDrawn="1"/>
        </p:nvSpPr>
        <p:spPr bwMode="auto">
          <a:xfrm>
            <a:off x="4835017" y="44585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7" name="Oval 123"/>
          <p:cNvSpPr>
            <a:spLocks noChangeArrowheads="1"/>
          </p:cNvSpPr>
          <p:nvPr userDrawn="1"/>
        </p:nvSpPr>
        <p:spPr bwMode="auto">
          <a:xfrm>
            <a:off x="4922579" y="44585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8" name="Oval 124"/>
          <p:cNvSpPr>
            <a:spLocks noChangeArrowheads="1"/>
          </p:cNvSpPr>
          <p:nvPr userDrawn="1"/>
        </p:nvSpPr>
        <p:spPr bwMode="auto">
          <a:xfrm>
            <a:off x="5007604" y="445854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29" name="Oval 125"/>
          <p:cNvSpPr>
            <a:spLocks noChangeArrowheads="1"/>
          </p:cNvSpPr>
          <p:nvPr userDrawn="1"/>
        </p:nvSpPr>
        <p:spPr bwMode="auto">
          <a:xfrm>
            <a:off x="5092628" y="445854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0" name="Oval 126"/>
          <p:cNvSpPr>
            <a:spLocks noChangeArrowheads="1"/>
          </p:cNvSpPr>
          <p:nvPr userDrawn="1"/>
        </p:nvSpPr>
        <p:spPr bwMode="auto">
          <a:xfrm>
            <a:off x="5178922"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1" name="Oval 127"/>
          <p:cNvSpPr>
            <a:spLocks noChangeArrowheads="1"/>
          </p:cNvSpPr>
          <p:nvPr userDrawn="1"/>
        </p:nvSpPr>
        <p:spPr bwMode="auto">
          <a:xfrm>
            <a:off x="5263946"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2" name="Oval 128"/>
          <p:cNvSpPr>
            <a:spLocks noChangeArrowheads="1"/>
          </p:cNvSpPr>
          <p:nvPr userDrawn="1"/>
        </p:nvSpPr>
        <p:spPr bwMode="auto">
          <a:xfrm>
            <a:off x="5348970" y="445854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3" name="Oval 129"/>
          <p:cNvSpPr>
            <a:spLocks noChangeArrowheads="1"/>
          </p:cNvSpPr>
          <p:nvPr userDrawn="1"/>
        </p:nvSpPr>
        <p:spPr bwMode="auto">
          <a:xfrm>
            <a:off x="5436533"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4" name="Oval 130"/>
          <p:cNvSpPr>
            <a:spLocks noChangeArrowheads="1"/>
          </p:cNvSpPr>
          <p:nvPr userDrawn="1"/>
        </p:nvSpPr>
        <p:spPr bwMode="auto">
          <a:xfrm>
            <a:off x="5521557" y="445854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5" name="Oval 57"/>
          <p:cNvSpPr>
            <a:spLocks noChangeArrowheads="1"/>
          </p:cNvSpPr>
          <p:nvPr userDrawn="1"/>
        </p:nvSpPr>
        <p:spPr bwMode="auto">
          <a:xfrm>
            <a:off x="5608938"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6" name="Oval 58"/>
          <p:cNvSpPr>
            <a:spLocks noChangeArrowheads="1"/>
          </p:cNvSpPr>
          <p:nvPr userDrawn="1"/>
        </p:nvSpPr>
        <p:spPr bwMode="auto">
          <a:xfrm>
            <a:off x="5778987" y="419638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7" name="Oval 59"/>
          <p:cNvSpPr>
            <a:spLocks noChangeArrowheads="1"/>
          </p:cNvSpPr>
          <p:nvPr userDrawn="1"/>
        </p:nvSpPr>
        <p:spPr bwMode="auto">
          <a:xfrm>
            <a:off x="5693962"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8" name="Oval 60"/>
          <p:cNvSpPr>
            <a:spLocks noChangeArrowheads="1"/>
          </p:cNvSpPr>
          <p:nvPr userDrawn="1"/>
        </p:nvSpPr>
        <p:spPr bwMode="auto">
          <a:xfrm>
            <a:off x="5866549"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39" name="Oval 61"/>
          <p:cNvSpPr>
            <a:spLocks noChangeArrowheads="1"/>
          </p:cNvSpPr>
          <p:nvPr userDrawn="1"/>
        </p:nvSpPr>
        <p:spPr bwMode="auto">
          <a:xfrm>
            <a:off x="5951574" y="419638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0" name="Oval 62"/>
          <p:cNvSpPr>
            <a:spLocks noChangeArrowheads="1"/>
          </p:cNvSpPr>
          <p:nvPr userDrawn="1"/>
        </p:nvSpPr>
        <p:spPr bwMode="auto">
          <a:xfrm>
            <a:off x="6036598" y="419638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1" name="Oval 63"/>
          <p:cNvSpPr>
            <a:spLocks noChangeArrowheads="1"/>
          </p:cNvSpPr>
          <p:nvPr userDrawn="1"/>
        </p:nvSpPr>
        <p:spPr bwMode="auto">
          <a:xfrm>
            <a:off x="6122892"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2" name="Oval 64"/>
          <p:cNvSpPr>
            <a:spLocks noChangeArrowheads="1"/>
          </p:cNvSpPr>
          <p:nvPr userDrawn="1"/>
        </p:nvSpPr>
        <p:spPr bwMode="auto">
          <a:xfrm>
            <a:off x="6207916"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3" name="Oval 65"/>
          <p:cNvSpPr>
            <a:spLocks noChangeArrowheads="1"/>
          </p:cNvSpPr>
          <p:nvPr userDrawn="1"/>
        </p:nvSpPr>
        <p:spPr bwMode="auto">
          <a:xfrm>
            <a:off x="6292940" y="419638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4" name="Oval 66"/>
          <p:cNvSpPr>
            <a:spLocks noChangeArrowheads="1"/>
          </p:cNvSpPr>
          <p:nvPr userDrawn="1"/>
        </p:nvSpPr>
        <p:spPr bwMode="auto">
          <a:xfrm>
            <a:off x="6380503"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5" name="Oval 67"/>
          <p:cNvSpPr>
            <a:spLocks noChangeArrowheads="1"/>
          </p:cNvSpPr>
          <p:nvPr userDrawn="1"/>
        </p:nvSpPr>
        <p:spPr bwMode="auto">
          <a:xfrm>
            <a:off x="6465527" y="419638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6" name="Oval 81"/>
          <p:cNvSpPr>
            <a:spLocks noChangeArrowheads="1"/>
          </p:cNvSpPr>
          <p:nvPr userDrawn="1"/>
        </p:nvSpPr>
        <p:spPr bwMode="auto">
          <a:xfrm>
            <a:off x="5608938"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7" name="Oval 82"/>
          <p:cNvSpPr>
            <a:spLocks noChangeArrowheads="1"/>
          </p:cNvSpPr>
          <p:nvPr userDrawn="1"/>
        </p:nvSpPr>
        <p:spPr bwMode="auto">
          <a:xfrm>
            <a:off x="5693962"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8" name="Oval 83"/>
          <p:cNvSpPr>
            <a:spLocks noChangeArrowheads="1"/>
          </p:cNvSpPr>
          <p:nvPr userDrawn="1"/>
        </p:nvSpPr>
        <p:spPr bwMode="auto">
          <a:xfrm>
            <a:off x="5778987" y="428140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49" name="Oval 84"/>
          <p:cNvSpPr>
            <a:spLocks noChangeArrowheads="1"/>
          </p:cNvSpPr>
          <p:nvPr userDrawn="1"/>
        </p:nvSpPr>
        <p:spPr bwMode="auto">
          <a:xfrm>
            <a:off x="5866549"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0" name="Oval 85"/>
          <p:cNvSpPr>
            <a:spLocks noChangeArrowheads="1"/>
          </p:cNvSpPr>
          <p:nvPr userDrawn="1"/>
        </p:nvSpPr>
        <p:spPr bwMode="auto">
          <a:xfrm>
            <a:off x="5951574" y="428140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1" name="Oval 86"/>
          <p:cNvSpPr>
            <a:spLocks noChangeArrowheads="1"/>
          </p:cNvSpPr>
          <p:nvPr userDrawn="1"/>
        </p:nvSpPr>
        <p:spPr bwMode="auto">
          <a:xfrm>
            <a:off x="6036598" y="428140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2" name="Oval 87"/>
          <p:cNvSpPr>
            <a:spLocks noChangeArrowheads="1"/>
          </p:cNvSpPr>
          <p:nvPr userDrawn="1"/>
        </p:nvSpPr>
        <p:spPr bwMode="auto">
          <a:xfrm>
            <a:off x="6122892"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3" name="Oval 88"/>
          <p:cNvSpPr>
            <a:spLocks noChangeArrowheads="1"/>
          </p:cNvSpPr>
          <p:nvPr userDrawn="1"/>
        </p:nvSpPr>
        <p:spPr bwMode="auto">
          <a:xfrm>
            <a:off x="6207916"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4" name="Oval 89"/>
          <p:cNvSpPr>
            <a:spLocks noChangeArrowheads="1"/>
          </p:cNvSpPr>
          <p:nvPr userDrawn="1"/>
        </p:nvSpPr>
        <p:spPr bwMode="auto">
          <a:xfrm>
            <a:off x="6292940" y="428140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5" name="Oval 90"/>
          <p:cNvSpPr>
            <a:spLocks noChangeArrowheads="1"/>
          </p:cNvSpPr>
          <p:nvPr userDrawn="1"/>
        </p:nvSpPr>
        <p:spPr bwMode="auto">
          <a:xfrm>
            <a:off x="6380503"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6" name="Oval 91"/>
          <p:cNvSpPr>
            <a:spLocks noChangeArrowheads="1"/>
          </p:cNvSpPr>
          <p:nvPr userDrawn="1"/>
        </p:nvSpPr>
        <p:spPr bwMode="auto">
          <a:xfrm>
            <a:off x="6465527" y="428140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7" name="Oval 100"/>
          <p:cNvSpPr>
            <a:spLocks noChangeArrowheads="1"/>
          </p:cNvSpPr>
          <p:nvPr userDrawn="1"/>
        </p:nvSpPr>
        <p:spPr bwMode="auto">
          <a:xfrm>
            <a:off x="5608938"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8" name="Oval 101"/>
          <p:cNvSpPr>
            <a:spLocks noChangeArrowheads="1"/>
          </p:cNvSpPr>
          <p:nvPr userDrawn="1"/>
        </p:nvSpPr>
        <p:spPr bwMode="auto">
          <a:xfrm>
            <a:off x="5693962"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59" name="Oval 102"/>
          <p:cNvSpPr>
            <a:spLocks noChangeArrowheads="1"/>
          </p:cNvSpPr>
          <p:nvPr userDrawn="1"/>
        </p:nvSpPr>
        <p:spPr bwMode="auto">
          <a:xfrm>
            <a:off x="5778987" y="436643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0" name="Oval 103"/>
          <p:cNvSpPr>
            <a:spLocks noChangeArrowheads="1"/>
          </p:cNvSpPr>
          <p:nvPr userDrawn="1"/>
        </p:nvSpPr>
        <p:spPr bwMode="auto">
          <a:xfrm>
            <a:off x="5866549"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1" name="Oval 104"/>
          <p:cNvSpPr>
            <a:spLocks noChangeArrowheads="1"/>
          </p:cNvSpPr>
          <p:nvPr userDrawn="1"/>
        </p:nvSpPr>
        <p:spPr bwMode="auto">
          <a:xfrm>
            <a:off x="5951574" y="436643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2" name="Oval 105"/>
          <p:cNvSpPr>
            <a:spLocks noChangeArrowheads="1"/>
          </p:cNvSpPr>
          <p:nvPr userDrawn="1"/>
        </p:nvSpPr>
        <p:spPr bwMode="auto">
          <a:xfrm>
            <a:off x="6036598" y="436643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3" name="Oval 106"/>
          <p:cNvSpPr>
            <a:spLocks noChangeArrowheads="1"/>
          </p:cNvSpPr>
          <p:nvPr userDrawn="1"/>
        </p:nvSpPr>
        <p:spPr bwMode="auto">
          <a:xfrm>
            <a:off x="6122892"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4" name="Oval 107"/>
          <p:cNvSpPr>
            <a:spLocks noChangeArrowheads="1"/>
          </p:cNvSpPr>
          <p:nvPr userDrawn="1"/>
        </p:nvSpPr>
        <p:spPr bwMode="auto">
          <a:xfrm>
            <a:off x="6207916"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5" name="Oval 108"/>
          <p:cNvSpPr>
            <a:spLocks noChangeArrowheads="1"/>
          </p:cNvSpPr>
          <p:nvPr userDrawn="1"/>
        </p:nvSpPr>
        <p:spPr bwMode="auto">
          <a:xfrm>
            <a:off x="6292940" y="436643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6" name="Oval 109"/>
          <p:cNvSpPr>
            <a:spLocks noChangeArrowheads="1"/>
          </p:cNvSpPr>
          <p:nvPr userDrawn="1"/>
        </p:nvSpPr>
        <p:spPr bwMode="auto">
          <a:xfrm>
            <a:off x="6380503"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7" name="Oval 110"/>
          <p:cNvSpPr>
            <a:spLocks noChangeArrowheads="1"/>
          </p:cNvSpPr>
          <p:nvPr userDrawn="1"/>
        </p:nvSpPr>
        <p:spPr bwMode="auto">
          <a:xfrm>
            <a:off x="6465527" y="436643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8" name="Oval 120"/>
          <p:cNvSpPr>
            <a:spLocks noChangeArrowheads="1"/>
          </p:cNvSpPr>
          <p:nvPr userDrawn="1"/>
        </p:nvSpPr>
        <p:spPr bwMode="auto">
          <a:xfrm>
            <a:off x="5608938"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69" name="Oval 121"/>
          <p:cNvSpPr>
            <a:spLocks noChangeArrowheads="1"/>
          </p:cNvSpPr>
          <p:nvPr userDrawn="1"/>
        </p:nvSpPr>
        <p:spPr bwMode="auto">
          <a:xfrm>
            <a:off x="5693962"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0" name="Oval 122"/>
          <p:cNvSpPr>
            <a:spLocks noChangeArrowheads="1"/>
          </p:cNvSpPr>
          <p:nvPr userDrawn="1"/>
        </p:nvSpPr>
        <p:spPr bwMode="auto">
          <a:xfrm>
            <a:off x="5778987" y="44539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1" name="Oval 123"/>
          <p:cNvSpPr>
            <a:spLocks noChangeArrowheads="1"/>
          </p:cNvSpPr>
          <p:nvPr userDrawn="1"/>
        </p:nvSpPr>
        <p:spPr bwMode="auto">
          <a:xfrm>
            <a:off x="5866549"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2" name="Oval 124"/>
          <p:cNvSpPr>
            <a:spLocks noChangeArrowheads="1"/>
          </p:cNvSpPr>
          <p:nvPr userDrawn="1"/>
        </p:nvSpPr>
        <p:spPr bwMode="auto">
          <a:xfrm>
            <a:off x="5951574" y="44539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3" name="Oval 125"/>
          <p:cNvSpPr>
            <a:spLocks noChangeArrowheads="1"/>
          </p:cNvSpPr>
          <p:nvPr userDrawn="1"/>
        </p:nvSpPr>
        <p:spPr bwMode="auto">
          <a:xfrm>
            <a:off x="6036598" y="44539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4" name="Oval 126"/>
          <p:cNvSpPr>
            <a:spLocks noChangeArrowheads="1"/>
          </p:cNvSpPr>
          <p:nvPr userDrawn="1"/>
        </p:nvSpPr>
        <p:spPr bwMode="auto">
          <a:xfrm>
            <a:off x="6122892"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5" name="Oval 127"/>
          <p:cNvSpPr>
            <a:spLocks noChangeArrowheads="1"/>
          </p:cNvSpPr>
          <p:nvPr userDrawn="1"/>
        </p:nvSpPr>
        <p:spPr bwMode="auto">
          <a:xfrm>
            <a:off x="6207916"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6" name="Oval 128"/>
          <p:cNvSpPr>
            <a:spLocks noChangeArrowheads="1"/>
          </p:cNvSpPr>
          <p:nvPr userDrawn="1"/>
        </p:nvSpPr>
        <p:spPr bwMode="auto">
          <a:xfrm>
            <a:off x="6292940" y="44539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7" name="Oval 129"/>
          <p:cNvSpPr>
            <a:spLocks noChangeArrowheads="1"/>
          </p:cNvSpPr>
          <p:nvPr userDrawn="1"/>
        </p:nvSpPr>
        <p:spPr bwMode="auto">
          <a:xfrm>
            <a:off x="6380503"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8" name="Oval 130"/>
          <p:cNvSpPr>
            <a:spLocks noChangeArrowheads="1"/>
          </p:cNvSpPr>
          <p:nvPr userDrawn="1"/>
        </p:nvSpPr>
        <p:spPr bwMode="auto">
          <a:xfrm>
            <a:off x="6465527" y="44539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79" name="Oval 57"/>
          <p:cNvSpPr>
            <a:spLocks noChangeArrowheads="1"/>
          </p:cNvSpPr>
          <p:nvPr userDrawn="1"/>
        </p:nvSpPr>
        <p:spPr bwMode="auto">
          <a:xfrm>
            <a:off x="6552908"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0" name="Oval 58"/>
          <p:cNvSpPr>
            <a:spLocks noChangeArrowheads="1"/>
          </p:cNvSpPr>
          <p:nvPr userDrawn="1"/>
        </p:nvSpPr>
        <p:spPr bwMode="auto">
          <a:xfrm>
            <a:off x="6722957" y="419183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1" name="Oval 59"/>
          <p:cNvSpPr>
            <a:spLocks noChangeArrowheads="1"/>
          </p:cNvSpPr>
          <p:nvPr userDrawn="1"/>
        </p:nvSpPr>
        <p:spPr bwMode="auto">
          <a:xfrm>
            <a:off x="6637932"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2" name="Oval 60"/>
          <p:cNvSpPr>
            <a:spLocks noChangeArrowheads="1"/>
          </p:cNvSpPr>
          <p:nvPr userDrawn="1"/>
        </p:nvSpPr>
        <p:spPr bwMode="auto">
          <a:xfrm>
            <a:off x="6810519"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3" name="Oval 61"/>
          <p:cNvSpPr>
            <a:spLocks noChangeArrowheads="1"/>
          </p:cNvSpPr>
          <p:nvPr userDrawn="1"/>
        </p:nvSpPr>
        <p:spPr bwMode="auto">
          <a:xfrm>
            <a:off x="6895544" y="419183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4" name="Oval 62"/>
          <p:cNvSpPr>
            <a:spLocks noChangeArrowheads="1"/>
          </p:cNvSpPr>
          <p:nvPr userDrawn="1"/>
        </p:nvSpPr>
        <p:spPr bwMode="auto">
          <a:xfrm>
            <a:off x="6980568" y="419183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5" name="Oval 63"/>
          <p:cNvSpPr>
            <a:spLocks noChangeArrowheads="1"/>
          </p:cNvSpPr>
          <p:nvPr userDrawn="1"/>
        </p:nvSpPr>
        <p:spPr bwMode="auto">
          <a:xfrm>
            <a:off x="7066862"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6" name="Oval 64"/>
          <p:cNvSpPr>
            <a:spLocks noChangeArrowheads="1"/>
          </p:cNvSpPr>
          <p:nvPr userDrawn="1"/>
        </p:nvSpPr>
        <p:spPr bwMode="auto">
          <a:xfrm>
            <a:off x="7151886"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7" name="Oval 65"/>
          <p:cNvSpPr>
            <a:spLocks noChangeArrowheads="1"/>
          </p:cNvSpPr>
          <p:nvPr userDrawn="1"/>
        </p:nvSpPr>
        <p:spPr bwMode="auto">
          <a:xfrm>
            <a:off x="7236910" y="419183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8" name="Oval 66"/>
          <p:cNvSpPr>
            <a:spLocks noChangeArrowheads="1"/>
          </p:cNvSpPr>
          <p:nvPr userDrawn="1"/>
        </p:nvSpPr>
        <p:spPr bwMode="auto">
          <a:xfrm>
            <a:off x="7324473"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89" name="Oval 67"/>
          <p:cNvSpPr>
            <a:spLocks noChangeArrowheads="1"/>
          </p:cNvSpPr>
          <p:nvPr userDrawn="1"/>
        </p:nvSpPr>
        <p:spPr bwMode="auto">
          <a:xfrm>
            <a:off x="7409497" y="419183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0" name="Oval 81"/>
          <p:cNvSpPr>
            <a:spLocks noChangeArrowheads="1"/>
          </p:cNvSpPr>
          <p:nvPr userDrawn="1"/>
        </p:nvSpPr>
        <p:spPr bwMode="auto">
          <a:xfrm>
            <a:off x="6552908"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1" name="Oval 82"/>
          <p:cNvSpPr>
            <a:spLocks noChangeArrowheads="1"/>
          </p:cNvSpPr>
          <p:nvPr userDrawn="1"/>
        </p:nvSpPr>
        <p:spPr bwMode="auto">
          <a:xfrm>
            <a:off x="6637932"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2" name="Oval 83"/>
          <p:cNvSpPr>
            <a:spLocks noChangeArrowheads="1"/>
          </p:cNvSpPr>
          <p:nvPr userDrawn="1"/>
        </p:nvSpPr>
        <p:spPr bwMode="auto">
          <a:xfrm>
            <a:off x="6722957" y="427685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3" name="Oval 84"/>
          <p:cNvSpPr>
            <a:spLocks noChangeArrowheads="1"/>
          </p:cNvSpPr>
          <p:nvPr userDrawn="1"/>
        </p:nvSpPr>
        <p:spPr bwMode="auto">
          <a:xfrm>
            <a:off x="6810519"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4" name="Oval 85"/>
          <p:cNvSpPr>
            <a:spLocks noChangeArrowheads="1"/>
          </p:cNvSpPr>
          <p:nvPr userDrawn="1"/>
        </p:nvSpPr>
        <p:spPr bwMode="auto">
          <a:xfrm>
            <a:off x="6895544" y="427685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5" name="Oval 86"/>
          <p:cNvSpPr>
            <a:spLocks noChangeArrowheads="1"/>
          </p:cNvSpPr>
          <p:nvPr userDrawn="1"/>
        </p:nvSpPr>
        <p:spPr bwMode="auto">
          <a:xfrm>
            <a:off x="6980568" y="427685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6" name="Oval 87"/>
          <p:cNvSpPr>
            <a:spLocks noChangeArrowheads="1"/>
          </p:cNvSpPr>
          <p:nvPr userDrawn="1"/>
        </p:nvSpPr>
        <p:spPr bwMode="auto">
          <a:xfrm>
            <a:off x="7066862"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7" name="Oval 88"/>
          <p:cNvSpPr>
            <a:spLocks noChangeArrowheads="1"/>
          </p:cNvSpPr>
          <p:nvPr userDrawn="1"/>
        </p:nvSpPr>
        <p:spPr bwMode="auto">
          <a:xfrm>
            <a:off x="7151886"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8" name="Oval 89"/>
          <p:cNvSpPr>
            <a:spLocks noChangeArrowheads="1"/>
          </p:cNvSpPr>
          <p:nvPr userDrawn="1"/>
        </p:nvSpPr>
        <p:spPr bwMode="auto">
          <a:xfrm>
            <a:off x="7236910" y="427685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499" name="Oval 90"/>
          <p:cNvSpPr>
            <a:spLocks noChangeArrowheads="1"/>
          </p:cNvSpPr>
          <p:nvPr userDrawn="1"/>
        </p:nvSpPr>
        <p:spPr bwMode="auto">
          <a:xfrm>
            <a:off x="7324473"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0" name="Oval 91"/>
          <p:cNvSpPr>
            <a:spLocks noChangeArrowheads="1"/>
          </p:cNvSpPr>
          <p:nvPr userDrawn="1"/>
        </p:nvSpPr>
        <p:spPr bwMode="auto">
          <a:xfrm>
            <a:off x="7409497" y="427685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1" name="Oval 100"/>
          <p:cNvSpPr>
            <a:spLocks noChangeArrowheads="1"/>
          </p:cNvSpPr>
          <p:nvPr userDrawn="1"/>
        </p:nvSpPr>
        <p:spPr bwMode="auto">
          <a:xfrm>
            <a:off x="6552908"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2" name="Oval 101"/>
          <p:cNvSpPr>
            <a:spLocks noChangeArrowheads="1"/>
          </p:cNvSpPr>
          <p:nvPr userDrawn="1"/>
        </p:nvSpPr>
        <p:spPr bwMode="auto">
          <a:xfrm>
            <a:off x="6637932"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3" name="Oval 102"/>
          <p:cNvSpPr>
            <a:spLocks noChangeArrowheads="1"/>
          </p:cNvSpPr>
          <p:nvPr userDrawn="1"/>
        </p:nvSpPr>
        <p:spPr bwMode="auto">
          <a:xfrm>
            <a:off x="6722957" y="436188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4" name="Oval 103"/>
          <p:cNvSpPr>
            <a:spLocks noChangeArrowheads="1"/>
          </p:cNvSpPr>
          <p:nvPr userDrawn="1"/>
        </p:nvSpPr>
        <p:spPr bwMode="auto">
          <a:xfrm>
            <a:off x="6810519"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5" name="Oval 104"/>
          <p:cNvSpPr>
            <a:spLocks noChangeArrowheads="1"/>
          </p:cNvSpPr>
          <p:nvPr userDrawn="1"/>
        </p:nvSpPr>
        <p:spPr bwMode="auto">
          <a:xfrm>
            <a:off x="6895544" y="436188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6" name="Oval 105"/>
          <p:cNvSpPr>
            <a:spLocks noChangeArrowheads="1"/>
          </p:cNvSpPr>
          <p:nvPr userDrawn="1"/>
        </p:nvSpPr>
        <p:spPr bwMode="auto">
          <a:xfrm>
            <a:off x="6980568" y="436188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7" name="Oval 106"/>
          <p:cNvSpPr>
            <a:spLocks noChangeArrowheads="1"/>
          </p:cNvSpPr>
          <p:nvPr userDrawn="1"/>
        </p:nvSpPr>
        <p:spPr bwMode="auto">
          <a:xfrm>
            <a:off x="7066862"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8" name="Oval 107"/>
          <p:cNvSpPr>
            <a:spLocks noChangeArrowheads="1"/>
          </p:cNvSpPr>
          <p:nvPr userDrawn="1"/>
        </p:nvSpPr>
        <p:spPr bwMode="auto">
          <a:xfrm>
            <a:off x="7151886"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09" name="Oval 108"/>
          <p:cNvSpPr>
            <a:spLocks noChangeArrowheads="1"/>
          </p:cNvSpPr>
          <p:nvPr userDrawn="1"/>
        </p:nvSpPr>
        <p:spPr bwMode="auto">
          <a:xfrm>
            <a:off x="7236910" y="4361883"/>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0" name="Oval 109"/>
          <p:cNvSpPr>
            <a:spLocks noChangeArrowheads="1"/>
          </p:cNvSpPr>
          <p:nvPr userDrawn="1"/>
        </p:nvSpPr>
        <p:spPr bwMode="auto">
          <a:xfrm>
            <a:off x="7324473"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1" name="Oval 110"/>
          <p:cNvSpPr>
            <a:spLocks noChangeArrowheads="1"/>
          </p:cNvSpPr>
          <p:nvPr userDrawn="1"/>
        </p:nvSpPr>
        <p:spPr bwMode="auto">
          <a:xfrm>
            <a:off x="7409497" y="436188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2" name="Oval 120"/>
          <p:cNvSpPr>
            <a:spLocks noChangeArrowheads="1"/>
          </p:cNvSpPr>
          <p:nvPr userDrawn="1"/>
        </p:nvSpPr>
        <p:spPr bwMode="auto">
          <a:xfrm>
            <a:off x="6552908"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3" name="Oval 121"/>
          <p:cNvSpPr>
            <a:spLocks noChangeArrowheads="1"/>
          </p:cNvSpPr>
          <p:nvPr userDrawn="1"/>
        </p:nvSpPr>
        <p:spPr bwMode="auto">
          <a:xfrm>
            <a:off x="6637932"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4" name="Oval 122"/>
          <p:cNvSpPr>
            <a:spLocks noChangeArrowheads="1"/>
          </p:cNvSpPr>
          <p:nvPr userDrawn="1"/>
        </p:nvSpPr>
        <p:spPr bwMode="auto">
          <a:xfrm>
            <a:off x="6722957" y="44494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5" name="Oval 123"/>
          <p:cNvSpPr>
            <a:spLocks noChangeArrowheads="1"/>
          </p:cNvSpPr>
          <p:nvPr userDrawn="1"/>
        </p:nvSpPr>
        <p:spPr bwMode="auto">
          <a:xfrm>
            <a:off x="6810519"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6" name="Oval 124"/>
          <p:cNvSpPr>
            <a:spLocks noChangeArrowheads="1"/>
          </p:cNvSpPr>
          <p:nvPr userDrawn="1"/>
        </p:nvSpPr>
        <p:spPr bwMode="auto">
          <a:xfrm>
            <a:off x="6895544" y="44494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7" name="Oval 125"/>
          <p:cNvSpPr>
            <a:spLocks noChangeArrowheads="1"/>
          </p:cNvSpPr>
          <p:nvPr userDrawn="1"/>
        </p:nvSpPr>
        <p:spPr bwMode="auto">
          <a:xfrm>
            <a:off x="6980568" y="44494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8" name="Oval 126"/>
          <p:cNvSpPr>
            <a:spLocks noChangeArrowheads="1"/>
          </p:cNvSpPr>
          <p:nvPr userDrawn="1"/>
        </p:nvSpPr>
        <p:spPr bwMode="auto">
          <a:xfrm>
            <a:off x="7066862"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19" name="Oval 127"/>
          <p:cNvSpPr>
            <a:spLocks noChangeArrowheads="1"/>
          </p:cNvSpPr>
          <p:nvPr userDrawn="1"/>
        </p:nvSpPr>
        <p:spPr bwMode="auto">
          <a:xfrm>
            <a:off x="7151886"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0" name="Oval 128"/>
          <p:cNvSpPr>
            <a:spLocks noChangeArrowheads="1"/>
          </p:cNvSpPr>
          <p:nvPr userDrawn="1"/>
        </p:nvSpPr>
        <p:spPr bwMode="auto">
          <a:xfrm>
            <a:off x="7236910" y="44494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1" name="Oval 129"/>
          <p:cNvSpPr>
            <a:spLocks noChangeArrowheads="1"/>
          </p:cNvSpPr>
          <p:nvPr userDrawn="1"/>
        </p:nvSpPr>
        <p:spPr bwMode="auto">
          <a:xfrm>
            <a:off x="7324473"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2" name="Oval 130"/>
          <p:cNvSpPr>
            <a:spLocks noChangeArrowheads="1"/>
          </p:cNvSpPr>
          <p:nvPr userDrawn="1"/>
        </p:nvSpPr>
        <p:spPr bwMode="auto">
          <a:xfrm>
            <a:off x="7409497" y="44494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3" name="Oval 57"/>
          <p:cNvSpPr>
            <a:spLocks noChangeArrowheads="1"/>
          </p:cNvSpPr>
          <p:nvPr userDrawn="1"/>
        </p:nvSpPr>
        <p:spPr bwMode="auto">
          <a:xfrm>
            <a:off x="7496878"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4" name="Oval 58"/>
          <p:cNvSpPr>
            <a:spLocks noChangeArrowheads="1"/>
          </p:cNvSpPr>
          <p:nvPr userDrawn="1"/>
        </p:nvSpPr>
        <p:spPr bwMode="auto">
          <a:xfrm>
            <a:off x="7666927" y="41872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5" name="Oval 59"/>
          <p:cNvSpPr>
            <a:spLocks noChangeArrowheads="1"/>
          </p:cNvSpPr>
          <p:nvPr userDrawn="1"/>
        </p:nvSpPr>
        <p:spPr bwMode="auto">
          <a:xfrm>
            <a:off x="7581902"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6" name="Oval 60"/>
          <p:cNvSpPr>
            <a:spLocks noChangeArrowheads="1"/>
          </p:cNvSpPr>
          <p:nvPr userDrawn="1"/>
        </p:nvSpPr>
        <p:spPr bwMode="auto">
          <a:xfrm>
            <a:off x="7754489"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7" name="Oval 61"/>
          <p:cNvSpPr>
            <a:spLocks noChangeArrowheads="1"/>
          </p:cNvSpPr>
          <p:nvPr userDrawn="1"/>
        </p:nvSpPr>
        <p:spPr bwMode="auto">
          <a:xfrm>
            <a:off x="7839514" y="418728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8" name="Oval 62"/>
          <p:cNvSpPr>
            <a:spLocks noChangeArrowheads="1"/>
          </p:cNvSpPr>
          <p:nvPr userDrawn="1"/>
        </p:nvSpPr>
        <p:spPr bwMode="auto">
          <a:xfrm>
            <a:off x="7924538" y="418728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29" name="Oval 63"/>
          <p:cNvSpPr>
            <a:spLocks noChangeArrowheads="1"/>
          </p:cNvSpPr>
          <p:nvPr userDrawn="1"/>
        </p:nvSpPr>
        <p:spPr bwMode="auto">
          <a:xfrm>
            <a:off x="8010832"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0" name="Oval 64"/>
          <p:cNvSpPr>
            <a:spLocks noChangeArrowheads="1"/>
          </p:cNvSpPr>
          <p:nvPr userDrawn="1"/>
        </p:nvSpPr>
        <p:spPr bwMode="auto">
          <a:xfrm>
            <a:off x="8095856"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1" name="Oval 65"/>
          <p:cNvSpPr>
            <a:spLocks noChangeArrowheads="1"/>
          </p:cNvSpPr>
          <p:nvPr userDrawn="1"/>
        </p:nvSpPr>
        <p:spPr bwMode="auto">
          <a:xfrm>
            <a:off x="8180880" y="418728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2" name="Oval 66"/>
          <p:cNvSpPr>
            <a:spLocks noChangeArrowheads="1"/>
          </p:cNvSpPr>
          <p:nvPr userDrawn="1"/>
        </p:nvSpPr>
        <p:spPr bwMode="auto">
          <a:xfrm>
            <a:off x="8268443"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3" name="Oval 67"/>
          <p:cNvSpPr>
            <a:spLocks noChangeArrowheads="1"/>
          </p:cNvSpPr>
          <p:nvPr userDrawn="1"/>
        </p:nvSpPr>
        <p:spPr bwMode="auto">
          <a:xfrm>
            <a:off x="8353467" y="418728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4" name="Oval 81"/>
          <p:cNvSpPr>
            <a:spLocks noChangeArrowheads="1"/>
          </p:cNvSpPr>
          <p:nvPr userDrawn="1"/>
        </p:nvSpPr>
        <p:spPr bwMode="auto">
          <a:xfrm>
            <a:off x="7496878"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5" name="Oval 82"/>
          <p:cNvSpPr>
            <a:spLocks noChangeArrowheads="1"/>
          </p:cNvSpPr>
          <p:nvPr userDrawn="1"/>
        </p:nvSpPr>
        <p:spPr bwMode="auto">
          <a:xfrm>
            <a:off x="7581902"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6" name="Oval 83"/>
          <p:cNvSpPr>
            <a:spLocks noChangeArrowheads="1"/>
          </p:cNvSpPr>
          <p:nvPr userDrawn="1"/>
        </p:nvSpPr>
        <p:spPr bwMode="auto">
          <a:xfrm>
            <a:off x="7666927" y="42723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7" name="Oval 84"/>
          <p:cNvSpPr>
            <a:spLocks noChangeArrowheads="1"/>
          </p:cNvSpPr>
          <p:nvPr userDrawn="1"/>
        </p:nvSpPr>
        <p:spPr bwMode="auto">
          <a:xfrm>
            <a:off x="7754489"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8" name="Oval 85"/>
          <p:cNvSpPr>
            <a:spLocks noChangeArrowheads="1"/>
          </p:cNvSpPr>
          <p:nvPr userDrawn="1"/>
        </p:nvSpPr>
        <p:spPr bwMode="auto">
          <a:xfrm>
            <a:off x="7839514" y="427231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39" name="Oval 86"/>
          <p:cNvSpPr>
            <a:spLocks noChangeArrowheads="1"/>
          </p:cNvSpPr>
          <p:nvPr userDrawn="1"/>
        </p:nvSpPr>
        <p:spPr bwMode="auto">
          <a:xfrm>
            <a:off x="7924538" y="427231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0" name="Oval 87"/>
          <p:cNvSpPr>
            <a:spLocks noChangeArrowheads="1"/>
          </p:cNvSpPr>
          <p:nvPr userDrawn="1"/>
        </p:nvSpPr>
        <p:spPr bwMode="auto">
          <a:xfrm>
            <a:off x="8010832"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1" name="Oval 88"/>
          <p:cNvSpPr>
            <a:spLocks noChangeArrowheads="1"/>
          </p:cNvSpPr>
          <p:nvPr userDrawn="1"/>
        </p:nvSpPr>
        <p:spPr bwMode="auto">
          <a:xfrm>
            <a:off x="8095856"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2" name="Oval 89"/>
          <p:cNvSpPr>
            <a:spLocks noChangeArrowheads="1"/>
          </p:cNvSpPr>
          <p:nvPr userDrawn="1"/>
        </p:nvSpPr>
        <p:spPr bwMode="auto">
          <a:xfrm>
            <a:off x="8180880" y="427231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3" name="Oval 90"/>
          <p:cNvSpPr>
            <a:spLocks noChangeArrowheads="1"/>
          </p:cNvSpPr>
          <p:nvPr userDrawn="1"/>
        </p:nvSpPr>
        <p:spPr bwMode="auto">
          <a:xfrm>
            <a:off x="8268443"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4" name="Oval 91"/>
          <p:cNvSpPr>
            <a:spLocks noChangeArrowheads="1"/>
          </p:cNvSpPr>
          <p:nvPr userDrawn="1"/>
        </p:nvSpPr>
        <p:spPr bwMode="auto">
          <a:xfrm>
            <a:off x="8353467" y="42723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5" name="Oval 100"/>
          <p:cNvSpPr>
            <a:spLocks noChangeArrowheads="1"/>
          </p:cNvSpPr>
          <p:nvPr userDrawn="1"/>
        </p:nvSpPr>
        <p:spPr bwMode="auto">
          <a:xfrm>
            <a:off x="7496878"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6" name="Oval 101"/>
          <p:cNvSpPr>
            <a:spLocks noChangeArrowheads="1"/>
          </p:cNvSpPr>
          <p:nvPr userDrawn="1"/>
        </p:nvSpPr>
        <p:spPr bwMode="auto">
          <a:xfrm>
            <a:off x="7581902"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7" name="Oval 102"/>
          <p:cNvSpPr>
            <a:spLocks noChangeArrowheads="1"/>
          </p:cNvSpPr>
          <p:nvPr userDrawn="1"/>
        </p:nvSpPr>
        <p:spPr bwMode="auto">
          <a:xfrm>
            <a:off x="7666927" y="43573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8" name="Oval 103"/>
          <p:cNvSpPr>
            <a:spLocks noChangeArrowheads="1"/>
          </p:cNvSpPr>
          <p:nvPr userDrawn="1"/>
        </p:nvSpPr>
        <p:spPr bwMode="auto">
          <a:xfrm>
            <a:off x="7754489"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49" name="Oval 104"/>
          <p:cNvSpPr>
            <a:spLocks noChangeArrowheads="1"/>
          </p:cNvSpPr>
          <p:nvPr userDrawn="1"/>
        </p:nvSpPr>
        <p:spPr bwMode="auto">
          <a:xfrm>
            <a:off x="7839514" y="435733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0" name="Oval 105"/>
          <p:cNvSpPr>
            <a:spLocks noChangeArrowheads="1"/>
          </p:cNvSpPr>
          <p:nvPr userDrawn="1"/>
        </p:nvSpPr>
        <p:spPr bwMode="auto">
          <a:xfrm>
            <a:off x="7924538" y="435733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1" name="Oval 106"/>
          <p:cNvSpPr>
            <a:spLocks noChangeArrowheads="1"/>
          </p:cNvSpPr>
          <p:nvPr userDrawn="1"/>
        </p:nvSpPr>
        <p:spPr bwMode="auto">
          <a:xfrm>
            <a:off x="8010832"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2" name="Oval 107"/>
          <p:cNvSpPr>
            <a:spLocks noChangeArrowheads="1"/>
          </p:cNvSpPr>
          <p:nvPr userDrawn="1"/>
        </p:nvSpPr>
        <p:spPr bwMode="auto">
          <a:xfrm>
            <a:off x="8095856"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3" name="Oval 108"/>
          <p:cNvSpPr>
            <a:spLocks noChangeArrowheads="1"/>
          </p:cNvSpPr>
          <p:nvPr userDrawn="1"/>
        </p:nvSpPr>
        <p:spPr bwMode="auto">
          <a:xfrm>
            <a:off x="8180880" y="4357334"/>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4" name="Oval 109"/>
          <p:cNvSpPr>
            <a:spLocks noChangeArrowheads="1"/>
          </p:cNvSpPr>
          <p:nvPr userDrawn="1"/>
        </p:nvSpPr>
        <p:spPr bwMode="auto">
          <a:xfrm>
            <a:off x="8268443"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5" name="Oval 110"/>
          <p:cNvSpPr>
            <a:spLocks noChangeArrowheads="1"/>
          </p:cNvSpPr>
          <p:nvPr userDrawn="1"/>
        </p:nvSpPr>
        <p:spPr bwMode="auto">
          <a:xfrm>
            <a:off x="8353467" y="4357334"/>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6" name="Oval 120"/>
          <p:cNvSpPr>
            <a:spLocks noChangeArrowheads="1"/>
          </p:cNvSpPr>
          <p:nvPr userDrawn="1"/>
        </p:nvSpPr>
        <p:spPr bwMode="auto">
          <a:xfrm>
            <a:off x="7496878"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7" name="Oval 121"/>
          <p:cNvSpPr>
            <a:spLocks noChangeArrowheads="1"/>
          </p:cNvSpPr>
          <p:nvPr userDrawn="1"/>
        </p:nvSpPr>
        <p:spPr bwMode="auto">
          <a:xfrm>
            <a:off x="7581902"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8" name="Oval 122"/>
          <p:cNvSpPr>
            <a:spLocks noChangeArrowheads="1"/>
          </p:cNvSpPr>
          <p:nvPr userDrawn="1"/>
        </p:nvSpPr>
        <p:spPr bwMode="auto">
          <a:xfrm>
            <a:off x="7666927" y="44448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59" name="Oval 123"/>
          <p:cNvSpPr>
            <a:spLocks noChangeArrowheads="1"/>
          </p:cNvSpPr>
          <p:nvPr userDrawn="1"/>
        </p:nvSpPr>
        <p:spPr bwMode="auto">
          <a:xfrm>
            <a:off x="7754489"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0" name="Oval 124"/>
          <p:cNvSpPr>
            <a:spLocks noChangeArrowheads="1"/>
          </p:cNvSpPr>
          <p:nvPr userDrawn="1"/>
        </p:nvSpPr>
        <p:spPr bwMode="auto">
          <a:xfrm>
            <a:off x="7839514" y="44448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1" name="Oval 125"/>
          <p:cNvSpPr>
            <a:spLocks noChangeArrowheads="1"/>
          </p:cNvSpPr>
          <p:nvPr userDrawn="1"/>
        </p:nvSpPr>
        <p:spPr bwMode="auto">
          <a:xfrm>
            <a:off x="7924538" y="444489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2" name="Oval 126"/>
          <p:cNvSpPr>
            <a:spLocks noChangeArrowheads="1"/>
          </p:cNvSpPr>
          <p:nvPr userDrawn="1"/>
        </p:nvSpPr>
        <p:spPr bwMode="auto">
          <a:xfrm>
            <a:off x="8010832"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3" name="Oval 127"/>
          <p:cNvSpPr>
            <a:spLocks noChangeArrowheads="1"/>
          </p:cNvSpPr>
          <p:nvPr userDrawn="1"/>
        </p:nvSpPr>
        <p:spPr bwMode="auto">
          <a:xfrm>
            <a:off x="8095856"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4" name="Oval 128"/>
          <p:cNvSpPr>
            <a:spLocks noChangeArrowheads="1"/>
          </p:cNvSpPr>
          <p:nvPr userDrawn="1"/>
        </p:nvSpPr>
        <p:spPr bwMode="auto">
          <a:xfrm>
            <a:off x="8180880" y="444489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5" name="Oval 129"/>
          <p:cNvSpPr>
            <a:spLocks noChangeArrowheads="1"/>
          </p:cNvSpPr>
          <p:nvPr userDrawn="1"/>
        </p:nvSpPr>
        <p:spPr bwMode="auto">
          <a:xfrm>
            <a:off x="8268443"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6" name="Oval 130"/>
          <p:cNvSpPr>
            <a:spLocks noChangeArrowheads="1"/>
          </p:cNvSpPr>
          <p:nvPr userDrawn="1"/>
        </p:nvSpPr>
        <p:spPr bwMode="auto">
          <a:xfrm>
            <a:off x="8353467" y="444489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7" name="Oval 57"/>
          <p:cNvSpPr>
            <a:spLocks noChangeArrowheads="1"/>
          </p:cNvSpPr>
          <p:nvPr userDrawn="1"/>
        </p:nvSpPr>
        <p:spPr bwMode="auto">
          <a:xfrm>
            <a:off x="8440848" y="41827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8" name="Oval 81"/>
          <p:cNvSpPr>
            <a:spLocks noChangeArrowheads="1"/>
          </p:cNvSpPr>
          <p:nvPr userDrawn="1"/>
        </p:nvSpPr>
        <p:spPr bwMode="auto">
          <a:xfrm>
            <a:off x="8440848" y="426776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69" name="Oval 120"/>
          <p:cNvSpPr>
            <a:spLocks noChangeArrowheads="1"/>
          </p:cNvSpPr>
          <p:nvPr userDrawn="1"/>
        </p:nvSpPr>
        <p:spPr bwMode="auto">
          <a:xfrm>
            <a:off x="8440848" y="444034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0" name="Oval 58"/>
          <p:cNvSpPr>
            <a:spLocks noChangeArrowheads="1"/>
          </p:cNvSpPr>
          <p:nvPr userDrawn="1"/>
        </p:nvSpPr>
        <p:spPr bwMode="auto">
          <a:xfrm>
            <a:off x="4835017" y="454212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1" name="Oval 60"/>
          <p:cNvSpPr>
            <a:spLocks noChangeArrowheads="1"/>
          </p:cNvSpPr>
          <p:nvPr userDrawn="1"/>
        </p:nvSpPr>
        <p:spPr bwMode="auto">
          <a:xfrm>
            <a:off x="4922579" y="454212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2" name="Oval 61"/>
          <p:cNvSpPr>
            <a:spLocks noChangeArrowheads="1"/>
          </p:cNvSpPr>
          <p:nvPr userDrawn="1"/>
        </p:nvSpPr>
        <p:spPr bwMode="auto">
          <a:xfrm>
            <a:off x="5007604" y="454212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3" name="Oval 62"/>
          <p:cNvSpPr>
            <a:spLocks noChangeArrowheads="1"/>
          </p:cNvSpPr>
          <p:nvPr userDrawn="1"/>
        </p:nvSpPr>
        <p:spPr bwMode="auto">
          <a:xfrm>
            <a:off x="5092628" y="454212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4" name="Oval 63"/>
          <p:cNvSpPr>
            <a:spLocks noChangeArrowheads="1"/>
          </p:cNvSpPr>
          <p:nvPr userDrawn="1"/>
        </p:nvSpPr>
        <p:spPr bwMode="auto">
          <a:xfrm>
            <a:off x="5178922"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5" name="Oval 64"/>
          <p:cNvSpPr>
            <a:spLocks noChangeArrowheads="1"/>
          </p:cNvSpPr>
          <p:nvPr userDrawn="1"/>
        </p:nvSpPr>
        <p:spPr bwMode="auto">
          <a:xfrm>
            <a:off x="5263946"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6" name="Oval 65"/>
          <p:cNvSpPr>
            <a:spLocks noChangeArrowheads="1"/>
          </p:cNvSpPr>
          <p:nvPr userDrawn="1"/>
        </p:nvSpPr>
        <p:spPr bwMode="auto">
          <a:xfrm>
            <a:off x="5348970" y="454212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7" name="Oval 66"/>
          <p:cNvSpPr>
            <a:spLocks noChangeArrowheads="1"/>
          </p:cNvSpPr>
          <p:nvPr userDrawn="1"/>
        </p:nvSpPr>
        <p:spPr bwMode="auto">
          <a:xfrm>
            <a:off x="5436533"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8" name="Oval 67"/>
          <p:cNvSpPr>
            <a:spLocks noChangeArrowheads="1"/>
          </p:cNvSpPr>
          <p:nvPr userDrawn="1"/>
        </p:nvSpPr>
        <p:spPr bwMode="auto">
          <a:xfrm>
            <a:off x="5521557" y="454212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79" name="Oval 84"/>
          <p:cNvSpPr>
            <a:spLocks noChangeArrowheads="1"/>
          </p:cNvSpPr>
          <p:nvPr userDrawn="1"/>
        </p:nvSpPr>
        <p:spPr bwMode="auto">
          <a:xfrm>
            <a:off x="4922579" y="46271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0" name="Oval 85"/>
          <p:cNvSpPr>
            <a:spLocks noChangeArrowheads="1"/>
          </p:cNvSpPr>
          <p:nvPr userDrawn="1"/>
        </p:nvSpPr>
        <p:spPr bwMode="auto">
          <a:xfrm>
            <a:off x="5007604" y="46271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1" name="Oval 86"/>
          <p:cNvSpPr>
            <a:spLocks noChangeArrowheads="1"/>
          </p:cNvSpPr>
          <p:nvPr userDrawn="1"/>
        </p:nvSpPr>
        <p:spPr bwMode="auto">
          <a:xfrm>
            <a:off x="5092628" y="46271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2" name="Oval 87"/>
          <p:cNvSpPr>
            <a:spLocks noChangeArrowheads="1"/>
          </p:cNvSpPr>
          <p:nvPr userDrawn="1"/>
        </p:nvSpPr>
        <p:spPr bwMode="auto">
          <a:xfrm>
            <a:off x="5178922"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3" name="Oval 88"/>
          <p:cNvSpPr>
            <a:spLocks noChangeArrowheads="1"/>
          </p:cNvSpPr>
          <p:nvPr userDrawn="1"/>
        </p:nvSpPr>
        <p:spPr bwMode="auto">
          <a:xfrm>
            <a:off x="5263946"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4" name="Oval 89"/>
          <p:cNvSpPr>
            <a:spLocks noChangeArrowheads="1"/>
          </p:cNvSpPr>
          <p:nvPr userDrawn="1"/>
        </p:nvSpPr>
        <p:spPr bwMode="auto">
          <a:xfrm>
            <a:off x="5348970" y="46271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5" name="Oval 90"/>
          <p:cNvSpPr>
            <a:spLocks noChangeArrowheads="1"/>
          </p:cNvSpPr>
          <p:nvPr userDrawn="1"/>
        </p:nvSpPr>
        <p:spPr bwMode="auto">
          <a:xfrm>
            <a:off x="5436533"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6" name="Oval 91"/>
          <p:cNvSpPr>
            <a:spLocks noChangeArrowheads="1"/>
          </p:cNvSpPr>
          <p:nvPr userDrawn="1"/>
        </p:nvSpPr>
        <p:spPr bwMode="auto">
          <a:xfrm>
            <a:off x="5521557" y="46271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7" name="Oval 104"/>
          <p:cNvSpPr>
            <a:spLocks noChangeArrowheads="1"/>
          </p:cNvSpPr>
          <p:nvPr userDrawn="1"/>
        </p:nvSpPr>
        <p:spPr bwMode="auto">
          <a:xfrm>
            <a:off x="5007604" y="471217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8" name="Oval 105"/>
          <p:cNvSpPr>
            <a:spLocks noChangeArrowheads="1"/>
          </p:cNvSpPr>
          <p:nvPr userDrawn="1"/>
        </p:nvSpPr>
        <p:spPr bwMode="auto">
          <a:xfrm>
            <a:off x="5092628" y="471217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89" name="Oval 106"/>
          <p:cNvSpPr>
            <a:spLocks noChangeArrowheads="1"/>
          </p:cNvSpPr>
          <p:nvPr userDrawn="1"/>
        </p:nvSpPr>
        <p:spPr bwMode="auto">
          <a:xfrm>
            <a:off x="5178922"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0" name="Oval 107"/>
          <p:cNvSpPr>
            <a:spLocks noChangeArrowheads="1"/>
          </p:cNvSpPr>
          <p:nvPr userDrawn="1"/>
        </p:nvSpPr>
        <p:spPr bwMode="auto">
          <a:xfrm>
            <a:off x="5263946"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1" name="Oval 108"/>
          <p:cNvSpPr>
            <a:spLocks noChangeArrowheads="1"/>
          </p:cNvSpPr>
          <p:nvPr userDrawn="1"/>
        </p:nvSpPr>
        <p:spPr bwMode="auto">
          <a:xfrm>
            <a:off x="5348970" y="471217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2" name="Oval 109"/>
          <p:cNvSpPr>
            <a:spLocks noChangeArrowheads="1"/>
          </p:cNvSpPr>
          <p:nvPr userDrawn="1"/>
        </p:nvSpPr>
        <p:spPr bwMode="auto">
          <a:xfrm>
            <a:off x="5436533"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3" name="Oval 110"/>
          <p:cNvSpPr>
            <a:spLocks noChangeArrowheads="1"/>
          </p:cNvSpPr>
          <p:nvPr userDrawn="1"/>
        </p:nvSpPr>
        <p:spPr bwMode="auto">
          <a:xfrm>
            <a:off x="5521557" y="471217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4" name="Oval 126"/>
          <p:cNvSpPr>
            <a:spLocks noChangeArrowheads="1"/>
          </p:cNvSpPr>
          <p:nvPr userDrawn="1"/>
        </p:nvSpPr>
        <p:spPr bwMode="auto">
          <a:xfrm>
            <a:off x="5178922"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5" name="Oval 127"/>
          <p:cNvSpPr>
            <a:spLocks noChangeArrowheads="1"/>
          </p:cNvSpPr>
          <p:nvPr userDrawn="1"/>
        </p:nvSpPr>
        <p:spPr bwMode="auto">
          <a:xfrm>
            <a:off x="5263946"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6" name="Oval 128"/>
          <p:cNvSpPr>
            <a:spLocks noChangeArrowheads="1"/>
          </p:cNvSpPr>
          <p:nvPr userDrawn="1"/>
        </p:nvSpPr>
        <p:spPr bwMode="auto">
          <a:xfrm>
            <a:off x="5348970" y="479973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7" name="Oval 129"/>
          <p:cNvSpPr>
            <a:spLocks noChangeArrowheads="1"/>
          </p:cNvSpPr>
          <p:nvPr userDrawn="1"/>
        </p:nvSpPr>
        <p:spPr bwMode="auto">
          <a:xfrm>
            <a:off x="5436533"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8" name="Oval 130"/>
          <p:cNvSpPr>
            <a:spLocks noChangeArrowheads="1"/>
          </p:cNvSpPr>
          <p:nvPr userDrawn="1"/>
        </p:nvSpPr>
        <p:spPr bwMode="auto">
          <a:xfrm>
            <a:off x="5521557" y="479973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599" name="Oval 57"/>
          <p:cNvSpPr>
            <a:spLocks noChangeArrowheads="1"/>
          </p:cNvSpPr>
          <p:nvPr userDrawn="1"/>
        </p:nvSpPr>
        <p:spPr bwMode="auto">
          <a:xfrm>
            <a:off x="5608938"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0" name="Oval 58"/>
          <p:cNvSpPr>
            <a:spLocks noChangeArrowheads="1"/>
          </p:cNvSpPr>
          <p:nvPr userDrawn="1"/>
        </p:nvSpPr>
        <p:spPr bwMode="auto">
          <a:xfrm>
            <a:off x="5778987" y="453757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1" name="Oval 59"/>
          <p:cNvSpPr>
            <a:spLocks noChangeArrowheads="1"/>
          </p:cNvSpPr>
          <p:nvPr userDrawn="1"/>
        </p:nvSpPr>
        <p:spPr bwMode="auto">
          <a:xfrm>
            <a:off x="5693962"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2" name="Oval 60"/>
          <p:cNvSpPr>
            <a:spLocks noChangeArrowheads="1"/>
          </p:cNvSpPr>
          <p:nvPr userDrawn="1"/>
        </p:nvSpPr>
        <p:spPr bwMode="auto">
          <a:xfrm>
            <a:off x="5866549"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3" name="Oval 61"/>
          <p:cNvSpPr>
            <a:spLocks noChangeArrowheads="1"/>
          </p:cNvSpPr>
          <p:nvPr userDrawn="1"/>
        </p:nvSpPr>
        <p:spPr bwMode="auto">
          <a:xfrm>
            <a:off x="5951574" y="453757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4" name="Oval 62"/>
          <p:cNvSpPr>
            <a:spLocks noChangeArrowheads="1"/>
          </p:cNvSpPr>
          <p:nvPr userDrawn="1"/>
        </p:nvSpPr>
        <p:spPr bwMode="auto">
          <a:xfrm>
            <a:off x="6036598" y="453757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5" name="Oval 63"/>
          <p:cNvSpPr>
            <a:spLocks noChangeArrowheads="1"/>
          </p:cNvSpPr>
          <p:nvPr userDrawn="1"/>
        </p:nvSpPr>
        <p:spPr bwMode="auto">
          <a:xfrm>
            <a:off x="6122892"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6" name="Oval 64"/>
          <p:cNvSpPr>
            <a:spLocks noChangeArrowheads="1"/>
          </p:cNvSpPr>
          <p:nvPr userDrawn="1"/>
        </p:nvSpPr>
        <p:spPr bwMode="auto">
          <a:xfrm>
            <a:off x="6046751" y="462981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7" name="Oval 65"/>
          <p:cNvSpPr>
            <a:spLocks noChangeArrowheads="1"/>
          </p:cNvSpPr>
          <p:nvPr userDrawn="1"/>
        </p:nvSpPr>
        <p:spPr bwMode="auto">
          <a:xfrm>
            <a:off x="6292940" y="453757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8" name="Oval 66"/>
          <p:cNvSpPr>
            <a:spLocks noChangeArrowheads="1"/>
          </p:cNvSpPr>
          <p:nvPr userDrawn="1"/>
        </p:nvSpPr>
        <p:spPr bwMode="auto">
          <a:xfrm>
            <a:off x="6380503"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09" name="Oval 67"/>
          <p:cNvSpPr>
            <a:spLocks noChangeArrowheads="1"/>
          </p:cNvSpPr>
          <p:nvPr userDrawn="1"/>
        </p:nvSpPr>
        <p:spPr bwMode="auto">
          <a:xfrm>
            <a:off x="6465527" y="453757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0" name="Oval 81"/>
          <p:cNvSpPr>
            <a:spLocks noChangeArrowheads="1"/>
          </p:cNvSpPr>
          <p:nvPr userDrawn="1"/>
        </p:nvSpPr>
        <p:spPr bwMode="auto">
          <a:xfrm>
            <a:off x="5608938"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1" name="Oval 82"/>
          <p:cNvSpPr>
            <a:spLocks noChangeArrowheads="1"/>
          </p:cNvSpPr>
          <p:nvPr userDrawn="1"/>
        </p:nvSpPr>
        <p:spPr bwMode="auto">
          <a:xfrm>
            <a:off x="5693962"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2" name="Oval 83"/>
          <p:cNvSpPr>
            <a:spLocks noChangeArrowheads="1"/>
          </p:cNvSpPr>
          <p:nvPr userDrawn="1"/>
        </p:nvSpPr>
        <p:spPr bwMode="auto">
          <a:xfrm>
            <a:off x="5778987" y="462260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3" name="Oval 84"/>
          <p:cNvSpPr>
            <a:spLocks noChangeArrowheads="1"/>
          </p:cNvSpPr>
          <p:nvPr userDrawn="1"/>
        </p:nvSpPr>
        <p:spPr bwMode="auto">
          <a:xfrm>
            <a:off x="5866549"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4" name="Oval 85"/>
          <p:cNvSpPr>
            <a:spLocks noChangeArrowheads="1"/>
          </p:cNvSpPr>
          <p:nvPr userDrawn="1"/>
        </p:nvSpPr>
        <p:spPr bwMode="auto">
          <a:xfrm>
            <a:off x="5951574" y="46226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5" name="Oval 86"/>
          <p:cNvSpPr>
            <a:spLocks noChangeArrowheads="1"/>
          </p:cNvSpPr>
          <p:nvPr userDrawn="1"/>
        </p:nvSpPr>
        <p:spPr bwMode="auto">
          <a:xfrm>
            <a:off x="6036598" y="462260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6" name="Oval 87"/>
          <p:cNvSpPr>
            <a:spLocks noChangeArrowheads="1"/>
          </p:cNvSpPr>
          <p:nvPr userDrawn="1"/>
        </p:nvSpPr>
        <p:spPr bwMode="auto">
          <a:xfrm>
            <a:off x="6122892"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7" name="Oval 88"/>
          <p:cNvSpPr>
            <a:spLocks noChangeArrowheads="1"/>
          </p:cNvSpPr>
          <p:nvPr userDrawn="1"/>
        </p:nvSpPr>
        <p:spPr bwMode="auto">
          <a:xfrm>
            <a:off x="6207916"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8" name="Oval 89"/>
          <p:cNvSpPr>
            <a:spLocks noChangeArrowheads="1"/>
          </p:cNvSpPr>
          <p:nvPr userDrawn="1"/>
        </p:nvSpPr>
        <p:spPr bwMode="auto">
          <a:xfrm>
            <a:off x="6292940" y="462260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19" name="Oval 90"/>
          <p:cNvSpPr>
            <a:spLocks noChangeArrowheads="1"/>
          </p:cNvSpPr>
          <p:nvPr userDrawn="1"/>
        </p:nvSpPr>
        <p:spPr bwMode="auto">
          <a:xfrm>
            <a:off x="6380503"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0" name="Oval 91"/>
          <p:cNvSpPr>
            <a:spLocks noChangeArrowheads="1"/>
          </p:cNvSpPr>
          <p:nvPr userDrawn="1"/>
        </p:nvSpPr>
        <p:spPr bwMode="auto">
          <a:xfrm>
            <a:off x="6465527" y="462260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1" name="Oval 100"/>
          <p:cNvSpPr>
            <a:spLocks noChangeArrowheads="1"/>
          </p:cNvSpPr>
          <p:nvPr userDrawn="1"/>
        </p:nvSpPr>
        <p:spPr bwMode="auto">
          <a:xfrm>
            <a:off x="5608938"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2" name="Oval 101"/>
          <p:cNvSpPr>
            <a:spLocks noChangeArrowheads="1"/>
          </p:cNvSpPr>
          <p:nvPr userDrawn="1"/>
        </p:nvSpPr>
        <p:spPr bwMode="auto">
          <a:xfrm>
            <a:off x="5693962"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3" name="Oval 102"/>
          <p:cNvSpPr>
            <a:spLocks noChangeArrowheads="1"/>
          </p:cNvSpPr>
          <p:nvPr userDrawn="1"/>
        </p:nvSpPr>
        <p:spPr bwMode="auto">
          <a:xfrm>
            <a:off x="5778987" y="470762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4" name="Oval 103"/>
          <p:cNvSpPr>
            <a:spLocks noChangeArrowheads="1"/>
          </p:cNvSpPr>
          <p:nvPr userDrawn="1"/>
        </p:nvSpPr>
        <p:spPr bwMode="auto">
          <a:xfrm>
            <a:off x="5866549"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5" name="Oval 104"/>
          <p:cNvSpPr>
            <a:spLocks noChangeArrowheads="1"/>
          </p:cNvSpPr>
          <p:nvPr userDrawn="1"/>
        </p:nvSpPr>
        <p:spPr bwMode="auto">
          <a:xfrm>
            <a:off x="5951574" y="470762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6" name="Oval 105"/>
          <p:cNvSpPr>
            <a:spLocks noChangeArrowheads="1"/>
          </p:cNvSpPr>
          <p:nvPr userDrawn="1"/>
        </p:nvSpPr>
        <p:spPr bwMode="auto">
          <a:xfrm>
            <a:off x="6036598" y="470762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7" name="Oval 106"/>
          <p:cNvSpPr>
            <a:spLocks noChangeArrowheads="1"/>
          </p:cNvSpPr>
          <p:nvPr userDrawn="1"/>
        </p:nvSpPr>
        <p:spPr bwMode="auto">
          <a:xfrm>
            <a:off x="6122892"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8" name="Oval 107"/>
          <p:cNvSpPr>
            <a:spLocks noChangeArrowheads="1"/>
          </p:cNvSpPr>
          <p:nvPr userDrawn="1"/>
        </p:nvSpPr>
        <p:spPr bwMode="auto">
          <a:xfrm>
            <a:off x="6207916"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29" name="Oval 108"/>
          <p:cNvSpPr>
            <a:spLocks noChangeArrowheads="1"/>
          </p:cNvSpPr>
          <p:nvPr userDrawn="1"/>
        </p:nvSpPr>
        <p:spPr bwMode="auto">
          <a:xfrm>
            <a:off x="6292940" y="470762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0" name="Oval 109"/>
          <p:cNvSpPr>
            <a:spLocks noChangeArrowheads="1"/>
          </p:cNvSpPr>
          <p:nvPr userDrawn="1"/>
        </p:nvSpPr>
        <p:spPr bwMode="auto">
          <a:xfrm>
            <a:off x="6380503"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1" name="Oval 110"/>
          <p:cNvSpPr>
            <a:spLocks noChangeArrowheads="1"/>
          </p:cNvSpPr>
          <p:nvPr userDrawn="1"/>
        </p:nvSpPr>
        <p:spPr bwMode="auto">
          <a:xfrm>
            <a:off x="6465527" y="470762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2" name="Oval 120"/>
          <p:cNvSpPr>
            <a:spLocks noChangeArrowheads="1"/>
          </p:cNvSpPr>
          <p:nvPr userDrawn="1"/>
        </p:nvSpPr>
        <p:spPr bwMode="auto">
          <a:xfrm>
            <a:off x="5608938"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3" name="Oval 121"/>
          <p:cNvSpPr>
            <a:spLocks noChangeArrowheads="1"/>
          </p:cNvSpPr>
          <p:nvPr userDrawn="1"/>
        </p:nvSpPr>
        <p:spPr bwMode="auto">
          <a:xfrm>
            <a:off x="5693962"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4" name="Oval 122"/>
          <p:cNvSpPr>
            <a:spLocks noChangeArrowheads="1"/>
          </p:cNvSpPr>
          <p:nvPr userDrawn="1"/>
        </p:nvSpPr>
        <p:spPr bwMode="auto">
          <a:xfrm>
            <a:off x="5778987" y="47951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5" name="Oval 123"/>
          <p:cNvSpPr>
            <a:spLocks noChangeArrowheads="1"/>
          </p:cNvSpPr>
          <p:nvPr userDrawn="1"/>
        </p:nvSpPr>
        <p:spPr bwMode="auto">
          <a:xfrm>
            <a:off x="5866549"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6" name="Oval 124"/>
          <p:cNvSpPr>
            <a:spLocks noChangeArrowheads="1"/>
          </p:cNvSpPr>
          <p:nvPr userDrawn="1"/>
        </p:nvSpPr>
        <p:spPr bwMode="auto">
          <a:xfrm>
            <a:off x="5951574" y="479518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7" name="Oval 125"/>
          <p:cNvSpPr>
            <a:spLocks noChangeArrowheads="1"/>
          </p:cNvSpPr>
          <p:nvPr userDrawn="1"/>
        </p:nvSpPr>
        <p:spPr bwMode="auto">
          <a:xfrm>
            <a:off x="6036598" y="479518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8" name="Oval 126"/>
          <p:cNvSpPr>
            <a:spLocks noChangeArrowheads="1"/>
          </p:cNvSpPr>
          <p:nvPr userDrawn="1"/>
        </p:nvSpPr>
        <p:spPr bwMode="auto">
          <a:xfrm>
            <a:off x="6122892"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39" name="Oval 127"/>
          <p:cNvSpPr>
            <a:spLocks noChangeArrowheads="1"/>
          </p:cNvSpPr>
          <p:nvPr userDrawn="1"/>
        </p:nvSpPr>
        <p:spPr bwMode="auto">
          <a:xfrm>
            <a:off x="6207916"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0" name="Oval 128"/>
          <p:cNvSpPr>
            <a:spLocks noChangeArrowheads="1"/>
          </p:cNvSpPr>
          <p:nvPr userDrawn="1"/>
        </p:nvSpPr>
        <p:spPr bwMode="auto">
          <a:xfrm>
            <a:off x="6292940" y="479518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1" name="Oval 129"/>
          <p:cNvSpPr>
            <a:spLocks noChangeArrowheads="1"/>
          </p:cNvSpPr>
          <p:nvPr userDrawn="1"/>
        </p:nvSpPr>
        <p:spPr bwMode="auto">
          <a:xfrm>
            <a:off x="6380503"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2" name="Oval 130"/>
          <p:cNvSpPr>
            <a:spLocks noChangeArrowheads="1"/>
          </p:cNvSpPr>
          <p:nvPr userDrawn="1"/>
        </p:nvSpPr>
        <p:spPr bwMode="auto">
          <a:xfrm>
            <a:off x="6465527" y="479518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3" name="Oval 57"/>
          <p:cNvSpPr>
            <a:spLocks noChangeArrowheads="1"/>
          </p:cNvSpPr>
          <p:nvPr userDrawn="1"/>
        </p:nvSpPr>
        <p:spPr bwMode="auto">
          <a:xfrm>
            <a:off x="6552908"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4" name="Oval 58"/>
          <p:cNvSpPr>
            <a:spLocks noChangeArrowheads="1"/>
          </p:cNvSpPr>
          <p:nvPr userDrawn="1"/>
        </p:nvSpPr>
        <p:spPr bwMode="auto">
          <a:xfrm>
            <a:off x="6722957" y="453302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5" name="Oval 59"/>
          <p:cNvSpPr>
            <a:spLocks noChangeArrowheads="1"/>
          </p:cNvSpPr>
          <p:nvPr userDrawn="1"/>
        </p:nvSpPr>
        <p:spPr bwMode="auto">
          <a:xfrm>
            <a:off x="6637932"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6" name="Oval 60"/>
          <p:cNvSpPr>
            <a:spLocks noChangeArrowheads="1"/>
          </p:cNvSpPr>
          <p:nvPr userDrawn="1"/>
        </p:nvSpPr>
        <p:spPr bwMode="auto">
          <a:xfrm>
            <a:off x="6810519"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7" name="Oval 61"/>
          <p:cNvSpPr>
            <a:spLocks noChangeArrowheads="1"/>
          </p:cNvSpPr>
          <p:nvPr userDrawn="1"/>
        </p:nvSpPr>
        <p:spPr bwMode="auto">
          <a:xfrm>
            <a:off x="6895544" y="453302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8" name="Oval 62"/>
          <p:cNvSpPr>
            <a:spLocks noChangeArrowheads="1"/>
          </p:cNvSpPr>
          <p:nvPr userDrawn="1"/>
        </p:nvSpPr>
        <p:spPr bwMode="auto">
          <a:xfrm>
            <a:off x="6980568" y="453302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49" name="Oval 63"/>
          <p:cNvSpPr>
            <a:spLocks noChangeArrowheads="1"/>
          </p:cNvSpPr>
          <p:nvPr userDrawn="1"/>
        </p:nvSpPr>
        <p:spPr bwMode="auto">
          <a:xfrm>
            <a:off x="7066862"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0" name="Oval 64"/>
          <p:cNvSpPr>
            <a:spLocks noChangeArrowheads="1"/>
          </p:cNvSpPr>
          <p:nvPr userDrawn="1"/>
        </p:nvSpPr>
        <p:spPr bwMode="auto">
          <a:xfrm>
            <a:off x="7151886"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1" name="Oval 65"/>
          <p:cNvSpPr>
            <a:spLocks noChangeArrowheads="1"/>
          </p:cNvSpPr>
          <p:nvPr userDrawn="1"/>
        </p:nvSpPr>
        <p:spPr bwMode="auto">
          <a:xfrm>
            <a:off x="7236910" y="453302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2" name="Oval 66"/>
          <p:cNvSpPr>
            <a:spLocks noChangeArrowheads="1"/>
          </p:cNvSpPr>
          <p:nvPr userDrawn="1"/>
        </p:nvSpPr>
        <p:spPr bwMode="auto">
          <a:xfrm>
            <a:off x="7324473"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3" name="Oval 67"/>
          <p:cNvSpPr>
            <a:spLocks noChangeArrowheads="1"/>
          </p:cNvSpPr>
          <p:nvPr userDrawn="1"/>
        </p:nvSpPr>
        <p:spPr bwMode="auto">
          <a:xfrm>
            <a:off x="7409497" y="453302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4" name="Oval 81"/>
          <p:cNvSpPr>
            <a:spLocks noChangeArrowheads="1"/>
          </p:cNvSpPr>
          <p:nvPr userDrawn="1"/>
        </p:nvSpPr>
        <p:spPr bwMode="auto">
          <a:xfrm>
            <a:off x="6552908"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5" name="Oval 82"/>
          <p:cNvSpPr>
            <a:spLocks noChangeArrowheads="1"/>
          </p:cNvSpPr>
          <p:nvPr userDrawn="1"/>
        </p:nvSpPr>
        <p:spPr bwMode="auto">
          <a:xfrm>
            <a:off x="6637932"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6" name="Oval 83"/>
          <p:cNvSpPr>
            <a:spLocks noChangeArrowheads="1"/>
          </p:cNvSpPr>
          <p:nvPr userDrawn="1"/>
        </p:nvSpPr>
        <p:spPr bwMode="auto">
          <a:xfrm>
            <a:off x="6722957" y="461805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7" name="Oval 84"/>
          <p:cNvSpPr>
            <a:spLocks noChangeArrowheads="1"/>
          </p:cNvSpPr>
          <p:nvPr userDrawn="1"/>
        </p:nvSpPr>
        <p:spPr bwMode="auto">
          <a:xfrm>
            <a:off x="6810519"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8" name="Oval 85"/>
          <p:cNvSpPr>
            <a:spLocks noChangeArrowheads="1"/>
          </p:cNvSpPr>
          <p:nvPr userDrawn="1"/>
        </p:nvSpPr>
        <p:spPr bwMode="auto">
          <a:xfrm>
            <a:off x="6895544" y="461805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59" name="Oval 86"/>
          <p:cNvSpPr>
            <a:spLocks noChangeArrowheads="1"/>
          </p:cNvSpPr>
          <p:nvPr userDrawn="1"/>
        </p:nvSpPr>
        <p:spPr bwMode="auto">
          <a:xfrm>
            <a:off x="6980568" y="461805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0" name="Oval 87"/>
          <p:cNvSpPr>
            <a:spLocks noChangeArrowheads="1"/>
          </p:cNvSpPr>
          <p:nvPr userDrawn="1"/>
        </p:nvSpPr>
        <p:spPr bwMode="auto">
          <a:xfrm>
            <a:off x="7066862"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1" name="Oval 88"/>
          <p:cNvSpPr>
            <a:spLocks noChangeArrowheads="1"/>
          </p:cNvSpPr>
          <p:nvPr userDrawn="1"/>
        </p:nvSpPr>
        <p:spPr bwMode="auto">
          <a:xfrm>
            <a:off x="7151886"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2" name="Oval 89"/>
          <p:cNvSpPr>
            <a:spLocks noChangeArrowheads="1"/>
          </p:cNvSpPr>
          <p:nvPr userDrawn="1"/>
        </p:nvSpPr>
        <p:spPr bwMode="auto">
          <a:xfrm>
            <a:off x="7236910" y="461805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3" name="Oval 90"/>
          <p:cNvSpPr>
            <a:spLocks noChangeArrowheads="1"/>
          </p:cNvSpPr>
          <p:nvPr userDrawn="1"/>
        </p:nvSpPr>
        <p:spPr bwMode="auto">
          <a:xfrm>
            <a:off x="7324473"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4" name="Oval 91"/>
          <p:cNvSpPr>
            <a:spLocks noChangeArrowheads="1"/>
          </p:cNvSpPr>
          <p:nvPr userDrawn="1"/>
        </p:nvSpPr>
        <p:spPr bwMode="auto">
          <a:xfrm>
            <a:off x="7409497" y="461805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5" name="Oval 100"/>
          <p:cNvSpPr>
            <a:spLocks noChangeArrowheads="1"/>
          </p:cNvSpPr>
          <p:nvPr userDrawn="1"/>
        </p:nvSpPr>
        <p:spPr bwMode="auto">
          <a:xfrm>
            <a:off x="6552908"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6" name="Oval 101"/>
          <p:cNvSpPr>
            <a:spLocks noChangeArrowheads="1"/>
          </p:cNvSpPr>
          <p:nvPr userDrawn="1"/>
        </p:nvSpPr>
        <p:spPr bwMode="auto">
          <a:xfrm>
            <a:off x="6637932"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7" name="Oval 102"/>
          <p:cNvSpPr>
            <a:spLocks noChangeArrowheads="1"/>
          </p:cNvSpPr>
          <p:nvPr userDrawn="1"/>
        </p:nvSpPr>
        <p:spPr bwMode="auto">
          <a:xfrm>
            <a:off x="6722957" y="470307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8" name="Oval 103"/>
          <p:cNvSpPr>
            <a:spLocks noChangeArrowheads="1"/>
          </p:cNvSpPr>
          <p:nvPr userDrawn="1"/>
        </p:nvSpPr>
        <p:spPr bwMode="auto">
          <a:xfrm>
            <a:off x="6810519"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69" name="Oval 104"/>
          <p:cNvSpPr>
            <a:spLocks noChangeArrowheads="1"/>
          </p:cNvSpPr>
          <p:nvPr userDrawn="1"/>
        </p:nvSpPr>
        <p:spPr bwMode="auto">
          <a:xfrm>
            <a:off x="6895544" y="470307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0" name="Oval 105"/>
          <p:cNvSpPr>
            <a:spLocks noChangeArrowheads="1"/>
          </p:cNvSpPr>
          <p:nvPr userDrawn="1"/>
        </p:nvSpPr>
        <p:spPr bwMode="auto">
          <a:xfrm>
            <a:off x="6980568" y="470307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1" name="Oval 106"/>
          <p:cNvSpPr>
            <a:spLocks noChangeArrowheads="1"/>
          </p:cNvSpPr>
          <p:nvPr userDrawn="1"/>
        </p:nvSpPr>
        <p:spPr bwMode="auto">
          <a:xfrm>
            <a:off x="7066862"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2" name="Oval 107"/>
          <p:cNvSpPr>
            <a:spLocks noChangeArrowheads="1"/>
          </p:cNvSpPr>
          <p:nvPr userDrawn="1"/>
        </p:nvSpPr>
        <p:spPr bwMode="auto">
          <a:xfrm>
            <a:off x="7151886"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3" name="Oval 108"/>
          <p:cNvSpPr>
            <a:spLocks noChangeArrowheads="1"/>
          </p:cNvSpPr>
          <p:nvPr userDrawn="1"/>
        </p:nvSpPr>
        <p:spPr bwMode="auto">
          <a:xfrm>
            <a:off x="7236910" y="470307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4" name="Oval 109"/>
          <p:cNvSpPr>
            <a:spLocks noChangeArrowheads="1"/>
          </p:cNvSpPr>
          <p:nvPr userDrawn="1"/>
        </p:nvSpPr>
        <p:spPr bwMode="auto">
          <a:xfrm>
            <a:off x="7324473"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5" name="Oval 110"/>
          <p:cNvSpPr>
            <a:spLocks noChangeArrowheads="1"/>
          </p:cNvSpPr>
          <p:nvPr userDrawn="1"/>
        </p:nvSpPr>
        <p:spPr bwMode="auto">
          <a:xfrm>
            <a:off x="7409497" y="470307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6" name="Oval 120"/>
          <p:cNvSpPr>
            <a:spLocks noChangeArrowheads="1"/>
          </p:cNvSpPr>
          <p:nvPr userDrawn="1"/>
        </p:nvSpPr>
        <p:spPr bwMode="auto">
          <a:xfrm>
            <a:off x="6552908"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7" name="Oval 121"/>
          <p:cNvSpPr>
            <a:spLocks noChangeArrowheads="1"/>
          </p:cNvSpPr>
          <p:nvPr userDrawn="1"/>
        </p:nvSpPr>
        <p:spPr bwMode="auto">
          <a:xfrm>
            <a:off x="6637932"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8" name="Oval 122"/>
          <p:cNvSpPr>
            <a:spLocks noChangeArrowheads="1"/>
          </p:cNvSpPr>
          <p:nvPr userDrawn="1"/>
        </p:nvSpPr>
        <p:spPr bwMode="auto">
          <a:xfrm>
            <a:off x="6722957" y="47906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79" name="Oval 123"/>
          <p:cNvSpPr>
            <a:spLocks noChangeArrowheads="1"/>
          </p:cNvSpPr>
          <p:nvPr userDrawn="1"/>
        </p:nvSpPr>
        <p:spPr bwMode="auto">
          <a:xfrm>
            <a:off x="6810519"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0" name="Oval 124"/>
          <p:cNvSpPr>
            <a:spLocks noChangeArrowheads="1"/>
          </p:cNvSpPr>
          <p:nvPr userDrawn="1"/>
        </p:nvSpPr>
        <p:spPr bwMode="auto">
          <a:xfrm>
            <a:off x="6895544" y="479063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1" name="Oval 125"/>
          <p:cNvSpPr>
            <a:spLocks noChangeArrowheads="1"/>
          </p:cNvSpPr>
          <p:nvPr userDrawn="1"/>
        </p:nvSpPr>
        <p:spPr bwMode="auto">
          <a:xfrm>
            <a:off x="6980568" y="479063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2" name="Oval 126"/>
          <p:cNvSpPr>
            <a:spLocks noChangeArrowheads="1"/>
          </p:cNvSpPr>
          <p:nvPr userDrawn="1"/>
        </p:nvSpPr>
        <p:spPr bwMode="auto">
          <a:xfrm>
            <a:off x="7066862"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3" name="Oval 127"/>
          <p:cNvSpPr>
            <a:spLocks noChangeArrowheads="1"/>
          </p:cNvSpPr>
          <p:nvPr userDrawn="1"/>
        </p:nvSpPr>
        <p:spPr bwMode="auto">
          <a:xfrm>
            <a:off x="7151886"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4" name="Oval 128"/>
          <p:cNvSpPr>
            <a:spLocks noChangeArrowheads="1"/>
          </p:cNvSpPr>
          <p:nvPr userDrawn="1"/>
        </p:nvSpPr>
        <p:spPr bwMode="auto">
          <a:xfrm>
            <a:off x="7236910" y="479063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5" name="Oval 129"/>
          <p:cNvSpPr>
            <a:spLocks noChangeArrowheads="1"/>
          </p:cNvSpPr>
          <p:nvPr userDrawn="1"/>
        </p:nvSpPr>
        <p:spPr bwMode="auto">
          <a:xfrm>
            <a:off x="7324473"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6" name="Oval 130"/>
          <p:cNvSpPr>
            <a:spLocks noChangeArrowheads="1"/>
          </p:cNvSpPr>
          <p:nvPr userDrawn="1"/>
        </p:nvSpPr>
        <p:spPr bwMode="auto">
          <a:xfrm>
            <a:off x="7409497" y="479063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7" name="Oval 57"/>
          <p:cNvSpPr>
            <a:spLocks noChangeArrowheads="1"/>
          </p:cNvSpPr>
          <p:nvPr userDrawn="1"/>
        </p:nvSpPr>
        <p:spPr bwMode="auto">
          <a:xfrm>
            <a:off x="7496878"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8" name="Oval 58"/>
          <p:cNvSpPr>
            <a:spLocks noChangeArrowheads="1"/>
          </p:cNvSpPr>
          <p:nvPr userDrawn="1"/>
        </p:nvSpPr>
        <p:spPr bwMode="auto">
          <a:xfrm>
            <a:off x="7666927" y="45284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89" name="Oval 59"/>
          <p:cNvSpPr>
            <a:spLocks noChangeArrowheads="1"/>
          </p:cNvSpPr>
          <p:nvPr userDrawn="1"/>
        </p:nvSpPr>
        <p:spPr bwMode="auto">
          <a:xfrm>
            <a:off x="7581902"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0" name="Oval 60"/>
          <p:cNvSpPr>
            <a:spLocks noChangeArrowheads="1"/>
          </p:cNvSpPr>
          <p:nvPr userDrawn="1"/>
        </p:nvSpPr>
        <p:spPr bwMode="auto">
          <a:xfrm>
            <a:off x="7754489"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1" name="Oval 61"/>
          <p:cNvSpPr>
            <a:spLocks noChangeArrowheads="1"/>
          </p:cNvSpPr>
          <p:nvPr userDrawn="1"/>
        </p:nvSpPr>
        <p:spPr bwMode="auto">
          <a:xfrm>
            <a:off x="7839514" y="45284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2" name="Oval 62"/>
          <p:cNvSpPr>
            <a:spLocks noChangeArrowheads="1"/>
          </p:cNvSpPr>
          <p:nvPr userDrawn="1"/>
        </p:nvSpPr>
        <p:spPr bwMode="auto">
          <a:xfrm>
            <a:off x="7924538" y="45284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3" name="Oval 63"/>
          <p:cNvSpPr>
            <a:spLocks noChangeArrowheads="1"/>
          </p:cNvSpPr>
          <p:nvPr userDrawn="1"/>
        </p:nvSpPr>
        <p:spPr bwMode="auto">
          <a:xfrm>
            <a:off x="8010832"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4" name="Oval 64"/>
          <p:cNvSpPr>
            <a:spLocks noChangeArrowheads="1"/>
          </p:cNvSpPr>
          <p:nvPr userDrawn="1"/>
        </p:nvSpPr>
        <p:spPr bwMode="auto">
          <a:xfrm>
            <a:off x="8095856"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5" name="Oval 65"/>
          <p:cNvSpPr>
            <a:spLocks noChangeArrowheads="1"/>
          </p:cNvSpPr>
          <p:nvPr userDrawn="1"/>
        </p:nvSpPr>
        <p:spPr bwMode="auto">
          <a:xfrm>
            <a:off x="8180880" y="45284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6" name="Oval 66"/>
          <p:cNvSpPr>
            <a:spLocks noChangeArrowheads="1"/>
          </p:cNvSpPr>
          <p:nvPr userDrawn="1"/>
        </p:nvSpPr>
        <p:spPr bwMode="auto">
          <a:xfrm>
            <a:off x="8268443"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7" name="Oval 67"/>
          <p:cNvSpPr>
            <a:spLocks noChangeArrowheads="1"/>
          </p:cNvSpPr>
          <p:nvPr userDrawn="1"/>
        </p:nvSpPr>
        <p:spPr bwMode="auto">
          <a:xfrm>
            <a:off x="8353467" y="45284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8" name="Oval 81"/>
          <p:cNvSpPr>
            <a:spLocks noChangeArrowheads="1"/>
          </p:cNvSpPr>
          <p:nvPr userDrawn="1"/>
        </p:nvSpPr>
        <p:spPr bwMode="auto">
          <a:xfrm>
            <a:off x="7496878"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99" name="Oval 82"/>
          <p:cNvSpPr>
            <a:spLocks noChangeArrowheads="1"/>
          </p:cNvSpPr>
          <p:nvPr userDrawn="1"/>
        </p:nvSpPr>
        <p:spPr bwMode="auto">
          <a:xfrm>
            <a:off x="7581902"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0" name="Oval 83"/>
          <p:cNvSpPr>
            <a:spLocks noChangeArrowheads="1"/>
          </p:cNvSpPr>
          <p:nvPr userDrawn="1"/>
        </p:nvSpPr>
        <p:spPr bwMode="auto">
          <a:xfrm>
            <a:off x="7666927" y="46135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1" name="Oval 84"/>
          <p:cNvSpPr>
            <a:spLocks noChangeArrowheads="1"/>
          </p:cNvSpPr>
          <p:nvPr userDrawn="1"/>
        </p:nvSpPr>
        <p:spPr bwMode="auto">
          <a:xfrm>
            <a:off x="7754489"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2" name="Oval 85"/>
          <p:cNvSpPr>
            <a:spLocks noChangeArrowheads="1"/>
          </p:cNvSpPr>
          <p:nvPr userDrawn="1"/>
        </p:nvSpPr>
        <p:spPr bwMode="auto">
          <a:xfrm>
            <a:off x="7839514" y="461350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3" name="Oval 86"/>
          <p:cNvSpPr>
            <a:spLocks noChangeArrowheads="1"/>
          </p:cNvSpPr>
          <p:nvPr userDrawn="1"/>
        </p:nvSpPr>
        <p:spPr bwMode="auto">
          <a:xfrm>
            <a:off x="7924538" y="461350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4" name="Oval 87"/>
          <p:cNvSpPr>
            <a:spLocks noChangeArrowheads="1"/>
          </p:cNvSpPr>
          <p:nvPr userDrawn="1"/>
        </p:nvSpPr>
        <p:spPr bwMode="auto">
          <a:xfrm>
            <a:off x="8010832"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5" name="Oval 88"/>
          <p:cNvSpPr>
            <a:spLocks noChangeArrowheads="1"/>
          </p:cNvSpPr>
          <p:nvPr userDrawn="1"/>
        </p:nvSpPr>
        <p:spPr bwMode="auto">
          <a:xfrm>
            <a:off x="8095856"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6" name="Oval 89"/>
          <p:cNvSpPr>
            <a:spLocks noChangeArrowheads="1"/>
          </p:cNvSpPr>
          <p:nvPr userDrawn="1"/>
        </p:nvSpPr>
        <p:spPr bwMode="auto">
          <a:xfrm>
            <a:off x="8180880" y="461350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7" name="Oval 90"/>
          <p:cNvSpPr>
            <a:spLocks noChangeArrowheads="1"/>
          </p:cNvSpPr>
          <p:nvPr userDrawn="1"/>
        </p:nvSpPr>
        <p:spPr bwMode="auto">
          <a:xfrm>
            <a:off x="8268443"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8" name="Oval 91"/>
          <p:cNvSpPr>
            <a:spLocks noChangeArrowheads="1"/>
          </p:cNvSpPr>
          <p:nvPr userDrawn="1"/>
        </p:nvSpPr>
        <p:spPr bwMode="auto">
          <a:xfrm>
            <a:off x="8353467" y="461350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09" name="Oval 100"/>
          <p:cNvSpPr>
            <a:spLocks noChangeArrowheads="1"/>
          </p:cNvSpPr>
          <p:nvPr userDrawn="1"/>
        </p:nvSpPr>
        <p:spPr bwMode="auto">
          <a:xfrm>
            <a:off x="7496878"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0" name="Oval 101"/>
          <p:cNvSpPr>
            <a:spLocks noChangeArrowheads="1"/>
          </p:cNvSpPr>
          <p:nvPr userDrawn="1"/>
        </p:nvSpPr>
        <p:spPr bwMode="auto">
          <a:xfrm>
            <a:off x="7581902"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1" name="Oval 102"/>
          <p:cNvSpPr>
            <a:spLocks noChangeArrowheads="1"/>
          </p:cNvSpPr>
          <p:nvPr userDrawn="1"/>
        </p:nvSpPr>
        <p:spPr bwMode="auto">
          <a:xfrm>
            <a:off x="7666927" y="46985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2" name="Oval 103"/>
          <p:cNvSpPr>
            <a:spLocks noChangeArrowheads="1"/>
          </p:cNvSpPr>
          <p:nvPr userDrawn="1"/>
        </p:nvSpPr>
        <p:spPr bwMode="auto">
          <a:xfrm>
            <a:off x="7754489"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3" name="Oval 104"/>
          <p:cNvSpPr>
            <a:spLocks noChangeArrowheads="1"/>
          </p:cNvSpPr>
          <p:nvPr userDrawn="1"/>
        </p:nvSpPr>
        <p:spPr bwMode="auto">
          <a:xfrm>
            <a:off x="7839514" y="469852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4" name="Oval 105"/>
          <p:cNvSpPr>
            <a:spLocks noChangeArrowheads="1"/>
          </p:cNvSpPr>
          <p:nvPr userDrawn="1"/>
        </p:nvSpPr>
        <p:spPr bwMode="auto">
          <a:xfrm>
            <a:off x="7924538" y="469852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5" name="Oval 106"/>
          <p:cNvSpPr>
            <a:spLocks noChangeArrowheads="1"/>
          </p:cNvSpPr>
          <p:nvPr userDrawn="1"/>
        </p:nvSpPr>
        <p:spPr bwMode="auto">
          <a:xfrm>
            <a:off x="8010832"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6" name="Oval 107"/>
          <p:cNvSpPr>
            <a:spLocks noChangeArrowheads="1"/>
          </p:cNvSpPr>
          <p:nvPr userDrawn="1"/>
        </p:nvSpPr>
        <p:spPr bwMode="auto">
          <a:xfrm>
            <a:off x="8095856"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7" name="Oval 108"/>
          <p:cNvSpPr>
            <a:spLocks noChangeArrowheads="1"/>
          </p:cNvSpPr>
          <p:nvPr userDrawn="1"/>
        </p:nvSpPr>
        <p:spPr bwMode="auto">
          <a:xfrm>
            <a:off x="8180880" y="469852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8" name="Oval 109"/>
          <p:cNvSpPr>
            <a:spLocks noChangeArrowheads="1"/>
          </p:cNvSpPr>
          <p:nvPr userDrawn="1"/>
        </p:nvSpPr>
        <p:spPr bwMode="auto">
          <a:xfrm>
            <a:off x="8268443"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19" name="Oval 110"/>
          <p:cNvSpPr>
            <a:spLocks noChangeArrowheads="1"/>
          </p:cNvSpPr>
          <p:nvPr userDrawn="1"/>
        </p:nvSpPr>
        <p:spPr bwMode="auto">
          <a:xfrm>
            <a:off x="8353467" y="469852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0" name="Oval 120"/>
          <p:cNvSpPr>
            <a:spLocks noChangeArrowheads="1"/>
          </p:cNvSpPr>
          <p:nvPr userDrawn="1"/>
        </p:nvSpPr>
        <p:spPr bwMode="auto">
          <a:xfrm>
            <a:off x="7496878"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1" name="Oval 121"/>
          <p:cNvSpPr>
            <a:spLocks noChangeArrowheads="1"/>
          </p:cNvSpPr>
          <p:nvPr userDrawn="1"/>
        </p:nvSpPr>
        <p:spPr bwMode="auto">
          <a:xfrm>
            <a:off x="7581902"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2" name="Oval 122"/>
          <p:cNvSpPr>
            <a:spLocks noChangeArrowheads="1"/>
          </p:cNvSpPr>
          <p:nvPr userDrawn="1"/>
        </p:nvSpPr>
        <p:spPr bwMode="auto">
          <a:xfrm>
            <a:off x="7666927" y="47860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3" name="Oval 123"/>
          <p:cNvSpPr>
            <a:spLocks noChangeArrowheads="1"/>
          </p:cNvSpPr>
          <p:nvPr userDrawn="1"/>
        </p:nvSpPr>
        <p:spPr bwMode="auto">
          <a:xfrm>
            <a:off x="7754489"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4" name="Oval 124"/>
          <p:cNvSpPr>
            <a:spLocks noChangeArrowheads="1"/>
          </p:cNvSpPr>
          <p:nvPr userDrawn="1"/>
        </p:nvSpPr>
        <p:spPr bwMode="auto">
          <a:xfrm>
            <a:off x="7839514" y="478609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5" name="Oval 125"/>
          <p:cNvSpPr>
            <a:spLocks noChangeArrowheads="1"/>
          </p:cNvSpPr>
          <p:nvPr userDrawn="1"/>
        </p:nvSpPr>
        <p:spPr bwMode="auto">
          <a:xfrm>
            <a:off x="7924538" y="478609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6" name="Oval 126"/>
          <p:cNvSpPr>
            <a:spLocks noChangeArrowheads="1"/>
          </p:cNvSpPr>
          <p:nvPr userDrawn="1"/>
        </p:nvSpPr>
        <p:spPr bwMode="auto">
          <a:xfrm>
            <a:off x="8010832"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7" name="Oval 127"/>
          <p:cNvSpPr>
            <a:spLocks noChangeArrowheads="1"/>
          </p:cNvSpPr>
          <p:nvPr userDrawn="1"/>
        </p:nvSpPr>
        <p:spPr bwMode="auto">
          <a:xfrm>
            <a:off x="8095856"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8" name="Oval 128"/>
          <p:cNvSpPr>
            <a:spLocks noChangeArrowheads="1"/>
          </p:cNvSpPr>
          <p:nvPr userDrawn="1"/>
        </p:nvSpPr>
        <p:spPr bwMode="auto">
          <a:xfrm>
            <a:off x="8180880" y="478609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29" name="Oval 129"/>
          <p:cNvSpPr>
            <a:spLocks noChangeArrowheads="1"/>
          </p:cNvSpPr>
          <p:nvPr userDrawn="1"/>
        </p:nvSpPr>
        <p:spPr bwMode="auto">
          <a:xfrm>
            <a:off x="8268443"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0" name="Oval 130"/>
          <p:cNvSpPr>
            <a:spLocks noChangeArrowheads="1"/>
          </p:cNvSpPr>
          <p:nvPr userDrawn="1"/>
        </p:nvSpPr>
        <p:spPr bwMode="auto">
          <a:xfrm>
            <a:off x="8353467" y="478609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1" name="Oval 57"/>
          <p:cNvSpPr>
            <a:spLocks noChangeArrowheads="1"/>
          </p:cNvSpPr>
          <p:nvPr userDrawn="1"/>
        </p:nvSpPr>
        <p:spPr bwMode="auto">
          <a:xfrm>
            <a:off x="8440848" y="4523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2" name="Oval 59"/>
          <p:cNvSpPr>
            <a:spLocks noChangeArrowheads="1"/>
          </p:cNvSpPr>
          <p:nvPr userDrawn="1"/>
        </p:nvSpPr>
        <p:spPr bwMode="auto">
          <a:xfrm>
            <a:off x="8525872" y="452393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3" name="Oval 81"/>
          <p:cNvSpPr>
            <a:spLocks noChangeArrowheads="1"/>
          </p:cNvSpPr>
          <p:nvPr userDrawn="1"/>
        </p:nvSpPr>
        <p:spPr bwMode="auto">
          <a:xfrm>
            <a:off x="8440848" y="46089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4" name="Oval 82"/>
          <p:cNvSpPr>
            <a:spLocks noChangeArrowheads="1"/>
          </p:cNvSpPr>
          <p:nvPr userDrawn="1"/>
        </p:nvSpPr>
        <p:spPr bwMode="auto">
          <a:xfrm>
            <a:off x="8525872" y="460895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5" name="Oval 83"/>
          <p:cNvSpPr>
            <a:spLocks noChangeArrowheads="1"/>
          </p:cNvSpPr>
          <p:nvPr userDrawn="1"/>
        </p:nvSpPr>
        <p:spPr bwMode="auto">
          <a:xfrm>
            <a:off x="8610897" y="460895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6" name="Oval 100"/>
          <p:cNvSpPr>
            <a:spLocks noChangeArrowheads="1"/>
          </p:cNvSpPr>
          <p:nvPr userDrawn="1"/>
        </p:nvSpPr>
        <p:spPr bwMode="auto">
          <a:xfrm>
            <a:off x="8440848" y="46939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7" name="Oval 101"/>
          <p:cNvSpPr>
            <a:spLocks noChangeArrowheads="1"/>
          </p:cNvSpPr>
          <p:nvPr userDrawn="1"/>
        </p:nvSpPr>
        <p:spPr bwMode="auto">
          <a:xfrm>
            <a:off x="8525872" y="469397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8" name="Oval 102"/>
          <p:cNvSpPr>
            <a:spLocks noChangeArrowheads="1"/>
          </p:cNvSpPr>
          <p:nvPr userDrawn="1"/>
        </p:nvSpPr>
        <p:spPr bwMode="auto">
          <a:xfrm>
            <a:off x="8610897" y="469397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39" name="Oval 120"/>
          <p:cNvSpPr>
            <a:spLocks noChangeArrowheads="1"/>
          </p:cNvSpPr>
          <p:nvPr userDrawn="1"/>
        </p:nvSpPr>
        <p:spPr bwMode="auto">
          <a:xfrm>
            <a:off x="8440848" y="47815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0" name="Oval 121"/>
          <p:cNvSpPr>
            <a:spLocks noChangeArrowheads="1"/>
          </p:cNvSpPr>
          <p:nvPr userDrawn="1"/>
        </p:nvSpPr>
        <p:spPr bwMode="auto">
          <a:xfrm>
            <a:off x="8525872" y="478154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1" name="Oval 122"/>
          <p:cNvSpPr>
            <a:spLocks noChangeArrowheads="1"/>
          </p:cNvSpPr>
          <p:nvPr userDrawn="1"/>
        </p:nvSpPr>
        <p:spPr bwMode="auto">
          <a:xfrm>
            <a:off x="8610897" y="478154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2" name="Oval 107"/>
          <p:cNvSpPr>
            <a:spLocks noChangeArrowheads="1"/>
          </p:cNvSpPr>
          <p:nvPr userDrawn="1"/>
        </p:nvSpPr>
        <p:spPr bwMode="auto">
          <a:xfrm>
            <a:off x="5263946"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3" name="Oval 108"/>
          <p:cNvSpPr>
            <a:spLocks noChangeArrowheads="1"/>
          </p:cNvSpPr>
          <p:nvPr userDrawn="1"/>
        </p:nvSpPr>
        <p:spPr bwMode="auto">
          <a:xfrm>
            <a:off x="5348970" y="488403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4" name="Oval 109"/>
          <p:cNvSpPr>
            <a:spLocks noChangeArrowheads="1"/>
          </p:cNvSpPr>
          <p:nvPr userDrawn="1"/>
        </p:nvSpPr>
        <p:spPr bwMode="auto">
          <a:xfrm>
            <a:off x="5436533"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5" name="Oval 110"/>
          <p:cNvSpPr>
            <a:spLocks noChangeArrowheads="1"/>
          </p:cNvSpPr>
          <p:nvPr userDrawn="1"/>
        </p:nvSpPr>
        <p:spPr bwMode="auto">
          <a:xfrm>
            <a:off x="5521557" y="488403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6" name="Oval 128"/>
          <p:cNvSpPr>
            <a:spLocks noChangeArrowheads="1"/>
          </p:cNvSpPr>
          <p:nvPr userDrawn="1"/>
        </p:nvSpPr>
        <p:spPr bwMode="auto">
          <a:xfrm>
            <a:off x="5348970" y="497159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7" name="Oval 129"/>
          <p:cNvSpPr>
            <a:spLocks noChangeArrowheads="1"/>
          </p:cNvSpPr>
          <p:nvPr userDrawn="1"/>
        </p:nvSpPr>
        <p:spPr bwMode="auto">
          <a:xfrm>
            <a:off x="5436533" y="497159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8" name="Oval 130"/>
          <p:cNvSpPr>
            <a:spLocks noChangeArrowheads="1"/>
          </p:cNvSpPr>
          <p:nvPr userDrawn="1"/>
        </p:nvSpPr>
        <p:spPr bwMode="auto">
          <a:xfrm>
            <a:off x="5521557" y="497159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49" name="Oval 100"/>
          <p:cNvSpPr>
            <a:spLocks noChangeArrowheads="1"/>
          </p:cNvSpPr>
          <p:nvPr userDrawn="1"/>
        </p:nvSpPr>
        <p:spPr bwMode="auto">
          <a:xfrm>
            <a:off x="5608938"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0" name="Oval 101"/>
          <p:cNvSpPr>
            <a:spLocks noChangeArrowheads="1"/>
          </p:cNvSpPr>
          <p:nvPr userDrawn="1"/>
        </p:nvSpPr>
        <p:spPr bwMode="auto">
          <a:xfrm>
            <a:off x="5693962"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1" name="Oval 102"/>
          <p:cNvSpPr>
            <a:spLocks noChangeArrowheads="1"/>
          </p:cNvSpPr>
          <p:nvPr userDrawn="1"/>
        </p:nvSpPr>
        <p:spPr bwMode="auto">
          <a:xfrm>
            <a:off x="5778987" y="487948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2" name="Oval 103"/>
          <p:cNvSpPr>
            <a:spLocks noChangeArrowheads="1"/>
          </p:cNvSpPr>
          <p:nvPr userDrawn="1"/>
        </p:nvSpPr>
        <p:spPr bwMode="auto">
          <a:xfrm>
            <a:off x="5866549"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3" name="Oval 104"/>
          <p:cNvSpPr>
            <a:spLocks noChangeArrowheads="1"/>
          </p:cNvSpPr>
          <p:nvPr userDrawn="1"/>
        </p:nvSpPr>
        <p:spPr bwMode="auto">
          <a:xfrm>
            <a:off x="5951574" y="487948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4" name="Oval 105"/>
          <p:cNvSpPr>
            <a:spLocks noChangeArrowheads="1"/>
          </p:cNvSpPr>
          <p:nvPr userDrawn="1"/>
        </p:nvSpPr>
        <p:spPr bwMode="auto">
          <a:xfrm>
            <a:off x="6036598" y="487948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5" name="Oval 106"/>
          <p:cNvSpPr>
            <a:spLocks noChangeArrowheads="1"/>
          </p:cNvSpPr>
          <p:nvPr userDrawn="1"/>
        </p:nvSpPr>
        <p:spPr bwMode="auto">
          <a:xfrm>
            <a:off x="6122892"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6" name="Oval 107"/>
          <p:cNvSpPr>
            <a:spLocks noChangeArrowheads="1"/>
          </p:cNvSpPr>
          <p:nvPr userDrawn="1"/>
        </p:nvSpPr>
        <p:spPr bwMode="auto">
          <a:xfrm>
            <a:off x="6207916"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7" name="Oval 108"/>
          <p:cNvSpPr>
            <a:spLocks noChangeArrowheads="1"/>
          </p:cNvSpPr>
          <p:nvPr userDrawn="1"/>
        </p:nvSpPr>
        <p:spPr bwMode="auto">
          <a:xfrm>
            <a:off x="6292940" y="487948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8" name="Oval 109"/>
          <p:cNvSpPr>
            <a:spLocks noChangeArrowheads="1"/>
          </p:cNvSpPr>
          <p:nvPr userDrawn="1"/>
        </p:nvSpPr>
        <p:spPr bwMode="auto">
          <a:xfrm>
            <a:off x="6380503"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59" name="Oval 110"/>
          <p:cNvSpPr>
            <a:spLocks noChangeArrowheads="1"/>
          </p:cNvSpPr>
          <p:nvPr userDrawn="1"/>
        </p:nvSpPr>
        <p:spPr bwMode="auto">
          <a:xfrm>
            <a:off x="6465527" y="487948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0" name="Oval 120"/>
          <p:cNvSpPr>
            <a:spLocks noChangeArrowheads="1"/>
          </p:cNvSpPr>
          <p:nvPr userDrawn="1"/>
        </p:nvSpPr>
        <p:spPr bwMode="auto">
          <a:xfrm>
            <a:off x="5608938"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1" name="Oval 121"/>
          <p:cNvSpPr>
            <a:spLocks noChangeArrowheads="1"/>
          </p:cNvSpPr>
          <p:nvPr userDrawn="1"/>
        </p:nvSpPr>
        <p:spPr bwMode="auto">
          <a:xfrm>
            <a:off x="5693962"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2" name="Oval 122"/>
          <p:cNvSpPr>
            <a:spLocks noChangeArrowheads="1"/>
          </p:cNvSpPr>
          <p:nvPr userDrawn="1"/>
        </p:nvSpPr>
        <p:spPr bwMode="auto">
          <a:xfrm>
            <a:off x="5778987" y="49670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3" name="Oval 123"/>
          <p:cNvSpPr>
            <a:spLocks noChangeArrowheads="1"/>
          </p:cNvSpPr>
          <p:nvPr userDrawn="1"/>
        </p:nvSpPr>
        <p:spPr bwMode="auto">
          <a:xfrm>
            <a:off x="5866549"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4" name="Oval 124"/>
          <p:cNvSpPr>
            <a:spLocks noChangeArrowheads="1"/>
          </p:cNvSpPr>
          <p:nvPr userDrawn="1"/>
        </p:nvSpPr>
        <p:spPr bwMode="auto">
          <a:xfrm>
            <a:off x="5951574" y="496704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5" name="Oval 125"/>
          <p:cNvSpPr>
            <a:spLocks noChangeArrowheads="1"/>
          </p:cNvSpPr>
          <p:nvPr userDrawn="1"/>
        </p:nvSpPr>
        <p:spPr bwMode="auto">
          <a:xfrm>
            <a:off x="6036598" y="496704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6" name="Oval 126"/>
          <p:cNvSpPr>
            <a:spLocks noChangeArrowheads="1"/>
          </p:cNvSpPr>
          <p:nvPr userDrawn="1"/>
        </p:nvSpPr>
        <p:spPr bwMode="auto">
          <a:xfrm>
            <a:off x="6122892"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7" name="Oval 127"/>
          <p:cNvSpPr>
            <a:spLocks noChangeArrowheads="1"/>
          </p:cNvSpPr>
          <p:nvPr userDrawn="1"/>
        </p:nvSpPr>
        <p:spPr bwMode="auto">
          <a:xfrm>
            <a:off x="6207916"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8" name="Oval 128"/>
          <p:cNvSpPr>
            <a:spLocks noChangeArrowheads="1"/>
          </p:cNvSpPr>
          <p:nvPr userDrawn="1"/>
        </p:nvSpPr>
        <p:spPr bwMode="auto">
          <a:xfrm>
            <a:off x="6292940" y="496704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69" name="Oval 129"/>
          <p:cNvSpPr>
            <a:spLocks noChangeArrowheads="1"/>
          </p:cNvSpPr>
          <p:nvPr userDrawn="1"/>
        </p:nvSpPr>
        <p:spPr bwMode="auto">
          <a:xfrm>
            <a:off x="6380503"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0" name="Oval 130"/>
          <p:cNvSpPr>
            <a:spLocks noChangeArrowheads="1"/>
          </p:cNvSpPr>
          <p:nvPr userDrawn="1"/>
        </p:nvSpPr>
        <p:spPr bwMode="auto">
          <a:xfrm>
            <a:off x="6465527" y="496704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1" name="Oval 100"/>
          <p:cNvSpPr>
            <a:spLocks noChangeArrowheads="1"/>
          </p:cNvSpPr>
          <p:nvPr userDrawn="1"/>
        </p:nvSpPr>
        <p:spPr bwMode="auto">
          <a:xfrm>
            <a:off x="6552908"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2" name="Oval 101"/>
          <p:cNvSpPr>
            <a:spLocks noChangeArrowheads="1"/>
          </p:cNvSpPr>
          <p:nvPr userDrawn="1"/>
        </p:nvSpPr>
        <p:spPr bwMode="auto">
          <a:xfrm>
            <a:off x="6637932"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3" name="Oval 102"/>
          <p:cNvSpPr>
            <a:spLocks noChangeArrowheads="1"/>
          </p:cNvSpPr>
          <p:nvPr userDrawn="1"/>
        </p:nvSpPr>
        <p:spPr bwMode="auto">
          <a:xfrm>
            <a:off x="6722957" y="48749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4" name="Oval 103"/>
          <p:cNvSpPr>
            <a:spLocks noChangeArrowheads="1"/>
          </p:cNvSpPr>
          <p:nvPr userDrawn="1"/>
        </p:nvSpPr>
        <p:spPr bwMode="auto">
          <a:xfrm>
            <a:off x="6810519"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5" name="Oval 104"/>
          <p:cNvSpPr>
            <a:spLocks noChangeArrowheads="1"/>
          </p:cNvSpPr>
          <p:nvPr userDrawn="1"/>
        </p:nvSpPr>
        <p:spPr bwMode="auto">
          <a:xfrm>
            <a:off x="6895544" y="4874937"/>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6" name="Oval 105"/>
          <p:cNvSpPr>
            <a:spLocks noChangeArrowheads="1"/>
          </p:cNvSpPr>
          <p:nvPr userDrawn="1"/>
        </p:nvSpPr>
        <p:spPr bwMode="auto">
          <a:xfrm>
            <a:off x="6980568" y="4874937"/>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7" name="Oval 106"/>
          <p:cNvSpPr>
            <a:spLocks noChangeArrowheads="1"/>
          </p:cNvSpPr>
          <p:nvPr userDrawn="1"/>
        </p:nvSpPr>
        <p:spPr bwMode="auto">
          <a:xfrm>
            <a:off x="7066862"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8" name="Oval 107"/>
          <p:cNvSpPr>
            <a:spLocks noChangeArrowheads="1"/>
          </p:cNvSpPr>
          <p:nvPr userDrawn="1"/>
        </p:nvSpPr>
        <p:spPr bwMode="auto">
          <a:xfrm>
            <a:off x="7151886"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79" name="Oval 108"/>
          <p:cNvSpPr>
            <a:spLocks noChangeArrowheads="1"/>
          </p:cNvSpPr>
          <p:nvPr userDrawn="1"/>
        </p:nvSpPr>
        <p:spPr bwMode="auto">
          <a:xfrm>
            <a:off x="7236910" y="4874937"/>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0" name="Oval 109"/>
          <p:cNvSpPr>
            <a:spLocks noChangeArrowheads="1"/>
          </p:cNvSpPr>
          <p:nvPr userDrawn="1"/>
        </p:nvSpPr>
        <p:spPr bwMode="auto">
          <a:xfrm>
            <a:off x="7324473"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1" name="Oval 110"/>
          <p:cNvSpPr>
            <a:spLocks noChangeArrowheads="1"/>
          </p:cNvSpPr>
          <p:nvPr userDrawn="1"/>
        </p:nvSpPr>
        <p:spPr bwMode="auto">
          <a:xfrm>
            <a:off x="7409497" y="4874937"/>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2" name="Oval 120"/>
          <p:cNvSpPr>
            <a:spLocks noChangeArrowheads="1"/>
          </p:cNvSpPr>
          <p:nvPr userDrawn="1"/>
        </p:nvSpPr>
        <p:spPr bwMode="auto">
          <a:xfrm>
            <a:off x="6552908"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3" name="Oval 121"/>
          <p:cNvSpPr>
            <a:spLocks noChangeArrowheads="1"/>
          </p:cNvSpPr>
          <p:nvPr userDrawn="1"/>
        </p:nvSpPr>
        <p:spPr bwMode="auto">
          <a:xfrm>
            <a:off x="6637932"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4" name="Oval 122"/>
          <p:cNvSpPr>
            <a:spLocks noChangeArrowheads="1"/>
          </p:cNvSpPr>
          <p:nvPr userDrawn="1"/>
        </p:nvSpPr>
        <p:spPr bwMode="auto">
          <a:xfrm>
            <a:off x="6722957" y="49624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5" name="Oval 123"/>
          <p:cNvSpPr>
            <a:spLocks noChangeArrowheads="1"/>
          </p:cNvSpPr>
          <p:nvPr userDrawn="1"/>
        </p:nvSpPr>
        <p:spPr bwMode="auto">
          <a:xfrm>
            <a:off x="6810519"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6" name="Oval 124"/>
          <p:cNvSpPr>
            <a:spLocks noChangeArrowheads="1"/>
          </p:cNvSpPr>
          <p:nvPr userDrawn="1"/>
        </p:nvSpPr>
        <p:spPr bwMode="auto">
          <a:xfrm>
            <a:off x="6895544" y="496249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7" name="Oval 125"/>
          <p:cNvSpPr>
            <a:spLocks noChangeArrowheads="1"/>
          </p:cNvSpPr>
          <p:nvPr userDrawn="1"/>
        </p:nvSpPr>
        <p:spPr bwMode="auto">
          <a:xfrm>
            <a:off x="6980568" y="496249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8" name="Oval 126"/>
          <p:cNvSpPr>
            <a:spLocks noChangeArrowheads="1"/>
          </p:cNvSpPr>
          <p:nvPr userDrawn="1"/>
        </p:nvSpPr>
        <p:spPr bwMode="auto">
          <a:xfrm>
            <a:off x="7066862"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89" name="Oval 127"/>
          <p:cNvSpPr>
            <a:spLocks noChangeArrowheads="1"/>
          </p:cNvSpPr>
          <p:nvPr userDrawn="1"/>
        </p:nvSpPr>
        <p:spPr bwMode="auto">
          <a:xfrm>
            <a:off x="7151886"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0" name="Oval 128"/>
          <p:cNvSpPr>
            <a:spLocks noChangeArrowheads="1"/>
          </p:cNvSpPr>
          <p:nvPr userDrawn="1"/>
        </p:nvSpPr>
        <p:spPr bwMode="auto">
          <a:xfrm>
            <a:off x="7236910" y="496249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1" name="Oval 129"/>
          <p:cNvSpPr>
            <a:spLocks noChangeArrowheads="1"/>
          </p:cNvSpPr>
          <p:nvPr userDrawn="1"/>
        </p:nvSpPr>
        <p:spPr bwMode="auto">
          <a:xfrm>
            <a:off x="7324473"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2" name="Oval 130"/>
          <p:cNvSpPr>
            <a:spLocks noChangeArrowheads="1"/>
          </p:cNvSpPr>
          <p:nvPr userDrawn="1"/>
        </p:nvSpPr>
        <p:spPr bwMode="auto">
          <a:xfrm>
            <a:off x="7409497" y="496249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3" name="Oval 100"/>
          <p:cNvSpPr>
            <a:spLocks noChangeArrowheads="1"/>
          </p:cNvSpPr>
          <p:nvPr userDrawn="1"/>
        </p:nvSpPr>
        <p:spPr bwMode="auto">
          <a:xfrm>
            <a:off x="7496878"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4" name="Oval 101"/>
          <p:cNvSpPr>
            <a:spLocks noChangeArrowheads="1"/>
          </p:cNvSpPr>
          <p:nvPr userDrawn="1"/>
        </p:nvSpPr>
        <p:spPr bwMode="auto">
          <a:xfrm>
            <a:off x="7581902"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5" name="Oval 102"/>
          <p:cNvSpPr>
            <a:spLocks noChangeArrowheads="1"/>
          </p:cNvSpPr>
          <p:nvPr userDrawn="1"/>
        </p:nvSpPr>
        <p:spPr bwMode="auto">
          <a:xfrm>
            <a:off x="7666927" y="4870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6" name="Oval 103"/>
          <p:cNvSpPr>
            <a:spLocks noChangeArrowheads="1"/>
          </p:cNvSpPr>
          <p:nvPr userDrawn="1"/>
        </p:nvSpPr>
        <p:spPr bwMode="auto">
          <a:xfrm>
            <a:off x="7754489"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7" name="Oval 104"/>
          <p:cNvSpPr>
            <a:spLocks noChangeArrowheads="1"/>
          </p:cNvSpPr>
          <p:nvPr userDrawn="1"/>
        </p:nvSpPr>
        <p:spPr bwMode="auto">
          <a:xfrm>
            <a:off x="7839514" y="4870388"/>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8" name="Oval 105"/>
          <p:cNvSpPr>
            <a:spLocks noChangeArrowheads="1"/>
          </p:cNvSpPr>
          <p:nvPr userDrawn="1"/>
        </p:nvSpPr>
        <p:spPr bwMode="auto">
          <a:xfrm>
            <a:off x="7924538" y="4870388"/>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799" name="Oval 106"/>
          <p:cNvSpPr>
            <a:spLocks noChangeArrowheads="1"/>
          </p:cNvSpPr>
          <p:nvPr userDrawn="1"/>
        </p:nvSpPr>
        <p:spPr bwMode="auto">
          <a:xfrm>
            <a:off x="8010832"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0" name="Oval 107"/>
          <p:cNvSpPr>
            <a:spLocks noChangeArrowheads="1"/>
          </p:cNvSpPr>
          <p:nvPr userDrawn="1"/>
        </p:nvSpPr>
        <p:spPr bwMode="auto">
          <a:xfrm>
            <a:off x="8095856"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1" name="Oval 108"/>
          <p:cNvSpPr>
            <a:spLocks noChangeArrowheads="1"/>
          </p:cNvSpPr>
          <p:nvPr userDrawn="1"/>
        </p:nvSpPr>
        <p:spPr bwMode="auto">
          <a:xfrm>
            <a:off x="8180880" y="4870388"/>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2" name="Oval 109"/>
          <p:cNvSpPr>
            <a:spLocks noChangeArrowheads="1"/>
          </p:cNvSpPr>
          <p:nvPr userDrawn="1"/>
        </p:nvSpPr>
        <p:spPr bwMode="auto">
          <a:xfrm>
            <a:off x="8268443"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3" name="Oval 110"/>
          <p:cNvSpPr>
            <a:spLocks noChangeArrowheads="1"/>
          </p:cNvSpPr>
          <p:nvPr userDrawn="1"/>
        </p:nvSpPr>
        <p:spPr bwMode="auto">
          <a:xfrm>
            <a:off x="8353467" y="487038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4" name="Oval 120"/>
          <p:cNvSpPr>
            <a:spLocks noChangeArrowheads="1"/>
          </p:cNvSpPr>
          <p:nvPr userDrawn="1"/>
        </p:nvSpPr>
        <p:spPr bwMode="auto">
          <a:xfrm>
            <a:off x="7496878"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5" name="Oval 121"/>
          <p:cNvSpPr>
            <a:spLocks noChangeArrowheads="1"/>
          </p:cNvSpPr>
          <p:nvPr userDrawn="1"/>
        </p:nvSpPr>
        <p:spPr bwMode="auto">
          <a:xfrm>
            <a:off x="7581902"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6" name="Oval 122"/>
          <p:cNvSpPr>
            <a:spLocks noChangeArrowheads="1"/>
          </p:cNvSpPr>
          <p:nvPr userDrawn="1"/>
        </p:nvSpPr>
        <p:spPr bwMode="auto">
          <a:xfrm>
            <a:off x="7666927" y="4957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7" name="Oval 123"/>
          <p:cNvSpPr>
            <a:spLocks noChangeArrowheads="1"/>
          </p:cNvSpPr>
          <p:nvPr userDrawn="1"/>
        </p:nvSpPr>
        <p:spPr bwMode="auto">
          <a:xfrm>
            <a:off x="7754489"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8" name="Oval 124"/>
          <p:cNvSpPr>
            <a:spLocks noChangeArrowheads="1"/>
          </p:cNvSpPr>
          <p:nvPr userDrawn="1"/>
        </p:nvSpPr>
        <p:spPr bwMode="auto">
          <a:xfrm>
            <a:off x="7839514" y="495795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09" name="Oval 125"/>
          <p:cNvSpPr>
            <a:spLocks noChangeArrowheads="1"/>
          </p:cNvSpPr>
          <p:nvPr userDrawn="1"/>
        </p:nvSpPr>
        <p:spPr bwMode="auto">
          <a:xfrm>
            <a:off x="7924538" y="495795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0" name="Oval 126"/>
          <p:cNvSpPr>
            <a:spLocks noChangeArrowheads="1"/>
          </p:cNvSpPr>
          <p:nvPr userDrawn="1"/>
        </p:nvSpPr>
        <p:spPr bwMode="auto">
          <a:xfrm>
            <a:off x="8010832"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1" name="Oval 127"/>
          <p:cNvSpPr>
            <a:spLocks noChangeArrowheads="1"/>
          </p:cNvSpPr>
          <p:nvPr userDrawn="1"/>
        </p:nvSpPr>
        <p:spPr bwMode="auto">
          <a:xfrm>
            <a:off x="8095856"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2" name="Oval 128"/>
          <p:cNvSpPr>
            <a:spLocks noChangeArrowheads="1"/>
          </p:cNvSpPr>
          <p:nvPr userDrawn="1"/>
        </p:nvSpPr>
        <p:spPr bwMode="auto">
          <a:xfrm>
            <a:off x="8180880" y="495795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3" name="Oval 129"/>
          <p:cNvSpPr>
            <a:spLocks noChangeArrowheads="1"/>
          </p:cNvSpPr>
          <p:nvPr userDrawn="1"/>
        </p:nvSpPr>
        <p:spPr bwMode="auto">
          <a:xfrm>
            <a:off x="8268443"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4" name="Oval 130"/>
          <p:cNvSpPr>
            <a:spLocks noChangeArrowheads="1"/>
          </p:cNvSpPr>
          <p:nvPr userDrawn="1"/>
        </p:nvSpPr>
        <p:spPr bwMode="auto">
          <a:xfrm>
            <a:off x="8353467" y="495795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5" name="Oval 100"/>
          <p:cNvSpPr>
            <a:spLocks noChangeArrowheads="1"/>
          </p:cNvSpPr>
          <p:nvPr userDrawn="1"/>
        </p:nvSpPr>
        <p:spPr bwMode="auto">
          <a:xfrm>
            <a:off x="8440848" y="4865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6" name="Oval 101"/>
          <p:cNvSpPr>
            <a:spLocks noChangeArrowheads="1"/>
          </p:cNvSpPr>
          <p:nvPr userDrawn="1"/>
        </p:nvSpPr>
        <p:spPr bwMode="auto">
          <a:xfrm>
            <a:off x="8525872" y="486583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7" name="Oval 102"/>
          <p:cNvSpPr>
            <a:spLocks noChangeArrowheads="1"/>
          </p:cNvSpPr>
          <p:nvPr userDrawn="1"/>
        </p:nvSpPr>
        <p:spPr bwMode="auto">
          <a:xfrm>
            <a:off x="8610897" y="486583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8" name="Oval 120"/>
          <p:cNvSpPr>
            <a:spLocks noChangeArrowheads="1"/>
          </p:cNvSpPr>
          <p:nvPr userDrawn="1"/>
        </p:nvSpPr>
        <p:spPr bwMode="auto">
          <a:xfrm>
            <a:off x="8440848"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19" name="Oval 121"/>
          <p:cNvSpPr>
            <a:spLocks noChangeArrowheads="1"/>
          </p:cNvSpPr>
          <p:nvPr userDrawn="1"/>
        </p:nvSpPr>
        <p:spPr bwMode="auto">
          <a:xfrm>
            <a:off x="8525872"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0" name="Oval 122"/>
          <p:cNvSpPr>
            <a:spLocks noChangeArrowheads="1"/>
          </p:cNvSpPr>
          <p:nvPr userDrawn="1"/>
        </p:nvSpPr>
        <p:spPr bwMode="auto">
          <a:xfrm>
            <a:off x="8610897" y="495340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1" name="Oval 123"/>
          <p:cNvSpPr>
            <a:spLocks noChangeArrowheads="1"/>
          </p:cNvSpPr>
          <p:nvPr userDrawn="1"/>
        </p:nvSpPr>
        <p:spPr bwMode="auto">
          <a:xfrm>
            <a:off x="8698459" y="495340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2" name="Oval 66"/>
          <p:cNvSpPr>
            <a:spLocks noChangeArrowheads="1"/>
          </p:cNvSpPr>
          <p:nvPr userDrawn="1"/>
        </p:nvSpPr>
        <p:spPr bwMode="auto">
          <a:xfrm>
            <a:off x="5436533" y="5055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3" name="Oval 67"/>
          <p:cNvSpPr>
            <a:spLocks noChangeArrowheads="1"/>
          </p:cNvSpPr>
          <p:nvPr userDrawn="1"/>
        </p:nvSpPr>
        <p:spPr bwMode="auto">
          <a:xfrm>
            <a:off x="5521557" y="50551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4" name="Oval 57"/>
          <p:cNvSpPr>
            <a:spLocks noChangeArrowheads="1"/>
          </p:cNvSpPr>
          <p:nvPr userDrawn="1"/>
        </p:nvSpPr>
        <p:spPr bwMode="auto">
          <a:xfrm>
            <a:off x="5608938"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5" name="Oval 58"/>
          <p:cNvSpPr>
            <a:spLocks noChangeArrowheads="1"/>
          </p:cNvSpPr>
          <p:nvPr userDrawn="1"/>
        </p:nvSpPr>
        <p:spPr bwMode="auto">
          <a:xfrm>
            <a:off x="5778987" y="5050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6" name="Oval 59"/>
          <p:cNvSpPr>
            <a:spLocks noChangeArrowheads="1"/>
          </p:cNvSpPr>
          <p:nvPr userDrawn="1"/>
        </p:nvSpPr>
        <p:spPr bwMode="auto">
          <a:xfrm>
            <a:off x="5693962"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7" name="Oval 60"/>
          <p:cNvSpPr>
            <a:spLocks noChangeArrowheads="1"/>
          </p:cNvSpPr>
          <p:nvPr userDrawn="1"/>
        </p:nvSpPr>
        <p:spPr bwMode="auto">
          <a:xfrm>
            <a:off x="5866549"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8" name="Oval 61"/>
          <p:cNvSpPr>
            <a:spLocks noChangeArrowheads="1"/>
          </p:cNvSpPr>
          <p:nvPr userDrawn="1"/>
        </p:nvSpPr>
        <p:spPr bwMode="auto">
          <a:xfrm>
            <a:off x="5951574" y="505063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29" name="Oval 62"/>
          <p:cNvSpPr>
            <a:spLocks noChangeArrowheads="1"/>
          </p:cNvSpPr>
          <p:nvPr userDrawn="1"/>
        </p:nvSpPr>
        <p:spPr bwMode="auto">
          <a:xfrm>
            <a:off x="6036598" y="505063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0" name="Oval 63"/>
          <p:cNvSpPr>
            <a:spLocks noChangeArrowheads="1"/>
          </p:cNvSpPr>
          <p:nvPr userDrawn="1"/>
        </p:nvSpPr>
        <p:spPr bwMode="auto">
          <a:xfrm>
            <a:off x="6122892"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1" name="Oval 64"/>
          <p:cNvSpPr>
            <a:spLocks noChangeArrowheads="1"/>
          </p:cNvSpPr>
          <p:nvPr userDrawn="1"/>
        </p:nvSpPr>
        <p:spPr bwMode="auto">
          <a:xfrm>
            <a:off x="6207916"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2" name="Oval 65"/>
          <p:cNvSpPr>
            <a:spLocks noChangeArrowheads="1"/>
          </p:cNvSpPr>
          <p:nvPr userDrawn="1"/>
        </p:nvSpPr>
        <p:spPr bwMode="auto">
          <a:xfrm>
            <a:off x="6292940" y="505063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3" name="Oval 66"/>
          <p:cNvSpPr>
            <a:spLocks noChangeArrowheads="1"/>
          </p:cNvSpPr>
          <p:nvPr userDrawn="1"/>
        </p:nvSpPr>
        <p:spPr bwMode="auto">
          <a:xfrm>
            <a:off x="6380503"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4" name="Oval 67"/>
          <p:cNvSpPr>
            <a:spLocks noChangeArrowheads="1"/>
          </p:cNvSpPr>
          <p:nvPr userDrawn="1"/>
        </p:nvSpPr>
        <p:spPr bwMode="auto">
          <a:xfrm>
            <a:off x="6465527" y="505063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5" name="Oval 82"/>
          <p:cNvSpPr>
            <a:spLocks noChangeArrowheads="1"/>
          </p:cNvSpPr>
          <p:nvPr userDrawn="1"/>
        </p:nvSpPr>
        <p:spPr bwMode="auto">
          <a:xfrm>
            <a:off x="5693962"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6" name="Oval 84"/>
          <p:cNvSpPr>
            <a:spLocks noChangeArrowheads="1"/>
          </p:cNvSpPr>
          <p:nvPr userDrawn="1"/>
        </p:nvSpPr>
        <p:spPr bwMode="auto">
          <a:xfrm>
            <a:off x="5866549"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7" name="Oval 85"/>
          <p:cNvSpPr>
            <a:spLocks noChangeArrowheads="1"/>
          </p:cNvSpPr>
          <p:nvPr userDrawn="1"/>
        </p:nvSpPr>
        <p:spPr bwMode="auto">
          <a:xfrm>
            <a:off x="5951574" y="51356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8" name="Oval 86"/>
          <p:cNvSpPr>
            <a:spLocks noChangeArrowheads="1"/>
          </p:cNvSpPr>
          <p:nvPr userDrawn="1"/>
        </p:nvSpPr>
        <p:spPr bwMode="auto">
          <a:xfrm>
            <a:off x="6036598" y="51356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39" name="Oval 87"/>
          <p:cNvSpPr>
            <a:spLocks noChangeArrowheads="1"/>
          </p:cNvSpPr>
          <p:nvPr userDrawn="1"/>
        </p:nvSpPr>
        <p:spPr bwMode="auto">
          <a:xfrm>
            <a:off x="6122892"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0" name="Oval 88"/>
          <p:cNvSpPr>
            <a:spLocks noChangeArrowheads="1"/>
          </p:cNvSpPr>
          <p:nvPr userDrawn="1"/>
        </p:nvSpPr>
        <p:spPr bwMode="auto">
          <a:xfrm>
            <a:off x="6207916"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1" name="Oval 89"/>
          <p:cNvSpPr>
            <a:spLocks noChangeArrowheads="1"/>
          </p:cNvSpPr>
          <p:nvPr userDrawn="1"/>
        </p:nvSpPr>
        <p:spPr bwMode="auto">
          <a:xfrm>
            <a:off x="6292940" y="513565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2" name="Oval 90"/>
          <p:cNvSpPr>
            <a:spLocks noChangeArrowheads="1"/>
          </p:cNvSpPr>
          <p:nvPr userDrawn="1"/>
        </p:nvSpPr>
        <p:spPr bwMode="auto">
          <a:xfrm>
            <a:off x="6380503"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3" name="Oval 91"/>
          <p:cNvSpPr>
            <a:spLocks noChangeArrowheads="1"/>
          </p:cNvSpPr>
          <p:nvPr userDrawn="1"/>
        </p:nvSpPr>
        <p:spPr bwMode="auto">
          <a:xfrm>
            <a:off x="6465527" y="51356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4" name="Oval 104"/>
          <p:cNvSpPr>
            <a:spLocks noChangeArrowheads="1"/>
          </p:cNvSpPr>
          <p:nvPr userDrawn="1"/>
        </p:nvSpPr>
        <p:spPr bwMode="auto">
          <a:xfrm>
            <a:off x="5951574" y="522068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5" name="Oval 105"/>
          <p:cNvSpPr>
            <a:spLocks noChangeArrowheads="1"/>
          </p:cNvSpPr>
          <p:nvPr userDrawn="1"/>
        </p:nvSpPr>
        <p:spPr bwMode="auto">
          <a:xfrm>
            <a:off x="6036598" y="522068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6" name="Oval 106"/>
          <p:cNvSpPr>
            <a:spLocks noChangeArrowheads="1"/>
          </p:cNvSpPr>
          <p:nvPr userDrawn="1"/>
        </p:nvSpPr>
        <p:spPr bwMode="auto">
          <a:xfrm>
            <a:off x="6122892"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7" name="Oval 107"/>
          <p:cNvSpPr>
            <a:spLocks noChangeArrowheads="1"/>
          </p:cNvSpPr>
          <p:nvPr userDrawn="1"/>
        </p:nvSpPr>
        <p:spPr bwMode="auto">
          <a:xfrm>
            <a:off x="6207916"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8" name="Oval 108"/>
          <p:cNvSpPr>
            <a:spLocks noChangeArrowheads="1"/>
          </p:cNvSpPr>
          <p:nvPr userDrawn="1"/>
        </p:nvSpPr>
        <p:spPr bwMode="auto">
          <a:xfrm>
            <a:off x="6292940" y="522068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49" name="Oval 109"/>
          <p:cNvSpPr>
            <a:spLocks noChangeArrowheads="1"/>
          </p:cNvSpPr>
          <p:nvPr userDrawn="1"/>
        </p:nvSpPr>
        <p:spPr bwMode="auto">
          <a:xfrm>
            <a:off x="6380503" y="522068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0" name="Oval 57"/>
          <p:cNvSpPr>
            <a:spLocks noChangeArrowheads="1"/>
          </p:cNvSpPr>
          <p:nvPr userDrawn="1"/>
        </p:nvSpPr>
        <p:spPr bwMode="auto">
          <a:xfrm>
            <a:off x="6552908"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1" name="Oval 58"/>
          <p:cNvSpPr>
            <a:spLocks noChangeArrowheads="1"/>
          </p:cNvSpPr>
          <p:nvPr userDrawn="1"/>
        </p:nvSpPr>
        <p:spPr bwMode="auto">
          <a:xfrm>
            <a:off x="6722957" y="5046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2" name="Oval 59"/>
          <p:cNvSpPr>
            <a:spLocks noChangeArrowheads="1"/>
          </p:cNvSpPr>
          <p:nvPr userDrawn="1"/>
        </p:nvSpPr>
        <p:spPr bwMode="auto">
          <a:xfrm>
            <a:off x="6637932"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3" name="Oval 60"/>
          <p:cNvSpPr>
            <a:spLocks noChangeArrowheads="1"/>
          </p:cNvSpPr>
          <p:nvPr userDrawn="1"/>
        </p:nvSpPr>
        <p:spPr bwMode="auto">
          <a:xfrm>
            <a:off x="6810519"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4" name="Oval 61"/>
          <p:cNvSpPr>
            <a:spLocks noChangeArrowheads="1"/>
          </p:cNvSpPr>
          <p:nvPr userDrawn="1"/>
        </p:nvSpPr>
        <p:spPr bwMode="auto">
          <a:xfrm>
            <a:off x="6895544" y="504608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5" name="Oval 62"/>
          <p:cNvSpPr>
            <a:spLocks noChangeArrowheads="1"/>
          </p:cNvSpPr>
          <p:nvPr userDrawn="1"/>
        </p:nvSpPr>
        <p:spPr bwMode="auto">
          <a:xfrm>
            <a:off x="6980568" y="504608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6" name="Oval 63"/>
          <p:cNvSpPr>
            <a:spLocks noChangeArrowheads="1"/>
          </p:cNvSpPr>
          <p:nvPr userDrawn="1"/>
        </p:nvSpPr>
        <p:spPr bwMode="auto">
          <a:xfrm>
            <a:off x="7066862"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7" name="Oval 64"/>
          <p:cNvSpPr>
            <a:spLocks noChangeArrowheads="1"/>
          </p:cNvSpPr>
          <p:nvPr userDrawn="1"/>
        </p:nvSpPr>
        <p:spPr bwMode="auto">
          <a:xfrm>
            <a:off x="7151886"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8" name="Oval 65"/>
          <p:cNvSpPr>
            <a:spLocks noChangeArrowheads="1"/>
          </p:cNvSpPr>
          <p:nvPr userDrawn="1"/>
        </p:nvSpPr>
        <p:spPr bwMode="auto">
          <a:xfrm>
            <a:off x="7236910" y="504608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59" name="Oval 66"/>
          <p:cNvSpPr>
            <a:spLocks noChangeArrowheads="1"/>
          </p:cNvSpPr>
          <p:nvPr userDrawn="1"/>
        </p:nvSpPr>
        <p:spPr bwMode="auto">
          <a:xfrm>
            <a:off x="7324473"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0" name="Oval 67"/>
          <p:cNvSpPr>
            <a:spLocks noChangeArrowheads="1"/>
          </p:cNvSpPr>
          <p:nvPr userDrawn="1"/>
        </p:nvSpPr>
        <p:spPr bwMode="auto">
          <a:xfrm>
            <a:off x="7409497" y="504608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1" name="Oval 81"/>
          <p:cNvSpPr>
            <a:spLocks noChangeArrowheads="1"/>
          </p:cNvSpPr>
          <p:nvPr userDrawn="1"/>
        </p:nvSpPr>
        <p:spPr bwMode="auto">
          <a:xfrm>
            <a:off x="6552908"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2" name="Oval 82"/>
          <p:cNvSpPr>
            <a:spLocks noChangeArrowheads="1"/>
          </p:cNvSpPr>
          <p:nvPr userDrawn="1"/>
        </p:nvSpPr>
        <p:spPr bwMode="auto">
          <a:xfrm>
            <a:off x="6637932"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3" name="Oval 83"/>
          <p:cNvSpPr>
            <a:spLocks noChangeArrowheads="1"/>
          </p:cNvSpPr>
          <p:nvPr userDrawn="1"/>
        </p:nvSpPr>
        <p:spPr bwMode="auto">
          <a:xfrm>
            <a:off x="6722957" y="51311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4" name="Oval 84"/>
          <p:cNvSpPr>
            <a:spLocks noChangeArrowheads="1"/>
          </p:cNvSpPr>
          <p:nvPr userDrawn="1"/>
        </p:nvSpPr>
        <p:spPr bwMode="auto">
          <a:xfrm>
            <a:off x="6810519"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5" name="Oval 85"/>
          <p:cNvSpPr>
            <a:spLocks noChangeArrowheads="1"/>
          </p:cNvSpPr>
          <p:nvPr userDrawn="1"/>
        </p:nvSpPr>
        <p:spPr bwMode="auto">
          <a:xfrm>
            <a:off x="6895544" y="513110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6" name="Oval 86"/>
          <p:cNvSpPr>
            <a:spLocks noChangeArrowheads="1"/>
          </p:cNvSpPr>
          <p:nvPr userDrawn="1"/>
        </p:nvSpPr>
        <p:spPr bwMode="auto">
          <a:xfrm>
            <a:off x="6980568" y="513110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7" name="Oval 87"/>
          <p:cNvSpPr>
            <a:spLocks noChangeArrowheads="1"/>
          </p:cNvSpPr>
          <p:nvPr userDrawn="1"/>
        </p:nvSpPr>
        <p:spPr bwMode="auto">
          <a:xfrm>
            <a:off x="7066862"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8" name="Oval 88"/>
          <p:cNvSpPr>
            <a:spLocks noChangeArrowheads="1"/>
          </p:cNvSpPr>
          <p:nvPr userDrawn="1"/>
        </p:nvSpPr>
        <p:spPr bwMode="auto">
          <a:xfrm>
            <a:off x="7151886"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69" name="Oval 89"/>
          <p:cNvSpPr>
            <a:spLocks noChangeArrowheads="1"/>
          </p:cNvSpPr>
          <p:nvPr userDrawn="1"/>
        </p:nvSpPr>
        <p:spPr bwMode="auto">
          <a:xfrm>
            <a:off x="7236910" y="513110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0" name="Oval 90"/>
          <p:cNvSpPr>
            <a:spLocks noChangeArrowheads="1"/>
          </p:cNvSpPr>
          <p:nvPr userDrawn="1"/>
        </p:nvSpPr>
        <p:spPr bwMode="auto">
          <a:xfrm>
            <a:off x="7324473"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1" name="Oval 91"/>
          <p:cNvSpPr>
            <a:spLocks noChangeArrowheads="1"/>
          </p:cNvSpPr>
          <p:nvPr userDrawn="1"/>
        </p:nvSpPr>
        <p:spPr bwMode="auto">
          <a:xfrm>
            <a:off x="7409497" y="513110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2" name="Oval 101"/>
          <p:cNvSpPr>
            <a:spLocks noChangeArrowheads="1"/>
          </p:cNvSpPr>
          <p:nvPr userDrawn="1"/>
        </p:nvSpPr>
        <p:spPr bwMode="auto">
          <a:xfrm>
            <a:off x="6637932"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3" name="Oval 102"/>
          <p:cNvSpPr>
            <a:spLocks noChangeArrowheads="1"/>
          </p:cNvSpPr>
          <p:nvPr userDrawn="1"/>
        </p:nvSpPr>
        <p:spPr bwMode="auto">
          <a:xfrm>
            <a:off x="6722957" y="521613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4" name="Oval 103"/>
          <p:cNvSpPr>
            <a:spLocks noChangeArrowheads="1"/>
          </p:cNvSpPr>
          <p:nvPr userDrawn="1"/>
        </p:nvSpPr>
        <p:spPr bwMode="auto">
          <a:xfrm>
            <a:off x="6810519"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5" name="Oval 104"/>
          <p:cNvSpPr>
            <a:spLocks noChangeArrowheads="1"/>
          </p:cNvSpPr>
          <p:nvPr userDrawn="1"/>
        </p:nvSpPr>
        <p:spPr bwMode="auto">
          <a:xfrm>
            <a:off x="6895544" y="521613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6" name="Oval 105"/>
          <p:cNvSpPr>
            <a:spLocks noChangeArrowheads="1"/>
          </p:cNvSpPr>
          <p:nvPr userDrawn="1"/>
        </p:nvSpPr>
        <p:spPr bwMode="auto">
          <a:xfrm>
            <a:off x="6980568" y="521613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7" name="Oval 106"/>
          <p:cNvSpPr>
            <a:spLocks noChangeArrowheads="1"/>
          </p:cNvSpPr>
          <p:nvPr userDrawn="1"/>
        </p:nvSpPr>
        <p:spPr bwMode="auto">
          <a:xfrm>
            <a:off x="7066862"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8" name="Oval 107"/>
          <p:cNvSpPr>
            <a:spLocks noChangeArrowheads="1"/>
          </p:cNvSpPr>
          <p:nvPr userDrawn="1"/>
        </p:nvSpPr>
        <p:spPr bwMode="auto">
          <a:xfrm>
            <a:off x="7151886"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79" name="Oval 108"/>
          <p:cNvSpPr>
            <a:spLocks noChangeArrowheads="1"/>
          </p:cNvSpPr>
          <p:nvPr userDrawn="1"/>
        </p:nvSpPr>
        <p:spPr bwMode="auto">
          <a:xfrm>
            <a:off x="7236910" y="521613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0" name="Oval 109"/>
          <p:cNvSpPr>
            <a:spLocks noChangeArrowheads="1"/>
          </p:cNvSpPr>
          <p:nvPr userDrawn="1"/>
        </p:nvSpPr>
        <p:spPr bwMode="auto">
          <a:xfrm>
            <a:off x="7324473"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1" name="Oval 110"/>
          <p:cNvSpPr>
            <a:spLocks noChangeArrowheads="1"/>
          </p:cNvSpPr>
          <p:nvPr userDrawn="1"/>
        </p:nvSpPr>
        <p:spPr bwMode="auto">
          <a:xfrm>
            <a:off x="7409497" y="521613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2" name="Oval 120"/>
          <p:cNvSpPr>
            <a:spLocks noChangeArrowheads="1"/>
          </p:cNvSpPr>
          <p:nvPr userDrawn="1"/>
        </p:nvSpPr>
        <p:spPr bwMode="auto">
          <a:xfrm>
            <a:off x="6552908"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3" name="Oval 121"/>
          <p:cNvSpPr>
            <a:spLocks noChangeArrowheads="1"/>
          </p:cNvSpPr>
          <p:nvPr userDrawn="1"/>
        </p:nvSpPr>
        <p:spPr bwMode="auto">
          <a:xfrm>
            <a:off x="6637932"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4" name="Oval 122"/>
          <p:cNvSpPr>
            <a:spLocks noChangeArrowheads="1"/>
          </p:cNvSpPr>
          <p:nvPr userDrawn="1"/>
        </p:nvSpPr>
        <p:spPr bwMode="auto">
          <a:xfrm>
            <a:off x="6722957" y="53036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5" name="Oval 123"/>
          <p:cNvSpPr>
            <a:spLocks noChangeArrowheads="1"/>
          </p:cNvSpPr>
          <p:nvPr userDrawn="1"/>
        </p:nvSpPr>
        <p:spPr bwMode="auto">
          <a:xfrm>
            <a:off x="6810519"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6" name="Oval 124"/>
          <p:cNvSpPr>
            <a:spLocks noChangeArrowheads="1"/>
          </p:cNvSpPr>
          <p:nvPr userDrawn="1"/>
        </p:nvSpPr>
        <p:spPr bwMode="auto">
          <a:xfrm>
            <a:off x="6895544" y="530369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7" name="Oval 125"/>
          <p:cNvSpPr>
            <a:spLocks noChangeArrowheads="1"/>
          </p:cNvSpPr>
          <p:nvPr userDrawn="1"/>
        </p:nvSpPr>
        <p:spPr bwMode="auto">
          <a:xfrm>
            <a:off x="6980568" y="530369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8" name="Oval 126"/>
          <p:cNvSpPr>
            <a:spLocks noChangeArrowheads="1"/>
          </p:cNvSpPr>
          <p:nvPr userDrawn="1"/>
        </p:nvSpPr>
        <p:spPr bwMode="auto">
          <a:xfrm>
            <a:off x="7066862"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89" name="Oval 127"/>
          <p:cNvSpPr>
            <a:spLocks noChangeArrowheads="1"/>
          </p:cNvSpPr>
          <p:nvPr userDrawn="1"/>
        </p:nvSpPr>
        <p:spPr bwMode="auto">
          <a:xfrm>
            <a:off x="7151886"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0" name="Oval 128"/>
          <p:cNvSpPr>
            <a:spLocks noChangeArrowheads="1"/>
          </p:cNvSpPr>
          <p:nvPr userDrawn="1"/>
        </p:nvSpPr>
        <p:spPr bwMode="auto">
          <a:xfrm>
            <a:off x="7236910" y="530369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1" name="Oval 129"/>
          <p:cNvSpPr>
            <a:spLocks noChangeArrowheads="1"/>
          </p:cNvSpPr>
          <p:nvPr userDrawn="1"/>
        </p:nvSpPr>
        <p:spPr bwMode="auto">
          <a:xfrm>
            <a:off x="7324473"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2" name="Oval 130"/>
          <p:cNvSpPr>
            <a:spLocks noChangeArrowheads="1"/>
          </p:cNvSpPr>
          <p:nvPr userDrawn="1"/>
        </p:nvSpPr>
        <p:spPr bwMode="auto">
          <a:xfrm>
            <a:off x="7409497" y="530369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3" name="Oval 57"/>
          <p:cNvSpPr>
            <a:spLocks noChangeArrowheads="1"/>
          </p:cNvSpPr>
          <p:nvPr userDrawn="1"/>
        </p:nvSpPr>
        <p:spPr bwMode="auto">
          <a:xfrm>
            <a:off x="7496878"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4" name="Oval 58"/>
          <p:cNvSpPr>
            <a:spLocks noChangeArrowheads="1"/>
          </p:cNvSpPr>
          <p:nvPr userDrawn="1"/>
        </p:nvSpPr>
        <p:spPr bwMode="auto">
          <a:xfrm>
            <a:off x="7666927" y="5041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5" name="Oval 59"/>
          <p:cNvSpPr>
            <a:spLocks noChangeArrowheads="1"/>
          </p:cNvSpPr>
          <p:nvPr userDrawn="1"/>
        </p:nvSpPr>
        <p:spPr bwMode="auto">
          <a:xfrm>
            <a:off x="7581902"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6" name="Oval 60"/>
          <p:cNvSpPr>
            <a:spLocks noChangeArrowheads="1"/>
          </p:cNvSpPr>
          <p:nvPr userDrawn="1"/>
        </p:nvSpPr>
        <p:spPr bwMode="auto">
          <a:xfrm>
            <a:off x="7754489"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7" name="Oval 61"/>
          <p:cNvSpPr>
            <a:spLocks noChangeArrowheads="1"/>
          </p:cNvSpPr>
          <p:nvPr userDrawn="1"/>
        </p:nvSpPr>
        <p:spPr bwMode="auto">
          <a:xfrm>
            <a:off x="7839514" y="504153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8" name="Oval 62"/>
          <p:cNvSpPr>
            <a:spLocks noChangeArrowheads="1"/>
          </p:cNvSpPr>
          <p:nvPr userDrawn="1"/>
        </p:nvSpPr>
        <p:spPr bwMode="auto">
          <a:xfrm>
            <a:off x="7924538" y="504153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9" name="Oval 63"/>
          <p:cNvSpPr>
            <a:spLocks noChangeArrowheads="1"/>
          </p:cNvSpPr>
          <p:nvPr userDrawn="1"/>
        </p:nvSpPr>
        <p:spPr bwMode="auto">
          <a:xfrm>
            <a:off x="8010832"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0" name="Oval 64"/>
          <p:cNvSpPr>
            <a:spLocks noChangeArrowheads="1"/>
          </p:cNvSpPr>
          <p:nvPr userDrawn="1"/>
        </p:nvSpPr>
        <p:spPr bwMode="auto">
          <a:xfrm>
            <a:off x="8095856"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1" name="Oval 65"/>
          <p:cNvSpPr>
            <a:spLocks noChangeArrowheads="1"/>
          </p:cNvSpPr>
          <p:nvPr userDrawn="1"/>
        </p:nvSpPr>
        <p:spPr bwMode="auto">
          <a:xfrm>
            <a:off x="8180880" y="504153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2" name="Oval 66"/>
          <p:cNvSpPr>
            <a:spLocks noChangeArrowheads="1"/>
          </p:cNvSpPr>
          <p:nvPr userDrawn="1"/>
        </p:nvSpPr>
        <p:spPr bwMode="auto">
          <a:xfrm>
            <a:off x="8268443"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3" name="Oval 67"/>
          <p:cNvSpPr>
            <a:spLocks noChangeArrowheads="1"/>
          </p:cNvSpPr>
          <p:nvPr userDrawn="1"/>
        </p:nvSpPr>
        <p:spPr bwMode="auto">
          <a:xfrm>
            <a:off x="8353467" y="504153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4" name="Oval 81"/>
          <p:cNvSpPr>
            <a:spLocks noChangeArrowheads="1"/>
          </p:cNvSpPr>
          <p:nvPr userDrawn="1"/>
        </p:nvSpPr>
        <p:spPr bwMode="auto">
          <a:xfrm>
            <a:off x="7496878"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5" name="Oval 82"/>
          <p:cNvSpPr>
            <a:spLocks noChangeArrowheads="1"/>
          </p:cNvSpPr>
          <p:nvPr userDrawn="1"/>
        </p:nvSpPr>
        <p:spPr bwMode="auto">
          <a:xfrm>
            <a:off x="7581902"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6" name="Oval 83"/>
          <p:cNvSpPr>
            <a:spLocks noChangeArrowheads="1"/>
          </p:cNvSpPr>
          <p:nvPr userDrawn="1"/>
        </p:nvSpPr>
        <p:spPr bwMode="auto">
          <a:xfrm>
            <a:off x="7666927" y="5126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7" name="Oval 84"/>
          <p:cNvSpPr>
            <a:spLocks noChangeArrowheads="1"/>
          </p:cNvSpPr>
          <p:nvPr userDrawn="1"/>
        </p:nvSpPr>
        <p:spPr bwMode="auto">
          <a:xfrm>
            <a:off x="7754489"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8" name="Oval 85"/>
          <p:cNvSpPr>
            <a:spLocks noChangeArrowheads="1"/>
          </p:cNvSpPr>
          <p:nvPr userDrawn="1"/>
        </p:nvSpPr>
        <p:spPr bwMode="auto">
          <a:xfrm>
            <a:off x="7839514" y="512655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9" name="Oval 86"/>
          <p:cNvSpPr>
            <a:spLocks noChangeArrowheads="1"/>
          </p:cNvSpPr>
          <p:nvPr userDrawn="1"/>
        </p:nvSpPr>
        <p:spPr bwMode="auto">
          <a:xfrm>
            <a:off x="7924538" y="512655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0" name="Oval 87"/>
          <p:cNvSpPr>
            <a:spLocks noChangeArrowheads="1"/>
          </p:cNvSpPr>
          <p:nvPr userDrawn="1"/>
        </p:nvSpPr>
        <p:spPr bwMode="auto">
          <a:xfrm>
            <a:off x="8010832"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1" name="Oval 88"/>
          <p:cNvSpPr>
            <a:spLocks noChangeArrowheads="1"/>
          </p:cNvSpPr>
          <p:nvPr userDrawn="1"/>
        </p:nvSpPr>
        <p:spPr bwMode="auto">
          <a:xfrm>
            <a:off x="8095856"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2" name="Oval 89"/>
          <p:cNvSpPr>
            <a:spLocks noChangeArrowheads="1"/>
          </p:cNvSpPr>
          <p:nvPr userDrawn="1"/>
        </p:nvSpPr>
        <p:spPr bwMode="auto">
          <a:xfrm>
            <a:off x="8180880" y="512655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3" name="Oval 90"/>
          <p:cNvSpPr>
            <a:spLocks noChangeArrowheads="1"/>
          </p:cNvSpPr>
          <p:nvPr userDrawn="1"/>
        </p:nvSpPr>
        <p:spPr bwMode="auto">
          <a:xfrm>
            <a:off x="8268443"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4" name="Oval 91"/>
          <p:cNvSpPr>
            <a:spLocks noChangeArrowheads="1"/>
          </p:cNvSpPr>
          <p:nvPr userDrawn="1"/>
        </p:nvSpPr>
        <p:spPr bwMode="auto">
          <a:xfrm>
            <a:off x="8353467" y="512655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5" name="Oval 100"/>
          <p:cNvSpPr>
            <a:spLocks noChangeArrowheads="1"/>
          </p:cNvSpPr>
          <p:nvPr userDrawn="1"/>
        </p:nvSpPr>
        <p:spPr bwMode="auto">
          <a:xfrm>
            <a:off x="7496878"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6" name="Oval 101"/>
          <p:cNvSpPr>
            <a:spLocks noChangeArrowheads="1"/>
          </p:cNvSpPr>
          <p:nvPr userDrawn="1"/>
        </p:nvSpPr>
        <p:spPr bwMode="auto">
          <a:xfrm>
            <a:off x="7581902"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7" name="Oval 102"/>
          <p:cNvSpPr>
            <a:spLocks noChangeArrowheads="1"/>
          </p:cNvSpPr>
          <p:nvPr userDrawn="1"/>
        </p:nvSpPr>
        <p:spPr bwMode="auto">
          <a:xfrm>
            <a:off x="7666927" y="5211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8" name="Oval 103"/>
          <p:cNvSpPr>
            <a:spLocks noChangeArrowheads="1"/>
          </p:cNvSpPr>
          <p:nvPr userDrawn="1"/>
        </p:nvSpPr>
        <p:spPr bwMode="auto">
          <a:xfrm>
            <a:off x="7754489"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9" name="Oval 104"/>
          <p:cNvSpPr>
            <a:spLocks noChangeArrowheads="1"/>
          </p:cNvSpPr>
          <p:nvPr userDrawn="1"/>
        </p:nvSpPr>
        <p:spPr bwMode="auto">
          <a:xfrm>
            <a:off x="7839514" y="5211582"/>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0" name="Oval 105"/>
          <p:cNvSpPr>
            <a:spLocks noChangeArrowheads="1"/>
          </p:cNvSpPr>
          <p:nvPr userDrawn="1"/>
        </p:nvSpPr>
        <p:spPr bwMode="auto">
          <a:xfrm>
            <a:off x="7924538" y="5211582"/>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1" name="Oval 106"/>
          <p:cNvSpPr>
            <a:spLocks noChangeArrowheads="1"/>
          </p:cNvSpPr>
          <p:nvPr userDrawn="1"/>
        </p:nvSpPr>
        <p:spPr bwMode="auto">
          <a:xfrm>
            <a:off x="8010832"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2" name="Oval 107"/>
          <p:cNvSpPr>
            <a:spLocks noChangeArrowheads="1"/>
          </p:cNvSpPr>
          <p:nvPr userDrawn="1"/>
        </p:nvSpPr>
        <p:spPr bwMode="auto">
          <a:xfrm>
            <a:off x="8095856"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3" name="Oval 108"/>
          <p:cNvSpPr>
            <a:spLocks noChangeArrowheads="1"/>
          </p:cNvSpPr>
          <p:nvPr userDrawn="1"/>
        </p:nvSpPr>
        <p:spPr bwMode="auto">
          <a:xfrm>
            <a:off x="8180880" y="5211582"/>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4" name="Oval 109"/>
          <p:cNvSpPr>
            <a:spLocks noChangeArrowheads="1"/>
          </p:cNvSpPr>
          <p:nvPr userDrawn="1"/>
        </p:nvSpPr>
        <p:spPr bwMode="auto">
          <a:xfrm>
            <a:off x="8268443"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5" name="Oval 110"/>
          <p:cNvSpPr>
            <a:spLocks noChangeArrowheads="1"/>
          </p:cNvSpPr>
          <p:nvPr userDrawn="1"/>
        </p:nvSpPr>
        <p:spPr bwMode="auto">
          <a:xfrm>
            <a:off x="8353467" y="5211582"/>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6" name="Oval 120"/>
          <p:cNvSpPr>
            <a:spLocks noChangeArrowheads="1"/>
          </p:cNvSpPr>
          <p:nvPr userDrawn="1"/>
        </p:nvSpPr>
        <p:spPr bwMode="auto">
          <a:xfrm>
            <a:off x="7496878"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7" name="Oval 121"/>
          <p:cNvSpPr>
            <a:spLocks noChangeArrowheads="1"/>
          </p:cNvSpPr>
          <p:nvPr userDrawn="1"/>
        </p:nvSpPr>
        <p:spPr bwMode="auto">
          <a:xfrm>
            <a:off x="7581902"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8" name="Oval 122"/>
          <p:cNvSpPr>
            <a:spLocks noChangeArrowheads="1"/>
          </p:cNvSpPr>
          <p:nvPr userDrawn="1"/>
        </p:nvSpPr>
        <p:spPr bwMode="auto">
          <a:xfrm>
            <a:off x="7666927" y="52991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9" name="Oval 123"/>
          <p:cNvSpPr>
            <a:spLocks noChangeArrowheads="1"/>
          </p:cNvSpPr>
          <p:nvPr userDrawn="1"/>
        </p:nvSpPr>
        <p:spPr bwMode="auto">
          <a:xfrm>
            <a:off x="7754489"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0" name="Oval 124"/>
          <p:cNvSpPr>
            <a:spLocks noChangeArrowheads="1"/>
          </p:cNvSpPr>
          <p:nvPr userDrawn="1"/>
        </p:nvSpPr>
        <p:spPr bwMode="auto">
          <a:xfrm>
            <a:off x="7839514" y="52991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1" name="Oval 125"/>
          <p:cNvSpPr>
            <a:spLocks noChangeArrowheads="1"/>
          </p:cNvSpPr>
          <p:nvPr userDrawn="1"/>
        </p:nvSpPr>
        <p:spPr bwMode="auto">
          <a:xfrm>
            <a:off x="7924538" y="52991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2" name="Oval 126"/>
          <p:cNvSpPr>
            <a:spLocks noChangeArrowheads="1"/>
          </p:cNvSpPr>
          <p:nvPr userDrawn="1"/>
        </p:nvSpPr>
        <p:spPr bwMode="auto">
          <a:xfrm>
            <a:off x="8010832"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3" name="Oval 127"/>
          <p:cNvSpPr>
            <a:spLocks noChangeArrowheads="1"/>
          </p:cNvSpPr>
          <p:nvPr userDrawn="1"/>
        </p:nvSpPr>
        <p:spPr bwMode="auto">
          <a:xfrm>
            <a:off x="8095856"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4" name="Oval 128"/>
          <p:cNvSpPr>
            <a:spLocks noChangeArrowheads="1"/>
          </p:cNvSpPr>
          <p:nvPr userDrawn="1"/>
        </p:nvSpPr>
        <p:spPr bwMode="auto">
          <a:xfrm>
            <a:off x="8180880" y="529914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5" name="Oval 129"/>
          <p:cNvSpPr>
            <a:spLocks noChangeArrowheads="1"/>
          </p:cNvSpPr>
          <p:nvPr userDrawn="1"/>
        </p:nvSpPr>
        <p:spPr bwMode="auto">
          <a:xfrm>
            <a:off x="8268443"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6" name="Oval 130"/>
          <p:cNvSpPr>
            <a:spLocks noChangeArrowheads="1"/>
          </p:cNvSpPr>
          <p:nvPr userDrawn="1"/>
        </p:nvSpPr>
        <p:spPr bwMode="auto">
          <a:xfrm>
            <a:off x="8353467" y="52991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7" name="Oval 57"/>
          <p:cNvSpPr>
            <a:spLocks noChangeArrowheads="1"/>
          </p:cNvSpPr>
          <p:nvPr userDrawn="1"/>
        </p:nvSpPr>
        <p:spPr bwMode="auto">
          <a:xfrm>
            <a:off x="8440848"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8" name="Oval 58"/>
          <p:cNvSpPr>
            <a:spLocks noChangeArrowheads="1"/>
          </p:cNvSpPr>
          <p:nvPr userDrawn="1"/>
        </p:nvSpPr>
        <p:spPr bwMode="auto">
          <a:xfrm>
            <a:off x="8610897" y="503698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9" name="Oval 59"/>
          <p:cNvSpPr>
            <a:spLocks noChangeArrowheads="1"/>
          </p:cNvSpPr>
          <p:nvPr userDrawn="1"/>
        </p:nvSpPr>
        <p:spPr bwMode="auto">
          <a:xfrm>
            <a:off x="8525872"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0" name="Oval 60"/>
          <p:cNvSpPr>
            <a:spLocks noChangeArrowheads="1"/>
          </p:cNvSpPr>
          <p:nvPr userDrawn="1"/>
        </p:nvSpPr>
        <p:spPr bwMode="auto">
          <a:xfrm>
            <a:off x="8698459" y="503698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1" name="Oval 81"/>
          <p:cNvSpPr>
            <a:spLocks noChangeArrowheads="1"/>
          </p:cNvSpPr>
          <p:nvPr userDrawn="1"/>
        </p:nvSpPr>
        <p:spPr bwMode="auto">
          <a:xfrm>
            <a:off x="8440848" y="5122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2" name="Oval 82"/>
          <p:cNvSpPr>
            <a:spLocks noChangeArrowheads="1"/>
          </p:cNvSpPr>
          <p:nvPr userDrawn="1"/>
        </p:nvSpPr>
        <p:spPr bwMode="auto">
          <a:xfrm>
            <a:off x="8525872" y="512200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3" name="Oval 83"/>
          <p:cNvSpPr>
            <a:spLocks noChangeArrowheads="1"/>
          </p:cNvSpPr>
          <p:nvPr userDrawn="1"/>
        </p:nvSpPr>
        <p:spPr bwMode="auto">
          <a:xfrm>
            <a:off x="8610897" y="512200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4" name="Oval 100"/>
          <p:cNvSpPr>
            <a:spLocks noChangeArrowheads="1"/>
          </p:cNvSpPr>
          <p:nvPr userDrawn="1"/>
        </p:nvSpPr>
        <p:spPr bwMode="auto">
          <a:xfrm>
            <a:off x="8440848" y="5207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5" name="Oval 101"/>
          <p:cNvSpPr>
            <a:spLocks noChangeArrowheads="1"/>
          </p:cNvSpPr>
          <p:nvPr userDrawn="1"/>
        </p:nvSpPr>
        <p:spPr bwMode="auto">
          <a:xfrm>
            <a:off x="8525872" y="520703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6" name="Oval 120"/>
          <p:cNvSpPr>
            <a:spLocks noChangeArrowheads="1"/>
          </p:cNvSpPr>
          <p:nvPr userDrawn="1"/>
        </p:nvSpPr>
        <p:spPr bwMode="auto">
          <a:xfrm>
            <a:off x="8440848" y="5294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7" name="Oval 121"/>
          <p:cNvSpPr>
            <a:spLocks noChangeArrowheads="1"/>
          </p:cNvSpPr>
          <p:nvPr userDrawn="1"/>
        </p:nvSpPr>
        <p:spPr bwMode="auto">
          <a:xfrm>
            <a:off x="8525872" y="529459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8" name="Oval 91"/>
          <p:cNvSpPr>
            <a:spLocks noChangeArrowheads="1"/>
          </p:cNvSpPr>
          <p:nvPr userDrawn="1"/>
        </p:nvSpPr>
        <p:spPr bwMode="auto">
          <a:xfrm>
            <a:off x="6465527" y="548367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9" name="Oval 110"/>
          <p:cNvSpPr>
            <a:spLocks noChangeArrowheads="1"/>
          </p:cNvSpPr>
          <p:nvPr userDrawn="1"/>
        </p:nvSpPr>
        <p:spPr bwMode="auto">
          <a:xfrm>
            <a:off x="6465527" y="5568698"/>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0" name="Oval 57"/>
          <p:cNvSpPr>
            <a:spLocks noChangeArrowheads="1"/>
          </p:cNvSpPr>
          <p:nvPr userDrawn="1"/>
        </p:nvSpPr>
        <p:spPr bwMode="auto">
          <a:xfrm>
            <a:off x="6552908"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1" name="Oval 58"/>
          <p:cNvSpPr>
            <a:spLocks noChangeArrowheads="1"/>
          </p:cNvSpPr>
          <p:nvPr userDrawn="1"/>
        </p:nvSpPr>
        <p:spPr bwMode="auto">
          <a:xfrm>
            <a:off x="6722957" y="539410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2" name="Oval 59"/>
          <p:cNvSpPr>
            <a:spLocks noChangeArrowheads="1"/>
          </p:cNvSpPr>
          <p:nvPr userDrawn="1"/>
        </p:nvSpPr>
        <p:spPr bwMode="auto">
          <a:xfrm>
            <a:off x="6637932"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3" name="Oval 60"/>
          <p:cNvSpPr>
            <a:spLocks noChangeArrowheads="1"/>
          </p:cNvSpPr>
          <p:nvPr userDrawn="1"/>
        </p:nvSpPr>
        <p:spPr bwMode="auto">
          <a:xfrm>
            <a:off x="6810519"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4" name="Oval 61"/>
          <p:cNvSpPr>
            <a:spLocks noChangeArrowheads="1"/>
          </p:cNvSpPr>
          <p:nvPr userDrawn="1"/>
        </p:nvSpPr>
        <p:spPr bwMode="auto">
          <a:xfrm>
            <a:off x="6895544" y="539410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5" name="Oval 62"/>
          <p:cNvSpPr>
            <a:spLocks noChangeArrowheads="1"/>
          </p:cNvSpPr>
          <p:nvPr userDrawn="1"/>
        </p:nvSpPr>
        <p:spPr bwMode="auto">
          <a:xfrm>
            <a:off x="6980568" y="539410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6" name="Oval 63"/>
          <p:cNvSpPr>
            <a:spLocks noChangeArrowheads="1"/>
          </p:cNvSpPr>
          <p:nvPr userDrawn="1"/>
        </p:nvSpPr>
        <p:spPr bwMode="auto">
          <a:xfrm>
            <a:off x="7066862"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7" name="Oval 64"/>
          <p:cNvSpPr>
            <a:spLocks noChangeArrowheads="1"/>
          </p:cNvSpPr>
          <p:nvPr userDrawn="1"/>
        </p:nvSpPr>
        <p:spPr bwMode="auto">
          <a:xfrm>
            <a:off x="7151886"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8" name="Oval 65"/>
          <p:cNvSpPr>
            <a:spLocks noChangeArrowheads="1"/>
          </p:cNvSpPr>
          <p:nvPr userDrawn="1"/>
        </p:nvSpPr>
        <p:spPr bwMode="auto">
          <a:xfrm>
            <a:off x="7236910" y="539410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9" name="Oval 66"/>
          <p:cNvSpPr>
            <a:spLocks noChangeArrowheads="1"/>
          </p:cNvSpPr>
          <p:nvPr userDrawn="1"/>
        </p:nvSpPr>
        <p:spPr bwMode="auto">
          <a:xfrm>
            <a:off x="7324473"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0" name="Oval 67"/>
          <p:cNvSpPr>
            <a:spLocks noChangeArrowheads="1"/>
          </p:cNvSpPr>
          <p:nvPr userDrawn="1"/>
        </p:nvSpPr>
        <p:spPr bwMode="auto">
          <a:xfrm>
            <a:off x="7409497" y="539410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1" name="Oval 81"/>
          <p:cNvSpPr>
            <a:spLocks noChangeArrowheads="1"/>
          </p:cNvSpPr>
          <p:nvPr userDrawn="1"/>
        </p:nvSpPr>
        <p:spPr bwMode="auto">
          <a:xfrm>
            <a:off x="6552908"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2" name="Oval 82"/>
          <p:cNvSpPr>
            <a:spLocks noChangeArrowheads="1"/>
          </p:cNvSpPr>
          <p:nvPr userDrawn="1"/>
        </p:nvSpPr>
        <p:spPr bwMode="auto">
          <a:xfrm>
            <a:off x="6637932"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3" name="Oval 83"/>
          <p:cNvSpPr>
            <a:spLocks noChangeArrowheads="1"/>
          </p:cNvSpPr>
          <p:nvPr userDrawn="1"/>
        </p:nvSpPr>
        <p:spPr bwMode="auto">
          <a:xfrm>
            <a:off x="6722957" y="54791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4" name="Oval 84"/>
          <p:cNvSpPr>
            <a:spLocks noChangeArrowheads="1"/>
          </p:cNvSpPr>
          <p:nvPr userDrawn="1"/>
        </p:nvSpPr>
        <p:spPr bwMode="auto">
          <a:xfrm>
            <a:off x="6810519"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5" name="Oval 85"/>
          <p:cNvSpPr>
            <a:spLocks noChangeArrowheads="1"/>
          </p:cNvSpPr>
          <p:nvPr userDrawn="1"/>
        </p:nvSpPr>
        <p:spPr bwMode="auto">
          <a:xfrm>
            <a:off x="6895544" y="547912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6" name="Oval 86"/>
          <p:cNvSpPr>
            <a:spLocks noChangeArrowheads="1"/>
          </p:cNvSpPr>
          <p:nvPr userDrawn="1"/>
        </p:nvSpPr>
        <p:spPr bwMode="auto">
          <a:xfrm>
            <a:off x="6980568" y="547912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7" name="Oval 87"/>
          <p:cNvSpPr>
            <a:spLocks noChangeArrowheads="1"/>
          </p:cNvSpPr>
          <p:nvPr userDrawn="1"/>
        </p:nvSpPr>
        <p:spPr bwMode="auto">
          <a:xfrm>
            <a:off x="7066862"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8" name="Oval 88"/>
          <p:cNvSpPr>
            <a:spLocks noChangeArrowheads="1"/>
          </p:cNvSpPr>
          <p:nvPr userDrawn="1"/>
        </p:nvSpPr>
        <p:spPr bwMode="auto">
          <a:xfrm>
            <a:off x="7151886"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9" name="Oval 89"/>
          <p:cNvSpPr>
            <a:spLocks noChangeArrowheads="1"/>
          </p:cNvSpPr>
          <p:nvPr userDrawn="1"/>
        </p:nvSpPr>
        <p:spPr bwMode="auto">
          <a:xfrm>
            <a:off x="7236910" y="547912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0" name="Oval 90"/>
          <p:cNvSpPr>
            <a:spLocks noChangeArrowheads="1"/>
          </p:cNvSpPr>
          <p:nvPr userDrawn="1"/>
        </p:nvSpPr>
        <p:spPr bwMode="auto">
          <a:xfrm>
            <a:off x="7324473"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1" name="Oval 91"/>
          <p:cNvSpPr>
            <a:spLocks noChangeArrowheads="1"/>
          </p:cNvSpPr>
          <p:nvPr userDrawn="1"/>
        </p:nvSpPr>
        <p:spPr bwMode="auto">
          <a:xfrm>
            <a:off x="7409497" y="547912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2" name="Oval 100"/>
          <p:cNvSpPr>
            <a:spLocks noChangeArrowheads="1"/>
          </p:cNvSpPr>
          <p:nvPr userDrawn="1"/>
        </p:nvSpPr>
        <p:spPr bwMode="auto">
          <a:xfrm>
            <a:off x="6552908"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3" name="Oval 101"/>
          <p:cNvSpPr>
            <a:spLocks noChangeArrowheads="1"/>
          </p:cNvSpPr>
          <p:nvPr userDrawn="1"/>
        </p:nvSpPr>
        <p:spPr bwMode="auto">
          <a:xfrm>
            <a:off x="6637932"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4" name="Oval 102"/>
          <p:cNvSpPr>
            <a:spLocks noChangeArrowheads="1"/>
          </p:cNvSpPr>
          <p:nvPr userDrawn="1"/>
        </p:nvSpPr>
        <p:spPr bwMode="auto">
          <a:xfrm>
            <a:off x="6722957" y="55641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5" name="Oval 103"/>
          <p:cNvSpPr>
            <a:spLocks noChangeArrowheads="1"/>
          </p:cNvSpPr>
          <p:nvPr userDrawn="1"/>
        </p:nvSpPr>
        <p:spPr bwMode="auto">
          <a:xfrm>
            <a:off x="6810519"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6" name="Oval 104"/>
          <p:cNvSpPr>
            <a:spLocks noChangeArrowheads="1"/>
          </p:cNvSpPr>
          <p:nvPr userDrawn="1"/>
        </p:nvSpPr>
        <p:spPr bwMode="auto">
          <a:xfrm>
            <a:off x="6895544" y="5564149"/>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7" name="Oval 105"/>
          <p:cNvSpPr>
            <a:spLocks noChangeArrowheads="1"/>
          </p:cNvSpPr>
          <p:nvPr userDrawn="1"/>
        </p:nvSpPr>
        <p:spPr bwMode="auto">
          <a:xfrm>
            <a:off x="6980568" y="5564149"/>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8" name="Oval 106"/>
          <p:cNvSpPr>
            <a:spLocks noChangeArrowheads="1"/>
          </p:cNvSpPr>
          <p:nvPr userDrawn="1"/>
        </p:nvSpPr>
        <p:spPr bwMode="auto">
          <a:xfrm>
            <a:off x="7066862"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9" name="Oval 107"/>
          <p:cNvSpPr>
            <a:spLocks noChangeArrowheads="1"/>
          </p:cNvSpPr>
          <p:nvPr userDrawn="1"/>
        </p:nvSpPr>
        <p:spPr bwMode="auto">
          <a:xfrm>
            <a:off x="7151886"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0" name="Oval 108"/>
          <p:cNvSpPr>
            <a:spLocks noChangeArrowheads="1"/>
          </p:cNvSpPr>
          <p:nvPr userDrawn="1"/>
        </p:nvSpPr>
        <p:spPr bwMode="auto">
          <a:xfrm>
            <a:off x="7236910" y="5564149"/>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1" name="Oval 109"/>
          <p:cNvSpPr>
            <a:spLocks noChangeArrowheads="1"/>
          </p:cNvSpPr>
          <p:nvPr userDrawn="1"/>
        </p:nvSpPr>
        <p:spPr bwMode="auto">
          <a:xfrm>
            <a:off x="7324473"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2" name="Oval 110"/>
          <p:cNvSpPr>
            <a:spLocks noChangeArrowheads="1"/>
          </p:cNvSpPr>
          <p:nvPr userDrawn="1"/>
        </p:nvSpPr>
        <p:spPr bwMode="auto">
          <a:xfrm>
            <a:off x="7409497" y="5564149"/>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3" name="Oval 121"/>
          <p:cNvSpPr>
            <a:spLocks noChangeArrowheads="1"/>
          </p:cNvSpPr>
          <p:nvPr userDrawn="1"/>
        </p:nvSpPr>
        <p:spPr bwMode="auto">
          <a:xfrm>
            <a:off x="6637932"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4" name="Oval 122"/>
          <p:cNvSpPr>
            <a:spLocks noChangeArrowheads="1"/>
          </p:cNvSpPr>
          <p:nvPr userDrawn="1"/>
        </p:nvSpPr>
        <p:spPr bwMode="auto">
          <a:xfrm>
            <a:off x="6722957" y="56517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5" name="Oval 123"/>
          <p:cNvSpPr>
            <a:spLocks noChangeArrowheads="1"/>
          </p:cNvSpPr>
          <p:nvPr userDrawn="1"/>
        </p:nvSpPr>
        <p:spPr bwMode="auto">
          <a:xfrm>
            <a:off x="6810519"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6" name="Oval 124"/>
          <p:cNvSpPr>
            <a:spLocks noChangeArrowheads="1"/>
          </p:cNvSpPr>
          <p:nvPr userDrawn="1"/>
        </p:nvSpPr>
        <p:spPr bwMode="auto">
          <a:xfrm>
            <a:off x="6895544" y="56517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7" name="Oval 125"/>
          <p:cNvSpPr>
            <a:spLocks noChangeArrowheads="1"/>
          </p:cNvSpPr>
          <p:nvPr userDrawn="1"/>
        </p:nvSpPr>
        <p:spPr bwMode="auto">
          <a:xfrm>
            <a:off x="6980568" y="56517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8" name="Oval 126"/>
          <p:cNvSpPr>
            <a:spLocks noChangeArrowheads="1"/>
          </p:cNvSpPr>
          <p:nvPr userDrawn="1"/>
        </p:nvSpPr>
        <p:spPr bwMode="auto">
          <a:xfrm>
            <a:off x="7066862"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9" name="Oval 127"/>
          <p:cNvSpPr>
            <a:spLocks noChangeArrowheads="1"/>
          </p:cNvSpPr>
          <p:nvPr userDrawn="1"/>
        </p:nvSpPr>
        <p:spPr bwMode="auto">
          <a:xfrm>
            <a:off x="7151886"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0" name="Oval 128"/>
          <p:cNvSpPr>
            <a:spLocks noChangeArrowheads="1"/>
          </p:cNvSpPr>
          <p:nvPr userDrawn="1"/>
        </p:nvSpPr>
        <p:spPr bwMode="auto">
          <a:xfrm>
            <a:off x="7236910" y="565171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1" name="Oval 129"/>
          <p:cNvSpPr>
            <a:spLocks noChangeArrowheads="1"/>
          </p:cNvSpPr>
          <p:nvPr userDrawn="1"/>
        </p:nvSpPr>
        <p:spPr bwMode="auto">
          <a:xfrm>
            <a:off x="7324473"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2" name="Oval 130"/>
          <p:cNvSpPr>
            <a:spLocks noChangeArrowheads="1"/>
          </p:cNvSpPr>
          <p:nvPr userDrawn="1"/>
        </p:nvSpPr>
        <p:spPr bwMode="auto">
          <a:xfrm>
            <a:off x="7409497" y="565171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3" name="Oval 57"/>
          <p:cNvSpPr>
            <a:spLocks noChangeArrowheads="1"/>
          </p:cNvSpPr>
          <p:nvPr userDrawn="1"/>
        </p:nvSpPr>
        <p:spPr bwMode="auto">
          <a:xfrm>
            <a:off x="7496878"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4" name="Oval 58"/>
          <p:cNvSpPr>
            <a:spLocks noChangeArrowheads="1"/>
          </p:cNvSpPr>
          <p:nvPr userDrawn="1"/>
        </p:nvSpPr>
        <p:spPr bwMode="auto">
          <a:xfrm>
            <a:off x="7666927" y="53895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5" name="Oval 59"/>
          <p:cNvSpPr>
            <a:spLocks noChangeArrowheads="1"/>
          </p:cNvSpPr>
          <p:nvPr userDrawn="1"/>
        </p:nvSpPr>
        <p:spPr bwMode="auto">
          <a:xfrm>
            <a:off x="7581902"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6" name="Oval 60"/>
          <p:cNvSpPr>
            <a:spLocks noChangeArrowheads="1"/>
          </p:cNvSpPr>
          <p:nvPr userDrawn="1"/>
        </p:nvSpPr>
        <p:spPr bwMode="auto">
          <a:xfrm>
            <a:off x="7754489"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7" name="Oval 61"/>
          <p:cNvSpPr>
            <a:spLocks noChangeArrowheads="1"/>
          </p:cNvSpPr>
          <p:nvPr userDrawn="1"/>
        </p:nvSpPr>
        <p:spPr bwMode="auto">
          <a:xfrm>
            <a:off x="7839514" y="538955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8" name="Oval 62"/>
          <p:cNvSpPr>
            <a:spLocks noChangeArrowheads="1"/>
          </p:cNvSpPr>
          <p:nvPr userDrawn="1"/>
        </p:nvSpPr>
        <p:spPr bwMode="auto">
          <a:xfrm>
            <a:off x="7924538" y="538955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9" name="Oval 63"/>
          <p:cNvSpPr>
            <a:spLocks noChangeArrowheads="1"/>
          </p:cNvSpPr>
          <p:nvPr userDrawn="1"/>
        </p:nvSpPr>
        <p:spPr bwMode="auto">
          <a:xfrm>
            <a:off x="8010832"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0" name="Oval 64"/>
          <p:cNvSpPr>
            <a:spLocks noChangeArrowheads="1"/>
          </p:cNvSpPr>
          <p:nvPr userDrawn="1"/>
        </p:nvSpPr>
        <p:spPr bwMode="auto">
          <a:xfrm>
            <a:off x="8095856"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1" name="Oval 65"/>
          <p:cNvSpPr>
            <a:spLocks noChangeArrowheads="1"/>
          </p:cNvSpPr>
          <p:nvPr userDrawn="1"/>
        </p:nvSpPr>
        <p:spPr bwMode="auto">
          <a:xfrm>
            <a:off x="8180880" y="538955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2" name="Oval 66"/>
          <p:cNvSpPr>
            <a:spLocks noChangeArrowheads="1"/>
          </p:cNvSpPr>
          <p:nvPr userDrawn="1"/>
        </p:nvSpPr>
        <p:spPr bwMode="auto">
          <a:xfrm>
            <a:off x="8268443"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3" name="Oval 67"/>
          <p:cNvSpPr>
            <a:spLocks noChangeArrowheads="1"/>
          </p:cNvSpPr>
          <p:nvPr userDrawn="1"/>
        </p:nvSpPr>
        <p:spPr bwMode="auto">
          <a:xfrm>
            <a:off x="8353467" y="538955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4" name="Oval 81"/>
          <p:cNvSpPr>
            <a:spLocks noChangeArrowheads="1"/>
          </p:cNvSpPr>
          <p:nvPr userDrawn="1"/>
        </p:nvSpPr>
        <p:spPr bwMode="auto">
          <a:xfrm>
            <a:off x="7496878"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5" name="Oval 82"/>
          <p:cNvSpPr>
            <a:spLocks noChangeArrowheads="1"/>
          </p:cNvSpPr>
          <p:nvPr userDrawn="1"/>
        </p:nvSpPr>
        <p:spPr bwMode="auto">
          <a:xfrm>
            <a:off x="7581902"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6" name="Oval 83"/>
          <p:cNvSpPr>
            <a:spLocks noChangeArrowheads="1"/>
          </p:cNvSpPr>
          <p:nvPr userDrawn="1"/>
        </p:nvSpPr>
        <p:spPr bwMode="auto">
          <a:xfrm>
            <a:off x="7666927" y="54745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7" name="Oval 84"/>
          <p:cNvSpPr>
            <a:spLocks noChangeArrowheads="1"/>
          </p:cNvSpPr>
          <p:nvPr userDrawn="1"/>
        </p:nvSpPr>
        <p:spPr bwMode="auto">
          <a:xfrm>
            <a:off x="7754489"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8" name="Oval 85"/>
          <p:cNvSpPr>
            <a:spLocks noChangeArrowheads="1"/>
          </p:cNvSpPr>
          <p:nvPr userDrawn="1"/>
        </p:nvSpPr>
        <p:spPr bwMode="auto">
          <a:xfrm>
            <a:off x="7839514" y="547457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9" name="Oval 86"/>
          <p:cNvSpPr>
            <a:spLocks noChangeArrowheads="1"/>
          </p:cNvSpPr>
          <p:nvPr userDrawn="1"/>
        </p:nvSpPr>
        <p:spPr bwMode="auto">
          <a:xfrm>
            <a:off x="7924538" y="547457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0" name="Oval 87"/>
          <p:cNvSpPr>
            <a:spLocks noChangeArrowheads="1"/>
          </p:cNvSpPr>
          <p:nvPr userDrawn="1"/>
        </p:nvSpPr>
        <p:spPr bwMode="auto">
          <a:xfrm>
            <a:off x="8010832"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1" name="Oval 88"/>
          <p:cNvSpPr>
            <a:spLocks noChangeArrowheads="1"/>
          </p:cNvSpPr>
          <p:nvPr userDrawn="1"/>
        </p:nvSpPr>
        <p:spPr bwMode="auto">
          <a:xfrm>
            <a:off x="8095856"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2" name="Oval 89"/>
          <p:cNvSpPr>
            <a:spLocks noChangeArrowheads="1"/>
          </p:cNvSpPr>
          <p:nvPr userDrawn="1"/>
        </p:nvSpPr>
        <p:spPr bwMode="auto">
          <a:xfrm>
            <a:off x="8180880" y="547457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3" name="Oval 90"/>
          <p:cNvSpPr>
            <a:spLocks noChangeArrowheads="1"/>
          </p:cNvSpPr>
          <p:nvPr userDrawn="1"/>
        </p:nvSpPr>
        <p:spPr bwMode="auto">
          <a:xfrm>
            <a:off x="8268443"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4" name="Oval 91"/>
          <p:cNvSpPr>
            <a:spLocks noChangeArrowheads="1"/>
          </p:cNvSpPr>
          <p:nvPr userDrawn="1"/>
        </p:nvSpPr>
        <p:spPr bwMode="auto">
          <a:xfrm>
            <a:off x="8353467" y="547457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5" name="Oval 100"/>
          <p:cNvSpPr>
            <a:spLocks noChangeArrowheads="1"/>
          </p:cNvSpPr>
          <p:nvPr userDrawn="1"/>
        </p:nvSpPr>
        <p:spPr bwMode="auto">
          <a:xfrm>
            <a:off x="7496878"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6" name="Oval 101"/>
          <p:cNvSpPr>
            <a:spLocks noChangeArrowheads="1"/>
          </p:cNvSpPr>
          <p:nvPr userDrawn="1"/>
        </p:nvSpPr>
        <p:spPr bwMode="auto">
          <a:xfrm>
            <a:off x="7581902"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7" name="Oval 102"/>
          <p:cNvSpPr>
            <a:spLocks noChangeArrowheads="1"/>
          </p:cNvSpPr>
          <p:nvPr userDrawn="1"/>
        </p:nvSpPr>
        <p:spPr bwMode="auto">
          <a:xfrm>
            <a:off x="7666927" y="55596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8" name="Oval 103"/>
          <p:cNvSpPr>
            <a:spLocks noChangeArrowheads="1"/>
          </p:cNvSpPr>
          <p:nvPr userDrawn="1"/>
        </p:nvSpPr>
        <p:spPr bwMode="auto">
          <a:xfrm>
            <a:off x="7754489"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9" name="Oval 104"/>
          <p:cNvSpPr>
            <a:spLocks noChangeArrowheads="1"/>
          </p:cNvSpPr>
          <p:nvPr userDrawn="1"/>
        </p:nvSpPr>
        <p:spPr bwMode="auto">
          <a:xfrm>
            <a:off x="7839514" y="555960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0" name="Oval 105"/>
          <p:cNvSpPr>
            <a:spLocks noChangeArrowheads="1"/>
          </p:cNvSpPr>
          <p:nvPr userDrawn="1"/>
        </p:nvSpPr>
        <p:spPr bwMode="auto">
          <a:xfrm>
            <a:off x="7924538" y="555960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1" name="Oval 106"/>
          <p:cNvSpPr>
            <a:spLocks noChangeArrowheads="1"/>
          </p:cNvSpPr>
          <p:nvPr userDrawn="1"/>
        </p:nvSpPr>
        <p:spPr bwMode="auto">
          <a:xfrm>
            <a:off x="8010832"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2" name="Oval 107"/>
          <p:cNvSpPr>
            <a:spLocks noChangeArrowheads="1"/>
          </p:cNvSpPr>
          <p:nvPr userDrawn="1"/>
        </p:nvSpPr>
        <p:spPr bwMode="auto">
          <a:xfrm>
            <a:off x="8095856"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3" name="Oval 108"/>
          <p:cNvSpPr>
            <a:spLocks noChangeArrowheads="1"/>
          </p:cNvSpPr>
          <p:nvPr userDrawn="1"/>
        </p:nvSpPr>
        <p:spPr bwMode="auto">
          <a:xfrm>
            <a:off x="8180880" y="5559600"/>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4" name="Oval 109"/>
          <p:cNvSpPr>
            <a:spLocks noChangeArrowheads="1"/>
          </p:cNvSpPr>
          <p:nvPr userDrawn="1"/>
        </p:nvSpPr>
        <p:spPr bwMode="auto">
          <a:xfrm>
            <a:off x="8268443"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5" name="Oval 110"/>
          <p:cNvSpPr>
            <a:spLocks noChangeArrowheads="1"/>
          </p:cNvSpPr>
          <p:nvPr userDrawn="1"/>
        </p:nvSpPr>
        <p:spPr bwMode="auto">
          <a:xfrm>
            <a:off x="8353467" y="5559600"/>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6" name="Oval 120"/>
          <p:cNvSpPr>
            <a:spLocks noChangeArrowheads="1"/>
          </p:cNvSpPr>
          <p:nvPr userDrawn="1"/>
        </p:nvSpPr>
        <p:spPr bwMode="auto">
          <a:xfrm>
            <a:off x="7496878"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7" name="Oval 121"/>
          <p:cNvSpPr>
            <a:spLocks noChangeArrowheads="1"/>
          </p:cNvSpPr>
          <p:nvPr userDrawn="1"/>
        </p:nvSpPr>
        <p:spPr bwMode="auto">
          <a:xfrm>
            <a:off x="7581902"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8" name="Oval 122"/>
          <p:cNvSpPr>
            <a:spLocks noChangeArrowheads="1"/>
          </p:cNvSpPr>
          <p:nvPr userDrawn="1"/>
        </p:nvSpPr>
        <p:spPr bwMode="auto">
          <a:xfrm>
            <a:off x="7666927" y="56471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9" name="Oval 123"/>
          <p:cNvSpPr>
            <a:spLocks noChangeArrowheads="1"/>
          </p:cNvSpPr>
          <p:nvPr userDrawn="1"/>
        </p:nvSpPr>
        <p:spPr bwMode="auto">
          <a:xfrm>
            <a:off x="7754489"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0" name="Oval 124"/>
          <p:cNvSpPr>
            <a:spLocks noChangeArrowheads="1"/>
          </p:cNvSpPr>
          <p:nvPr userDrawn="1"/>
        </p:nvSpPr>
        <p:spPr bwMode="auto">
          <a:xfrm>
            <a:off x="7839514" y="564716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1" name="Oval 125"/>
          <p:cNvSpPr>
            <a:spLocks noChangeArrowheads="1"/>
          </p:cNvSpPr>
          <p:nvPr userDrawn="1"/>
        </p:nvSpPr>
        <p:spPr bwMode="auto">
          <a:xfrm>
            <a:off x="7924538" y="564716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2" name="Oval 126"/>
          <p:cNvSpPr>
            <a:spLocks noChangeArrowheads="1"/>
          </p:cNvSpPr>
          <p:nvPr userDrawn="1"/>
        </p:nvSpPr>
        <p:spPr bwMode="auto">
          <a:xfrm>
            <a:off x="8010832"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3" name="Oval 127"/>
          <p:cNvSpPr>
            <a:spLocks noChangeArrowheads="1"/>
          </p:cNvSpPr>
          <p:nvPr userDrawn="1"/>
        </p:nvSpPr>
        <p:spPr bwMode="auto">
          <a:xfrm>
            <a:off x="8095856"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4" name="Oval 128"/>
          <p:cNvSpPr>
            <a:spLocks noChangeArrowheads="1"/>
          </p:cNvSpPr>
          <p:nvPr userDrawn="1"/>
        </p:nvSpPr>
        <p:spPr bwMode="auto">
          <a:xfrm>
            <a:off x="8180880" y="564716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5" name="Oval 129"/>
          <p:cNvSpPr>
            <a:spLocks noChangeArrowheads="1"/>
          </p:cNvSpPr>
          <p:nvPr userDrawn="1"/>
        </p:nvSpPr>
        <p:spPr bwMode="auto">
          <a:xfrm>
            <a:off x="8268443" y="564716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6" name="Oval 57"/>
          <p:cNvSpPr>
            <a:spLocks noChangeArrowheads="1"/>
          </p:cNvSpPr>
          <p:nvPr userDrawn="1"/>
        </p:nvSpPr>
        <p:spPr bwMode="auto">
          <a:xfrm>
            <a:off x="8440848"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7" name="Oval 59"/>
          <p:cNvSpPr>
            <a:spLocks noChangeArrowheads="1"/>
          </p:cNvSpPr>
          <p:nvPr userDrawn="1"/>
        </p:nvSpPr>
        <p:spPr bwMode="auto">
          <a:xfrm>
            <a:off x="8525872"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8" name="Oval 60"/>
          <p:cNvSpPr>
            <a:spLocks noChangeArrowheads="1"/>
          </p:cNvSpPr>
          <p:nvPr userDrawn="1"/>
        </p:nvSpPr>
        <p:spPr bwMode="auto">
          <a:xfrm>
            <a:off x="8698459"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39" name="Oval 61"/>
          <p:cNvSpPr>
            <a:spLocks noChangeArrowheads="1"/>
          </p:cNvSpPr>
          <p:nvPr userDrawn="1"/>
        </p:nvSpPr>
        <p:spPr bwMode="auto">
          <a:xfrm>
            <a:off x="8783484" y="538500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0" name="Oval 81"/>
          <p:cNvSpPr>
            <a:spLocks noChangeArrowheads="1"/>
          </p:cNvSpPr>
          <p:nvPr userDrawn="1"/>
        </p:nvSpPr>
        <p:spPr bwMode="auto">
          <a:xfrm>
            <a:off x="8440848"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1" name="Oval 84"/>
          <p:cNvSpPr>
            <a:spLocks noChangeArrowheads="1"/>
          </p:cNvSpPr>
          <p:nvPr userDrawn="1"/>
        </p:nvSpPr>
        <p:spPr bwMode="auto">
          <a:xfrm>
            <a:off x="8698459"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2" name="Oval 85"/>
          <p:cNvSpPr>
            <a:spLocks noChangeArrowheads="1"/>
          </p:cNvSpPr>
          <p:nvPr userDrawn="1"/>
        </p:nvSpPr>
        <p:spPr bwMode="auto">
          <a:xfrm>
            <a:off x="8783484" y="547002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3" name="Oval 103"/>
          <p:cNvSpPr>
            <a:spLocks noChangeArrowheads="1"/>
          </p:cNvSpPr>
          <p:nvPr userDrawn="1"/>
        </p:nvSpPr>
        <p:spPr bwMode="auto">
          <a:xfrm>
            <a:off x="8698459" y="555505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4" name="Oval 123"/>
          <p:cNvSpPr>
            <a:spLocks noChangeArrowheads="1"/>
          </p:cNvSpPr>
          <p:nvPr userDrawn="1"/>
        </p:nvSpPr>
        <p:spPr bwMode="auto">
          <a:xfrm>
            <a:off x="8698459" y="564261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5" name="Oval 58"/>
          <p:cNvSpPr>
            <a:spLocks noChangeArrowheads="1"/>
          </p:cNvSpPr>
          <p:nvPr userDrawn="1"/>
        </p:nvSpPr>
        <p:spPr bwMode="auto">
          <a:xfrm>
            <a:off x="6722957" y="57352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6" name="Oval 59"/>
          <p:cNvSpPr>
            <a:spLocks noChangeArrowheads="1"/>
          </p:cNvSpPr>
          <p:nvPr userDrawn="1"/>
        </p:nvSpPr>
        <p:spPr bwMode="auto">
          <a:xfrm>
            <a:off x="6637932"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7" name="Oval 60"/>
          <p:cNvSpPr>
            <a:spLocks noChangeArrowheads="1"/>
          </p:cNvSpPr>
          <p:nvPr userDrawn="1"/>
        </p:nvSpPr>
        <p:spPr bwMode="auto">
          <a:xfrm>
            <a:off x="6810519"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8" name="Oval 61"/>
          <p:cNvSpPr>
            <a:spLocks noChangeArrowheads="1"/>
          </p:cNvSpPr>
          <p:nvPr userDrawn="1"/>
        </p:nvSpPr>
        <p:spPr bwMode="auto">
          <a:xfrm>
            <a:off x="6895544" y="573529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49" name="Oval 62"/>
          <p:cNvSpPr>
            <a:spLocks noChangeArrowheads="1"/>
          </p:cNvSpPr>
          <p:nvPr userDrawn="1"/>
        </p:nvSpPr>
        <p:spPr bwMode="auto">
          <a:xfrm>
            <a:off x="6980568" y="573529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0" name="Oval 63"/>
          <p:cNvSpPr>
            <a:spLocks noChangeArrowheads="1"/>
          </p:cNvSpPr>
          <p:nvPr userDrawn="1"/>
        </p:nvSpPr>
        <p:spPr bwMode="auto">
          <a:xfrm>
            <a:off x="7066862"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1" name="Oval 64"/>
          <p:cNvSpPr>
            <a:spLocks noChangeArrowheads="1"/>
          </p:cNvSpPr>
          <p:nvPr userDrawn="1"/>
        </p:nvSpPr>
        <p:spPr bwMode="auto">
          <a:xfrm>
            <a:off x="7151886"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2" name="Oval 65"/>
          <p:cNvSpPr>
            <a:spLocks noChangeArrowheads="1"/>
          </p:cNvSpPr>
          <p:nvPr userDrawn="1"/>
        </p:nvSpPr>
        <p:spPr bwMode="auto">
          <a:xfrm>
            <a:off x="7236910" y="5735294"/>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3" name="Oval 66"/>
          <p:cNvSpPr>
            <a:spLocks noChangeArrowheads="1"/>
          </p:cNvSpPr>
          <p:nvPr userDrawn="1"/>
        </p:nvSpPr>
        <p:spPr bwMode="auto">
          <a:xfrm>
            <a:off x="7324473"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4" name="Oval 67"/>
          <p:cNvSpPr>
            <a:spLocks noChangeArrowheads="1"/>
          </p:cNvSpPr>
          <p:nvPr userDrawn="1"/>
        </p:nvSpPr>
        <p:spPr bwMode="auto">
          <a:xfrm>
            <a:off x="7409497" y="573529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5" name="Oval 82"/>
          <p:cNvSpPr>
            <a:spLocks noChangeArrowheads="1"/>
          </p:cNvSpPr>
          <p:nvPr userDrawn="1"/>
        </p:nvSpPr>
        <p:spPr bwMode="auto">
          <a:xfrm>
            <a:off x="6637932" y="58203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6" name="Oval 83"/>
          <p:cNvSpPr>
            <a:spLocks noChangeArrowheads="1"/>
          </p:cNvSpPr>
          <p:nvPr userDrawn="1"/>
        </p:nvSpPr>
        <p:spPr bwMode="auto">
          <a:xfrm>
            <a:off x="6722957" y="582031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7" name="Oval 84"/>
          <p:cNvSpPr>
            <a:spLocks noChangeArrowheads="1"/>
          </p:cNvSpPr>
          <p:nvPr userDrawn="1"/>
        </p:nvSpPr>
        <p:spPr bwMode="auto">
          <a:xfrm>
            <a:off x="6810519" y="582031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8" name="Oval 90"/>
          <p:cNvSpPr>
            <a:spLocks noChangeArrowheads="1"/>
          </p:cNvSpPr>
          <p:nvPr userDrawn="1"/>
        </p:nvSpPr>
        <p:spPr bwMode="auto">
          <a:xfrm>
            <a:off x="7324473" y="58203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59" name="Oval 91"/>
          <p:cNvSpPr>
            <a:spLocks noChangeArrowheads="1"/>
          </p:cNvSpPr>
          <p:nvPr userDrawn="1"/>
        </p:nvSpPr>
        <p:spPr bwMode="auto">
          <a:xfrm>
            <a:off x="7409497" y="582031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0" name="Oval 102"/>
          <p:cNvSpPr>
            <a:spLocks noChangeArrowheads="1"/>
          </p:cNvSpPr>
          <p:nvPr userDrawn="1"/>
        </p:nvSpPr>
        <p:spPr bwMode="auto">
          <a:xfrm>
            <a:off x="6722957" y="5905343"/>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1" name="Oval 103"/>
          <p:cNvSpPr>
            <a:spLocks noChangeArrowheads="1"/>
          </p:cNvSpPr>
          <p:nvPr userDrawn="1"/>
        </p:nvSpPr>
        <p:spPr bwMode="auto">
          <a:xfrm>
            <a:off x="6810519" y="590534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2" name="Oval 110"/>
          <p:cNvSpPr>
            <a:spLocks noChangeArrowheads="1"/>
          </p:cNvSpPr>
          <p:nvPr userDrawn="1"/>
        </p:nvSpPr>
        <p:spPr bwMode="auto">
          <a:xfrm>
            <a:off x="7409497" y="590534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3" name="Oval 57"/>
          <p:cNvSpPr>
            <a:spLocks noChangeArrowheads="1"/>
          </p:cNvSpPr>
          <p:nvPr userDrawn="1"/>
        </p:nvSpPr>
        <p:spPr bwMode="auto">
          <a:xfrm>
            <a:off x="7496878"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4" name="Oval 58"/>
          <p:cNvSpPr>
            <a:spLocks noChangeArrowheads="1"/>
          </p:cNvSpPr>
          <p:nvPr userDrawn="1"/>
        </p:nvSpPr>
        <p:spPr bwMode="auto">
          <a:xfrm>
            <a:off x="7666927" y="5730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5" name="Oval 59"/>
          <p:cNvSpPr>
            <a:spLocks noChangeArrowheads="1"/>
          </p:cNvSpPr>
          <p:nvPr userDrawn="1"/>
        </p:nvSpPr>
        <p:spPr bwMode="auto">
          <a:xfrm>
            <a:off x="7581902"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6" name="Oval 60"/>
          <p:cNvSpPr>
            <a:spLocks noChangeArrowheads="1"/>
          </p:cNvSpPr>
          <p:nvPr userDrawn="1"/>
        </p:nvSpPr>
        <p:spPr bwMode="auto">
          <a:xfrm>
            <a:off x="7754489"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7" name="Oval 61"/>
          <p:cNvSpPr>
            <a:spLocks noChangeArrowheads="1"/>
          </p:cNvSpPr>
          <p:nvPr userDrawn="1"/>
        </p:nvSpPr>
        <p:spPr bwMode="auto">
          <a:xfrm>
            <a:off x="7839514" y="5730745"/>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8" name="Oval 62"/>
          <p:cNvSpPr>
            <a:spLocks noChangeArrowheads="1"/>
          </p:cNvSpPr>
          <p:nvPr userDrawn="1"/>
        </p:nvSpPr>
        <p:spPr bwMode="auto">
          <a:xfrm>
            <a:off x="7924538" y="5730745"/>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69" name="Oval 63"/>
          <p:cNvSpPr>
            <a:spLocks noChangeArrowheads="1"/>
          </p:cNvSpPr>
          <p:nvPr userDrawn="1"/>
        </p:nvSpPr>
        <p:spPr bwMode="auto">
          <a:xfrm>
            <a:off x="8010832" y="5730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0" name="Oval 64"/>
          <p:cNvSpPr>
            <a:spLocks noChangeArrowheads="1"/>
          </p:cNvSpPr>
          <p:nvPr userDrawn="1"/>
        </p:nvSpPr>
        <p:spPr bwMode="auto">
          <a:xfrm>
            <a:off x="8095856" y="573074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1" name="Oval 65"/>
          <p:cNvSpPr>
            <a:spLocks noChangeArrowheads="1"/>
          </p:cNvSpPr>
          <p:nvPr userDrawn="1"/>
        </p:nvSpPr>
        <p:spPr bwMode="auto">
          <a:xfrm>
            <a:off x="8180880" y="5730745"/>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2" name="Oval 81"/>
          <p:cNvSpPr>
            <a:spLocks noChangeArrowheads="1"/>
          </p:cNvSpPr>
          <p:nvPr userDrawn="1"/>
        </p:nvSpPr>
        <p:spPr bwMode="auto">
          <a:xfrm>
            <a:off x="7496878"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3" name="Oval 82"/>
          <p:cNvSpPr>
            <a:spLocks noChangeArrowheads="1"/>
          </p:cNvSpPr>
          <p:nvPr userDrawn="1"/>
        </p:nvSpPr>
        <p:spPr bwMode="auto">
          <a:xfrm>
            <a:off x="7581902"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4" name="Oval 83"/>
          <p:cNvSpPr>
            <a:spLocks noChangeArrowheads="1"/>
          </p:cNvSpPr>
          <p:nvPr userDrawn="1"/>
        </p:nvSpPr>
        <p:spPr bwMode="auto">
          <a:xfrm>
            <a:off x="7666927" y="581577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5" name="Oval 84"/>
          <p:cNvSpPr>
            <a:spLocks noChangeArrowheads="1"/>
          </p:cNvSpPr>
          <p:nvPr userDrawn="1"/>
        </p:nvSpPr>
        <p:spPr bwMode="auto">
          <a:xfrm>
            <a:off x="7754489"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6" name="Oval 85"/>
          <p:cNvSpPr>
            <a:spLocks noChangeArrowheads="1"/>
          </p:cNvSpPr>
          <p:nvPr userDrawn="1"/>
        </p:nvSpPr>
        <p:spPr bwMode="auto">
          <a:xfrm>
            <a:off x="7839514" y="5815770"/>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7" name="Oval 86"/>
          <p:cNvSpPr>
            <a:spLocks noChangeArrowheads="1"/>
          </p:cNvSpPr>
          <p:nvPr userDrawn="1"/>
        </p:nvSpPr>
        <p:spPr bwMode="auto">
          <a:xfrm>
            <a:off x="7924538" y="5815770"/>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8" name="Oval 100"/>
          <p:cNvSpPr>
            <a:spLocks noChangeArrowheads="1"/>
          </p:cNvSpPr>
          <p:nvPr userDrawn="1"/>
        </p:nvSpPr>
        <p:spPr bwMode="auto">
          <a:xfrm>
            <a:off x="7496878"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79" name="Oval 101"/>
          <p:cNvSpPr>
            <a:spLocks noChangeArrowheads="1"/>
          </p:cNvSpPr>
          <p:nvPr userDrawn="1"/>
        </p:nvSpPr>
        <p:spPr bwMode="auto">
          <a:xfrm>
            <a:off x="7581902"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0" name="Oval 102"/>
          <p:cNvSpPr>
            <a:spLocks noChangeArrowheads="1"/>
          </p:cNvSpPr>
          <p:nvPr userDrawn="1"/>
        </p:nvSpPr>
        <p:spPr bwMode="auto">
          <a:xfrm>
            <a:off x="7666927" y="5900794"/>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1" name="Oval 103"/>
          <p:cNvSpPr>
            <a:spLocks noChangeArrowheads="1"/>
          </p:cNvSpPr>
          <p:nvPr userDrawn="1"/>
        </p:nvSpPr>
        <p:spPr bwMode="auto">
          <a:xfrm>
            <a:off x="7754489" y="5900794"/>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2" name="Oval 122"/>
          <p:cNvSpPr>
            <a:spLocks noChangeArrowheads="1"/>
          </p:cNvSpPr>
          <p:nvPr userDrawn="1"/>
        </p:nvSpPr>
        <p:spPr bwMode="auto">
          <a:xfrm>
            <a:off x="7666927" y="59883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3" name="Oval 60"/>
          <p:cNvSpPr>
            <a:spLocks noChangeArrowheads="1"/>
          </p:cNvSpPr>
          <p:nvPr userDrawn="1"/>
        </p:nvSpPr>
        <p:spPr bwMode="auto">
          <a:xfrm>
            <a:off x="8698459" y="572619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4" name="Oval 58"/>
          <p:cNvSpPr>
            <a:spLocks noChangeArrowheads="1"/>
          </p:cNvSpPr>
          <p:nvPr userDrawn="1"/>
        </p:nvSpPr>
        <p:spPr bwMode="auto">
          <a:xfrm>
            <a:off x="7666927" y="606941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5" name="Oval 59"/>
          <p:cNvSpPr>
            <a:spLocks noChangeArrowheads="1"/>
          </p:cNvSpPr>
          <p:nvPr userDrawn="1"/>
        </p:nvSpPr>
        <p:spPr bwMode="auto">
          <a:xfrm>
            <a:off x="7581902" y="606941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6" name="Oval 81"/>
          <p:cNvSpPr>
            <a:spLocks noChangeArrowheads="1"/>
          </p:cNvSpPr>
          <p:nvPr userDrawn="1"/>
        </p:nvSpPr>
        <p:spPr bwMode="auto">
          <a:xfrm>
            <a:off x="7496878" y="61544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7" name="Oval 82"/>
          <p:cNvSpPr>
            <a:spLocks noChangeArrowheads="1"/>
          </p:cNvSpPr>
          <p:nvPr userDrawn="1"/>
        </p:nvSpPr>
        <p:spPr bwMode="auto">
          <a:xfrm>
            <a:off x="7581902" y="615443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8" name="Oval 83"/>
          <p:cNvSpPr>
            <a:spLocks noChangeArrowheads="1"/>
          </p:cNvSpPr>
          <p:nvPr userDrawn="1"/>
        </p:nvSpPr>
        <p:spPr bwMode="auto">
          <a:xfrm>
            <a:off x="7666927" y="615443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89" name="Oval 100"/>
          <p:cNvSpPr>
            <a:spLocks noChangeArrowheads="1"/>
          </p:cNvSpPr>
          <p:nvPr userDrawn="1"/>
        </p:nvSpPr>
        <p:spPr bwMode="auto">
          <a:xfrm>
            <a:off x="7496878" y="62394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0" name="Oval 101"/>
          <p:cNvSpPr>
            <a:spLocks noChangeArrowheads="1"/>
          </p:cNvSpPr>
          <p:nvPr userDrawn="1"/>
        </p:nvSpPr>
        <p:spPr bwMode="auto">
          <a:xfrm>
            <a:off x="7581902" y="6239460"/>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1" name="Oval 102"/>
          <p:cNvSpPr>
            <a:spLocks noChangeArrowheads="1"/>
          </p:cNvSpPr>
          <p:nvPr userDrawn="1"/>
        </p:nvSpPr>
        <p:spPr bwMode="auto">
          <a:xfrm>
            <a:off x="7666927" y="6239460"/>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2" name="Oval 64"/>
          <p:cNvSpPr>
            <a:spLocks noChangeArrowheads="1"/>
          </p:cNvSpPr>
          <p:nvPr userDrawn="1"/>
        </p:nvSpPr>
        <p:spPr bwMode="auto">
          <a:xfrm>
            <a:off x="8095856" y="5813295"/>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93" name="正方形/長方形 3092"/>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152758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16491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6349699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17943850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8" imgW="270" imgH="270" progId="TCLayout.ActiveDocument.1">
                  <p:embed/>
                </p:oleObj>
              </mc:Choice>
              <mc:Fallback>
                <p:oleObj name="think-cell Slide"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5" r:id="rId1"/>
    <p:sldLayoutId id="2147483665" r:id="rId2"/>
    <p:sldLayoutId id="2147483674"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82.xml"/><Relationship Id="rId1" Type="http://schemas.openxmlformats.org/officeDocument/2006/relationships/vmlDrawing" Target="../drawings/vmlDrawing10.vml"/><Relationship Id="rId5" Type="http://schemas.openxmlformats.org/officeDocument/2006/relationships/image" Target="../media/image20.emf"/><Relationship Id="rId4" Type="http://schemas.openxmlformats.org/officeDocument/2006/relationships/oleObject" Target="../embeddings/oleObject11.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83.xml"/><Relationship Id="rId1" Type="http://schemas.openxmlformats.org/officeDocument/2006/relationships/vmlDrawing" Target="../drawings/vmlDrawing11.vml"/><Relationship Id="rId5" Type="http://schemas.openxmlformats.org/officeDocument/2006/relationships/image" Target="../media/image20.emf"/><Relationship Id="rId4" Type="http://schemas.openxmlformats.org/officeDocument/2006/relationships/oleObject" Target="../embeddings/oleObject12.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84.xml"/><Relationship Id="rId1" Type="http://schemas.openxmlformats.org/officeDocument/2006/relationships/vmlDrawing" Target="../drawings/vmlDrawing12.vml"/><Relationship Id="rId5" Type="http://schemas.openxmlformats.org/officeDocument/2006/relationships/image" Target="../media/image20.emf"/><Relationship Id="rId4" Type="http://schemas.openxmlformats.org/officeDocument/2006/relationships/oleObject" Target="../embeddings/oleObject13.bin"/></Relationships>
</file>

<file path=ppt/slides/_rels/slide13.xml.rels><?xml version="1.0" encoding="UTF-8" standalone="yes"?>
<Relationships xmlns="http://schemas.openxmlformats.org/package/2006/relationships"><Relationship Id="rId3" Type="http://schemas.openxmlformats.org/officeDocument/2006/relationships/tags" Target="../tags/tag386.xml"/><Relationship Id="rId2" Type="http://schemas.openxmlformats.org/officeDocument/2006/relationships/tags" Target="../tags/tag385.xml"/><Relationship Id="rId1" Type="http://schemas.openxmlformats.org/officeDocument/2006/relationships/vmlDrawing" Target="../drawings/vmlDrawing13.vml"/><Relationship Id="rId6" Type="http://schemas.openxmlformats.org/officeDocument/2006/relationships/image" Target="../media/image20.emf"/><Relationship Id="rId5" Type="http://schemas.openxmlformats.org/officeDocument/2006/relationships/oleObject" Target="../embeddings/oleObject14.bin"/><Relationship Id="rId4"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87.xml"/><Relationship Id="rId1" Type="http://schemas.openxmlformats.org/officeDocument/2006/relationships/vmlDrawing" Target="../drawings/vmlDrawing14.vml"/><Relationship Id="rId5" Type="http://schemas.openxmlformats.org/officeDocument/2006/relationships/image" Target="../media/image20.emf"/><Relationship Id="rId4" Type="http://schemas.openxmlformats.org/officeDocument/2006/relationships/oleObject" Target="../embeddings/oleObject15.bin"/></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88.xml"/><Relationship Id="rId1" Type="http://schemas.openxmlformats.org/officeDocument/2006/relationships/vmlDrawing" Target="../drawings/vmlDrawing15.vml"/><Relationship Id="rId5" Type="http://schemas.openxmlformats.org/officeDocument/2006/relationships/image" Target="../media/image20.emf"/><Relationship Id="rId4" Type="http://schemas.openxmlformats.org/officeDocument/2006/relationships/oleObject" Target="../embeddings/oleObject16.bin"/></Relationships>
</file>

<file path=ppt/slides/_rels/slide17.xml.rels><?xml version="1.0" encoding="UTF-8" standalone="yes"?>
<Relationships xmlns="http://schemas.openxmlformats.org/package/2006/relationships"><Relationship Id="rId117" Type="http://schemas.openxmlformats.org/officeDocument/2006/relationships/tags" Target="../tags/tag504.xml"/><Relationship Id="rId21" Type="http://schemas.openxmlformats.org/officeDocument/2006/relationships/tags" Target="../tags/tag408.xml"/><Relationship Id="rId42" Type="http://schemas.openxmlformats.org/officeDocument/2006/relationships/tags" Target="../tags/tag429.xml"/><Relationship Id="rId63" Type="http://schemas.openxmlformats.org/officeDocument/2006/relationships/tags" Target="../tags/tag450.xml"/><Relationship Id="rId84" Type="http://schemas.openxmlformats.org/officeDocument/2006/relationships/tags" Target="../tags/tag471.xml"/><Relationship Id="rId138" Type="http://schemas.openxmlformats.org/officeDocument/2006/relationships/tags" Target="../tags/tag525.xml"/><Relationship Id="rId159" Type="http://schemas.openxmlformats.org/officeDocument/2006/relationships/tags" Target="../tags/tag546.xml"/><Relationship Id="rId170" Type="http://schemas.openxmlformats.org/officeDocument/2006/relationships/tags" Target="../tags/tag557.xml"/><Relationship Id="rId107" Type="http://schemas.openxmlformats.org/officeDocument/2006/relationships/tags" Target="../tags/tag494.xml"/><Relationship Id="rId11" Type="http://schemas.openxmlformats.org/officeDocument/2006/relationships/tags" Target="../tags/tag398.xml"/><Relationship Id="rId32" Type="http://schemas.openxmlformats.org/officeDocument/2006/relationships/tags" Target="../tags/tag419.xml"/><Relationship Id="rId53" Type="http://schemas.openxmlformats.org/officeDocument/2006/relationships/tags" Target="../tags/tag440.xml"/><Relationship Id="rId74" Type="http://schemas.openxmlformats.org/officeDocument/2006/relationships/tags" Target="../tags/tag461.xml"/><Relationship Id="rId128" Type="http://schemas.openxmlformats.org/officeDocument/2006/relationships/tags" Target="../tags/tag515.xml"/><Relationship Id="rId149" Type="http://schemas.openxmlformats.org/officeDocument/2006/relationships/tags" Target="../tags/tag536.xml"/><Relationship Id="rId5" Type="http://schemas.openxmlformats.org/officeDocument/2006/relationships/tags" Target="../tags/tag392.xml"/><Relationship Id="rId95" Type="http://schemas.openxmlformats.org/officeDocument/2006/relationships/tags" Target="../tags/tag482.xml"/><Relationship Id="rId160" Type="http://schemas.openxmlformats.org/officeDocument/2006/relationships/tags" Target="../tags/tag547.xml"/><Relationship Id="rId181" Type="http://schemas.openxmlformats.org/officeDocument/2006/relationships/image" Target="../media/image1.emf"/><Relationship Id="rId22" Type="http://schemas.openxmlformats.org/officeDocument/2006/relationships/tags" Target="../tags/tag409.xml"/><Relationship Id="rId43" Type="http://schemas.openxmlformats.org/officeDocument/2006/relationships/tags" Target="../tags/tag430.xml"/><Relationship Id="rId64" Type="http://schemas.openxmlformats.org/officeDocument/2006/relationships/tags" Target="../tags/tag451.xml"/><Relationship Id="rId118" Type="http://schemas.openxmlformats.org/officeDocument/2006/relationships/tags" Target="../tags/tag505.xml"/><Relationship Id="rId139" Type="http://schemas.openxmlformats.org/officeDocument/2006/relationships/tags" Target="../tags/tag526.xml"/><Relationship Id="rId85" Type="http://schemas.openxmlformats.org/officeDocument/2006/relationships/tags" Target="../tags/tag472.xml"/><Relationship Id="rId150" Type="http://schemas.openxmlformats.org/officeDocument/2006/relationships/tags" Target="../tags/tag537.xml"/><Relationship Id="rId171" Type="http://schemas.openxmlformats.org/officeDocument/2006/relationships/tags" Target="../tags/tag558.xml"/><Relationship Id="rId12" Type="http://schemas.openxmlformats.org/officeDocument/2006/relationships/tags" Target="../tags/tag399.xml"/><Relationship Id="rId33" Type="http://schemas.openxmlformats.org/officeDocument/2006/relationships/tags" Target="../tags/tag420.xml"/><Relationship Id="rId108" Type="http://schemas.openxmlformats.org/officeDocument/2006/relationships/tags" Target="../tags/tag495.xml"/><Relationship Id="rId129" Type="http://schemas.openxmlformats.org/officeDocument/2006/relationships/tags" Target="../tags/tag516.xml"/><Relationship Id="rId54" Type="http://schemas.openxmlformats.org/officeDocument/2006/relationships/tags" Target="../tags/tag441.xml"/><Relationship Id="rId75" Type="http://schemas.openxmlformats.org/officeDocument/2006/relationships/tags" Target="../tags/tag462.xml"/><Relationship Id="rId96" Type="http://schemas.openxmlformats.org/officeDocument/2006/relationships/tags" Target="../tags/tag483.xml"/><Relationship Id="rId140" Type="http://schemas.openxmlformats.org/officeDocument/2006/relationships/tags" Target="../tags/tag527.xml"/><Relationship Id="rId161" Type="http://schemas.openxmlformats.org/officeDocument/2006/relationships/tags" Target="../tags/tag548.xml"/><Relationship Id="rId182" Type="http://schemas.openxmlformats.org/officeDocument/2006/relationships/chart" Target="../charts/chart7.xml"/><Relationship Id="rId6" Type="http://schemas.openxmlformats.org/officeDocument/2006/relationships/tags" Target="../tags/tag393.xml"/><Relationship Id="rId23" Type="http://schemas.openxmlformats.org/officeDocument/2006/relationships/tags" Target="../tags/tag410.xml"/><Relationship Id="rId119" Type="http://schemas.openxmlformats.org/officeDocument/2006/relationships/tags" Target="../tags/tag506.xml"/><Relationship Id="rId44" Type="http://schemas.openxmlformats.org/officeDocument/2006/relationships/tags" Target="../tags/tag431.xml"/><Relationship Id="rId60" Type="http://schemas.openxmlformats.org/officeDocument/2006/relationships/tags" Target="../tags/tag447.xml"/><Relationship Id="rId65" Type="http://schemas.openxmlformats.org/officeDocument/2006/relationships/tags" Target="../tags/tag452.xml"/><Relationship Id="rId81" Type="http://schemas.openxmlformats.org/officeDocument/2006/relationships/tags" Target="../tags/tag468.xml"/><Relationship Id="rId86" Type="http://schemas.openxmlformats.org/officeDocument/2006/relationships/tags" Target="../tags/tag473.xml"/><Relationship Id="rId130" Type="http://schemas.openxmlformats.org/officeDocument/2006/relationships/tags" Target="../tags/tag517.xml"/><Relationship Id="rId135" Type="http://schemas.openxmlformats.org/officeDocument/2006/relationships/tags" Target="../tags/tag522.xml"/><Relationship Id="rId151" Type="http://schemas.openxmlformats.org/officeDocument/2006/relationships/tags" Target="../tags/tag538.xml"/><Relationship Id="rId156" Type="http://schemas.openxmlformats.org/officeDocument/2006/relationships/tags" Target="../tags/tag543.xml"/><Relationship Id="rId177" Type="http://schemas.openxmlformats.org/officeDocument/2006/relationships/tags" Target="../tags/tag564.xml"/><Relationship Id="rId172" Type="http://schemas.openxmlformats.org/officeDocument/2006/relationships/tags" Target="../tags/tag559.xml"/><Relationship Id="rId13" Type="http://schemas.openxmlformats.org/officeDocument/2006/relationships/tags" Target="../tags/tag400.xml"/><Relationship Id="rId18" Type="http://schemas.openxmlformats.org/officeDocument/2006/relationships/tags" Target="../tags/tag405.xml"/><Relationship Id="rId39" Type="http://schemas.openxmlformats.org/officeDocument/2006/relationships/tags" Target="../tags/tag426.xml"/><Relationship Id="rId109" Type="http://schemas.openxmlformats.org/officeDocument/2006/relationships/tags" Target="../tags/tag496.xml"/><Relationship Id="rId34" Type="http://schemas.openxmlformats.org/officeDocument/2006/relationships/tags" Target="../tags/tag421.xml"/><Relationship Id="rId50" Type="http://schemas.openxmlformats.org/officeDocument/2006/relationships/tags" Target="../tags/tag437.xml"/><Relationship Id="rId55" Type="http://schemas.openxmlformats.org/officeDocument/2006/relationships/tags" Target="../tags/tag442.xml"/><Relationship Id="rId76" Type="http://schemas.openxmlformats.org/officeDocument/2006/relationships/tags" Target="../tags/tag463.xml"/><Relationship Id="rId97" Type="http://schemas.openxmlformats.org/officeDocument/2006/relationships/tags" Target="../tags/tag484.xml"/><Relationship Id="rId104" Type="http://schemas.openxmlformats.org/officeDocument/2006/relationships/tags" Target="../tags/tag491.xml"/><Relationship Id="rId120" Type="http://schemas.openxmlformats.org/officeDocument/2006/relationships/tags" Target="../tags/tag507.xml"/><Relationship Id="rId125" Type="http://schemas.openxmlformats.org/officeDocument/2006/relationships/tags" Target="../tags/tag512.xml"/><Relationship Id="rId141" Type="http://schemas.openxmlformats.org/officeDocument/2006/relationships/tags" Target="../tags/tag528.xml"/><Relationship Id="rId146" Type="http://schemas.openxmlformats.org/officeDocument/2006/relationships/tags" Target="../tags/tag533.xml"/><Relationship Id="rId167" Type="http://schemas.openxmlformats.org/officeDocument/2006/relationships/tags" Target="../tags/tag554.xml"/><Relationship Id="rId7" Type="http://schemas.openxmlformats.org/officeDocument/2006/relationships/tags" Target="../tags/tag394.xml"/><Relationship Id="rId71" Type="http://schemas.openxmlformats.org/officeDocument/2006/relationships/tags" Target="../tags/tag458.xml"/><Relationship Id="rId92" Type="http://schemas.openxmlformats.org/officeDocument/2006/relationships/tags" Target="../tags/tag479.xml"/><Relationship Id="rId162" Type="http://schemas.openxmlformats.org/officeDocument/2006/relationships/tags" Target="../tags/tag549.xml"/><Relationship Id="rId183" Type="http://schemas.openxmlformats.org/officeDocument/2006/relationships/chart" Target="../charts/chart8.xml"/><Relationship Id="rId2" Type="http://schemas.openxmlformats.org/officeDocument/2006/relationships/tags" Target="../tags/tag389.xml"/><Relationship Id="rId29" Type="http://schemas.openxmlformats.org/officeDocument/2006/relationships/tags" Target="../tags/tag416.xml"/><Relationship Id="rId24" Type="http://schemas.openxmlformats.org/officeDocument/2006/relationships/tags" Target="../tags/tag411.xml"/><Relationship Id="rId40" Type="http://schemas.openxmlformats.org/officeDocument/2006/relationships/tags" Target="../tags/tag427.xml"/><Relationship Id="rId45" Type="http://schemas.openxmlformats.org/officeDocument/2006/relationships/tags" Target="../tags/tag432.xml"/><Relationship Id="rId66" Type="http://schemas.openxmlformats.org/officeDocument/2006/relationships/tags" Target="../tags/tag453.xml"/><Relationship Id="rId87" Type="http://schemas.openxmlformats.org/officeDocument/2006/relationships/tags" Target="../tags/tag474.xml"/><Relationship Id="rId110" Type="http://schemas.openxmlformats.org/officeDocument/2006/relationships/tags" Target="../tags/tag497.xml"/><Relationship Id="rId115" Type="http://schemas.openxmlformats.org/officeDocument/2006/relationships/tags" Target="../tags/tag502.xml"/><Relationship Id="rId131" Type="http://schemas.openxmlformats.org/officeDocument/2006/relationships/tags" Target="../tags/tag518.xml"/><Relationship Id="rId136" Type="http://schemas.openxmlformats.org/officeDocument/2006/relationships/tags" Target="../tags/tag523.xml"/><Relationship Id="rId157" Type="http://schemas.openxmlformats.org/officeDocument/2006/relationships/tags" Target="../tags/tag544.xml"/><Relationship Id="rId178" Type="http://schemas.openxmlformats.org/officeDocument/2006/relationships/slideLayout" Target="../slideLayouts/slideLayout3.xml"/><Relationship Id="rId61" Type="http://schemas.openxmlformats.org/officeDocument/2006/relationships/tags" Target="../tags/tag448.xml"/><Relationship Id="rId82" Type="http://schemas.openxmlformats.org/officeDocument/2006/relationships/tags" Target="../tags/tag469.xml"/><Relationship Id="rId152" Type="http://schemas.openxmlformats.org/officeDocument/2006/relationships/tags" Target="../tags/tag539.xml"/><Relationship Id="rId173" Type="http://schemas.openxmlformats.org/officeDocument/2006/relationships/tags" Target="../tags/tag560.xml"/><Relationship Id="rId19" Type="http://schemas.openxmlformats.org/officeDocument/2006/relationships/tags" Target="../tags/tag406.xml"/><Relationship Id="rId14" Type="http://schemas.openxmlformats.org/officeDocument/2006/relationships/tags" Target="../tags/tag401.xml"/><Relationship Id="rId30" Type="http://schemas.openxmlformats.org/officeDocument/2006/relationships/tags" Target="../tags/tag417.xml"/><Relationship Id="rId35" Type="http://schemas.openxmlformats.org/officeDocument/2006/relationships/tags" Target="../tags/tag422.xml"/><Relationship Id="rId56" Type="http://schemas.openxmlformats.org/officeDocument/2006/relationships/tags" Target="../tags/tag443.xml"/><Relationship Id="rId77" Type="http://schemas.openxmlformats.org/officeDocument/2006/relationships/tags" Target="../tags/tag464.xml"/><Relationship Id="rId100" Type="http://schemas.openxmlformats.org/officeDocument/2006/relationships/tags" Target="../tags/tag487.xml"/><Relationship Id="rId105" Type="http://schemas.openxmlformats.org/officeDocument/2006/relationships/tags" Target="../tags/tag492.xml"/><Relationship Id="rId126" Type="http://schemas.openxmlformats.org/officeDocument/2006/relationships/tags" Target="../tags/tag513.xml"/><Relationship Id="rId147" Type="http://schemas.openxmlformats.org/officeDocument/2006/relationships/tags" Target="../tags/tag534.xml"/><Relationship Id="rId168" Type="http://schemas.openxmlformats.org/officeDocument/2006/relationships/tags" Target="../tags/tag555.xml"/><Relationship Id="rId8" Type="http://schemas.openxmlformats.org/officeDocument/2006/relationships/tags" Target="../tags/tag395.xml"/><Relationship Id="rId51" Type="http://schemas.openxmlformats.org/officeDocument/2006/relationships/tags" Target="../tags/tag438.xml"/><Relationship Id="rId72" Type="http://schemas.openxmlformats.org/officeDocument/2006/relationships/tags" Target="../tags/tag459.xml"/><Relationship Id="rId93" Type="http://schemas.openxmlformats.org/officeDocument/2006/relationships/tags" Target="../tags/tag480.xml"/><Relationship Id="rId98" Type="http://schemas.openxmlformats.org/officeDocument/2006/relationships/tags" Target="../tags/tag485.xml"/><Relationship Id="rId121" Type="http://schemas.openxmlformats.org/officeDocument/2006/relationships/tags" Target="../tags/tag508.xml"/><Relationship Id="rId142" Type="http://schemas.openxmlformats.org/officeDocument/2006/relationships/tags" Target="../tags/tag529.xml"/><Relationship Id="rId163" Type="http://schemas.openxmlformats.org/officeDocument/2006/relationships/tags" Target="../tags/tag550.xml"/><Relationship Id="rId184" Type="http://schemas.openxmlformats.org/officeDocument/2006/relationships/chart" Target="../charts/chart9.xml"/><Relationship Id="rId3" Type="http://schemas.openxmlformats.org/officeDocument/2006/relationships/tags" Target="../tags/tag390.xml"/><Relationship Id="rId25" Type="http://schemas.openxmlformats.org/officeDocument/2006/relationships/tags" Target="../tags/tag412.xml"/><Relationship Id="rId46" Type="http://schemas.openxmlformats.org/officeDocument/2006/relationships/tags" Target="../tags/tag433.xml"/><Relationship Id="rId67" Type="http://schemas.openxmlformats.org/officeDocument/2006/relationships/tags" Target="../tags/tag454.xml"/><Relationship Id="rId116" Type="http://schemas.openxmlformats.org/officeDocument/2006/relationships/tags" Target="../tags/tag503.xml"/><Relationship Id="rId137" Type="http://schemas.openxmlformats.org/officeDocument/2006/relationships/tags" Target="../tags/tag524.xml"/><Relationship Id="rId158" Type="http://schemas.openxmlformats.org/officeDocument/2006/relationships/tags" Target="../tags/tag545.xml"/><Relationship Id="rId20" Type="http://schemas.openxmlformats.org/officeDocument/2006/relationships/tags" Target="../tags/tag407.xml"/><Relationship Id="rId41" Type="http://schemas.openxmlformats.org/officeDocument/2006/relationships/tags" Target="../tags/tag428.xml"/><Relationship Id="rId62" Type="http://schemas.openxmlformats.org/officeDocument/2006/relationships/tags" Target="../tags/tag449.xml"/><Relationship Id="rId83" Type="http://schemas.openxmlformats.org/officeDocument/2006/relationships/tags" Target="../tags/tag470.xml"/><Relationship Id="rId88" Type="http://schemas.openxmlformats.org/officeDocument/2006/relationships/tags" Target="../tags/tag475.xml"/><Relationship Id="rId111" Type="http://schemas.openxmlformats.org/officeDocument/2006/relationships/tags" Target="../tags/tag498.xml"/><Relationship Id="rId132" Type="http://schemas.openxmlformats.org/officeDocument/2006/relationships/tags" Target="../tags/tag519.xml"/><Relationship Id="rId153" Type="http://schemas.openxmlformats.org/officeDocument/2006/relationships/tags" Target="../tags/tag540.xml"/><Relationship Id="rId174" Type="http://schemas.openxmlformats.org/officeDocument/2006/relationships/tags" Target="../tags/tag561.xml"/><Relationship Id="rId179" Type="http://schemas.openxmlformats.org/officeDocument/2006/relationships/notesSlide" Target="../notesSlides/notesSlide4.xml"/><Relationship Id="rId15" Type="http://schemas.openxmlformats.org/officeDocument/2006/relationships/tags" Target="../tags/tag402.xml"/><Relationship Id="rId36" Type="http://schemas.openxmlformats.org/officeDocument/2006/relationships/tags" Target="../tags/tag423.xml"/><Relationship Id="rId57" Type="http://schemas.openxmlformats.org/officeDocument/2006/relationships/tags" Target="../tags/tag444.xml"/><Relationship Id="rId106" Type="http://schemas.openxmlformats.org/officeDocument/2006/relationships/tags" Target="../tags/tag493.xml"/><Relationship Id="rId127" Type="http://schemas.openxmlformats.org/officeDocument/2006/relationships/tags" Target="../tags/tag514.xml"/><Relationship Id="rId10" Type="http://schemas.openxmlformats.org/officeDocument/2006/relationships/tags" Target="../tags/tag397.xml"/><Relationship Id="rId31" Type="http://schemas.openxmlformats.org/officeDocument/2006/relationships/tags" Target="../tags/tag418.xml"/><Relationship Id="rId52" Type="http://schemas.openxmlformats.org/officeDocument/2006/relationships/tags" Target="../tags/tag439.xml"/><Relationship Id="rId73" Type="http://schemas.openxmlformats.org/officeDocument/2006/relationships/tags" Target="../tags/tag460.xml"/><Relationship Id="rId78" Type="http://schemas.openxmlformats.org/officeDocument/2006/relationships/tags" Target="../tags/tag465.xml"/><Relationship Id="rId94" Type="http://schemas.openxmlformats.org/officeDocument/2006/relationships/tags" Target="../tags/tag481.xml"/><Relationship Id="rId99" Type="http://schemas.openxmlformats.org/officeDocument/2006/relationships/tags" Target="../tags/tag486.xml"/><Relationship Id="rId101" Type="http://schemas.openxmlformats.org/officeDocument/2006/relationships/tags" Target="../tags/tag488.xml"/><Relationship Id="rId122" Type="http://schemas.openxmlformats.org/officeDocument/2006/relationships/tags" Target="../tags/tag509.xml"/><Relationship Id="rId143" Type="http://schemas.openxmlformats.org/officeDocument/2006/relationships/tags" Target="../tags/tag530.xml"/><Relationship Id="rId148" Type="http://schemas.openxmlformats.org/officeDocument/2006/relationships/tags" Target="../tags/tag535.xml"/><Relationship Id="rId164" Type="http://schemas.openxmlformats.org/officeDocument/2006/relationships/tags" Target="../tags/tag551.xml"/><Relationship Id="rId169" Type="http://schemas.openxmlformats.org/officeDocument/2006/relationships/tags" Target="../tags/tag556.xml"/><Relationship Id="rId4" Type="http://schemas.openxmlformats.org/officeDocument/2006/relationships/tags" Target="../tags/tag391.xml"/><Relationship Id="rId9" Type="http://schemas.openxmlformats.org/officeDocument/2006/relationships/tags" Target="../tags/tag396.xml"/><Relationship Id="rId180" Type="http://schemas.openxmlformats.org/officeDocument/2006/relationships/oleObject" Target="../embeddings/oleObject17.bin"/><Relationship Id="rId26" Type="http://schemas.openxmlformats.org/officeDocument/2006/relationships/tags" Target="../tags/tag413.xml"/><Relationship Id="rId47" Type="http://schemas.openxmlformats.org/officeDocument/2006/relationships/tags" Target="../tags/tag434.xml"/><Relationship Id="rId68" Type="http://schemas.openxmlformats.org/officeDocument/2006/relationships/tags" Target="../tags/tag455.xml"/><Relationship Id="rId89" Type="http://schemas.openxmlformats.org/officeDocument/2006/relationships/tags" Target="../tags/tag476.xml"/><Relationship Id="rId112" Type="http://schemas.openxmlformats.org/officeDocument/2006/relationships/tags" Target="../tags/tag499.xml"/><Relationship Id="rId133" Type="http://schemas.openxmlformats.org/officeDocument/2006/relationships/tags" Target="../tags/tag520.xml"/><Relationship Id="rId154" Type="http://schemas.openxmlformats.org/officeDocument/2006/relationships/tags" Target="../tags/tag541.xml"/><Relationship Id="rId175" Type="http://schemas.openxmlformats.org/officeDocument/2006/relationships/tags" Target="../tags/tag562.xml"/><Relationship Id="rId16" Type="http://schemas.openxmlformats.org/officeDocument/2006/relationships/tags" Target="../tags/tag403.xml"/><Relationship Id="rId37" Type="http://schemas.openxmlformats.org/officeDocument/2006/relationships/tags" Target="../tags/tag424.xml"/><Relationship Id="rId58" Type="http://schemas.openxmlformats.org/officeDocument/2006/relationships/tags" Target="../tags/tag445.xml"/><Relationship Id="rId79" Type="http://schemas.openxmlformats.org/officeDocument/2006/relationships/tags" Target="../tags/tag466.xml"/><Relationship Id="rId102" Type="http://schemas.openxmlformats.org/officeDocument/2006/relationships/tags" Target="../tags/tag489.xml"/><Relationship Id="rId123" Type="http://schemas.openxmlformats.org/officeDocument/2006/relationships/tags" Target="../tags/tag510.xml"/><Relationship Id="rId144" Type="http://schemas.openxmlformats.org/officeDocument/2006/relationships/tags" Target="../tags/tag531.xml"/><Relationship Id="rId90" Type="http://schemas.openxmlformats.org/officeDocument/2006/relationships/tags" Target="../tags/tag477.xml"/><Relationship Id="rId165" Type="http://schemas.openxmlformats.org/officeDocument/2006/relationships/tags" Target="../tags/tag552.xml"/><Relationship Id="rId27" Type="http://schemas.openxmlformats.org/officeDocument/2006/relationships/tags" Target="../tags/tag414.xml"/><Relationship Id="rId48" Type="http://schemas.openxmlformats.org/officeDocument/2006/relationships/tags" Target="../tags/tag435.xml"/><Relationship Id="rId69" Type="http://schemas.openxmlformats.org/officeDocument/2006/relationships/tags" Target="../tags/tag456.xml"/><Relationship Id="rId113" Type="http://schemas.openxmlformats.org/officeDocument/2006/relationships/tags" Target="../tags/tag500.xml"/><Relationship Id="rId134" Type="http://schemas.openxmlformats.org/officeDocument/2006/relationships/tags" Target="../tags/tag521.xml"/><Relationship Id="rId80" Type="http://schemas.openxmlformats.org/officeDocument/2006/relationships/tags" Target="../tags/tag467.xml"/><Relationship Id="rId155" Type="http://schemas.openxmlformats.org/officeDocument/2006/relationships/tags" Target="../tags/tag542.xml"/><Relationship Id="rId176" Type="http://schemas.openxmlformats.org/officeDocument/2006/relationships/tags" Target="../tags/tag563.xml"/><Relationship Id="rId17" Type="http://schemas.openxmlformats.org/officeDocument/2006/relationships/tags" Target="../tags/tag404.xml"/><Relationship Id="rId38" Type="http://schemas.openxmlformats.org/officeDocument/2006/relationships/tags" Target="../tags/tag425.xml"/><Relationship Id="rId59" Type="http://schemas.openxmlformats.org/officeDocument/2006/relationships/tags" Target="../tags/tag446.xml"/><Relationship Id="rId103" Type="http://schemas.openxmlformats.org/officeDocument/2006/relationships/tags" Target="../tags/tag490.xml"/><Relationship Id="rId124" Type="http://schemas.openxmlformats.org/officeDocument/2006/relationships/tags" Target="../tags/tag511.xml"/><Relationship Id="rId70" Type="http://schemas.openxmlformats.org/officeDocument/2006/relationships/tags" Target="../tags/tag457.xml"/><Relationship Id="rId91" Type="http://schemas.openxmlformats.org/officeDocument/2006/relationships/tags" Target="../tags/tag478.xml"/><Relationship Id="rId145" Type="http://schemas.openxmlformats.org/officeDocument/2006/relationships/tags" Target="../tags/tag532.xml"/><Relationship Id="rId166" Type="http://schemas.openxmlformats.org/officeDocument/2006/relationships/tags" Target="../tags/tag553.xml"/><Relationship Id="rId1" Type="http://schemas.openxmlformats.org/officeDocument/2006/relationships/vmlDrawing" Target="../drawings/vmlDrawing16.vml"/><Relationship Id="rId28" Type="http://schemas.openxmlformats.org/officeDocument/2006/relationships/tags" Target="../tags/tag415.xml"/><Relationship Id="rId49" Type="http://schemas.openxmlformats.org/officeDocument/2006/relationships/tags" Target="../tags/tag436.xml"/><Relationship Id="rId114" Type="http://schemas.openxmlformats.org/officeDocument/2006/relationships/tags" Target="../tags/tag501.xml"/></Relationships>
</file>

<file path=ppt/slides/_rels/slide18.xml.rels><?xml version="1.0" encoding="UTF-8" standalone="yes"?>
<Relationships xmlns="http://schemas.openxmlformats.org/package/2006/relationships"><Relationship Id="rId8" Type="http://schemas.openxmlformats.org/officeDocument/2006/relationships/tags" Target="../tags/tag571.xml"/><Relationship Id="rId13" Type="http://schemas.openxmlformats.org/officeDocument/2006/relationships/tags" Target="../tags/tag576.xml"/><Relationship Id="rId18" Type="http://schemas.openxmlformats.org/officeDocument/2006/relationships/chart" Target="../charts/chart10.xml"/><Relationship Id="rId3" Type="http://schemas.openxmlformats.org/officeDocument/2006/relationships/tags" Target="../tags/tag566.xml"/><Relationship Id="rId7" Type="http://schemas.openxmlformats.org/officeDocument/2006/relationships/tags" Target="../tags/tag570.xml"/><Relationship Id="rId12" Type="http://schemas.openxmlformats.org/officeDocument/2006/relationships/tags" Target="../tags/tag575.xml"/><Relationship Id="rId17" Type="http://schemas.openxmlformats.org/officeDocument/2006/relationships/image" Target="../media/image18.emf"/><Relationship Id="rId2" Type="http://schemas.openxmlformats.org/officeDocument/2006/relationships/tags" Target="../tags/tag565.xml"/><Relationship Id="rId16" Type="http://schemas.openxmlformats.org/officeDocument/2006/relationships/oleObject" Target="../embeddings/oleObject18.bin"/><Relationship Id="rId1" Type="http://schemas.openxmlformats.org/officeDocument/2006/relationships/vmlDrawing" Target="../drawings/vmlDrawing17.vml"/><Relationship Id="rId6" Type="http://schemas.openxmlformats.org/officeDocument/2006/relationships/tags" Target="../tags/tag569.xml"/><Relationship Id="rId11" Type="http://schemas.openxmlformats.org/officeDocument/2006/relationships/tags" Target="../tags/tag574.xml"/><Relationship Id="rId5" Type="http://schemas.openxmlformats.org/officeDocument/2006/relationships/tags" Target="../tags/tag568.xml"/><Relationship Id="rId15" Type="http://schemas.openxmlformats.org/officeDocument/2006/relationships/slideLayout" Target="../slideLayouts/slideLayout3.xml"/><Relationship Id="rId10" Type="http://schemas.openxmlformats.org/officeDocument/2006/relationships/tags" Target="../tags/tag573.xml"/><Relationship Id="rId19" Type="http://schemas.openxmlformats.org/officeDocument/2006/relationships/chart" Target="../charts/chart11.xml"/><Relationship Id="rId4" Type="http://schemas.openxmlformats.org/officeDocument/2006/relationships/tags" Target="../tags/tag567.xml"/><Relationship Id="rId9" Type="http://schemas.openxmlformats.org/officeDocument/2006/relationships/tags" Target="../tags/tag572.xml"/><Relationship Id="rId14" Type="http://schemas.openxmlformats.org/officeDocument/2006/relationships/tags" Target="../tags/tag577.xml"/></Relationships>
</file>

<file path=ppt/slides/_rels/slide19.xml.rels><?xml version="1.0" encoding="UTF-8" standalone="yes"?>
<Relationships xmlns="http://schemas.openxmlformats.org/package/2006/relationships"><Relationship Id="rId26" Type="http://schemas.openxmlformats.org/officeDocument/2006/relationships/tags" Target="../tags/tag602.xml"/><Relationship Id="rId117" Type="http://schemas.openxmlformats.org/officeDocument/2006/relationships/tags" Target="../tags/tag693.xml"/><Relationship Id="rId21" Type="http://schemas.openxmlformats.org/officeDocument/2006/relationships/tags" Target="../tags/tag597.xml"/><Relationship Id="rId42" Type="http://schemas.openxmlformats.org/officeDocument/2006/relationships/tags" Target="../tags/tag618.xml"/><Relationship Id="rId47" Type="http://schemas.openxmlformats.org/officeDocument/2006/relationships/tags" Target="../tags/tag623.xml"/><Relationship Id="rId63" Type="http://schemas.openxmlformats.org/officeDocument/2006/relationships/tags" Target="../tags/tag639.xml"/><Relationship Id="rId68" Type="http://schemas.openxmlformats.org/officeDocument/2006/relationships/tags" Target="../tags/tag644.xml"/><Relationship Id="rId84" Type="http://schemas.openxmlformats.org/officeDocument/2006/relationships/tags" Target="../tags/tag660.xml"/><Relationship Id="rId89" Type="http://schemas.openxmlformats.org/officeDocument/2006/relationships/tags" Target="../tags/tag665.xml"/><Relationship Id="rId112" Type="http://schemas.openxmlformats.org/officeDocument/2006/relationships/tags" Target="../tags/tag688.xml"/><Relationship Id="rId16" Type="http://schemas.openxmlformats.org/officeDocument/2006/relationships/tags" Target="../tags/tag592.xml"/><Relationship Id="rId107" Type="http://schemas.openxmlformats.org/officeDocument/2006/relationships/tags" Target="../tags/tag683.xml"/><Relationship Id="rId11" Type="http://schemas.openxmlformats.org/officeDocument/2006/relationships/tags" Target="../tags/tag587.xml"/><Relationship Id="rId32" Type="http://schemas.openxmlformats.org/officeDocument/2006/relationships/tags" Target="../tags/tag608.xml"/><Relationship Id="rId37" Type="http://schemas.openxmlformats.org/officeDocument/2006/relationships/tags" Target="../tags/tag613.xml"/><Relationship Id="rId53" Type="http://schemas.openxmlformats.org/officeDocument/2006/relationships/tags" Target="../tags/tag629.xml"/><Relationship Id="rId58" Type="http://schemas.openxmlformats.org/officeDocument/2006/relationships/tags" Target="../tags/tag634.xml"/><Relationship Id="rId74" Type="http://schemas.openxmlformats.org/officeDocument/2006/relationships/tags" Target="../tags/tag650.xml"/><Relationship Id="rId79" Type="http://schemas.openxmlformats.org/officeDocument/2006/relationships/tags" Target="../tags/tag655.xml"/><Relationship Id="rId102" Type="http://schemas.openxmlformats.org/officeDocument/2006/relationships/tags" Target="../tags/tag678.xml"/><Relationship Id="rId123" Type="http://schemas.openxmlformats.org/officeDocument/2006/relationships/chart" Target="../charts/chart13.xml"/><Relationship Id="rId5" Type="http://schemas.openxmlformats.org/officeDocument/2006/relationships/tags" Target="../tags/tag581.xml"/><Relationship Id="rId90" Type="http://schemas.openxmlformats.org/officeDocument/2006/relationships/tags" Target="../tags/tag666.xml"/><Relationship Id="rId95" Type="http://schemas.openxmlformats.org/officeDocument/2006/relationships/tags" Target="../tags/tag671.xml"/><Relationship Id="rId22" Type="http://schemas.openxmlformats.org/officeDocument/2006/relationships/tags" Target="../tags/tag598.xml"/><Relationship Id="rId27" Type="http://schemas.openxmlformats.org/officeDocument/2006/relationships/tags" Target="../tags/tag603.xml"/><Relationship Id="rId43" Type="http://schemas.openxmlformats.org/officeDocument/2006/relationships/tags" Target="../tags/tag619.xml"/><Relationship Id="rId48" Type="http://schemas.openxmlformats.org/officeDocument/2006/relationships/tags" Target="../tags/tag624.xml"/><Relationship Id="rId64" Type="http://schemas.openxmlformats.org/officeDocument/2006/relationships/tags" Target="../tags/tag640.xml"/><Relationship Id="rId69" Type="http://schemas.openxmlformats.org/officeDocument/2006/relationships/tags" Target="../tags/tag645.xml"/><Relationship Id="rId113" Type="http://schemas.openxmlformats.org/officeDocument/2006/relationships/tags" Target="../tags/tag689.xml"/><Relationship Id="rId118" Type="http://schemas.openxmlformats.org/officeDocument/2006/relationships/tags" Target="../tags/tag694.xml"/><Relationship Id="rId80" Type="http://schemas.openxmlformats.org/officeDocument/2006/relationships/tags" Target="../tags/tag656.xml"/><Relationship Id="rId85" Type="http://schemas.openxmlformats.org/officeDocument/2006/relationships/tags" Target="../tags/tag661.xml"/><Relationship Id="rId12" Type="http://schemas.openxmlformats.org/officeDocument/2006/relationships/tags" Target="../tags/tag588.xml"/><Relationship Id="rId17" Type="http://schemas.openxmlformats.org/officeDocument/2006/relationships/tags" Target="../tags/tag593.xml"/><Relationship Id="rId33" Type="http://schemas.openxmlformats.org/officeDocument/2006/relationships/tags" Target="../tags/tag609.xml"/><Relationship Id="rId38" Type="http://schemas.openxmlformats.org/officeDocument/2006/relationships/tags" Target="../tags/tag614.xml"/><Relationship Id="rId59" Type="http://schemas.openxmlformats.org/officeDocument/2006/relationships/tags" Target="../tags/tag635.xml"/><Relationship Id="rId103" Type="http://schemas.openxmlformats.org/officeDocument/2006/relationships/tags" Target="../tags/tag679.xml"/><Relationship Id="rId108" Type="http://schemas.openxmlformats.org/officeDocument/2006/relationships/tags" Target="../tags/tag684.xml"/><Relationship Id="rId124" Type="http://schemas.openxmlformats.org/officeDocument/2006/relationships/chart" Target="../charts/chart14.xml"/><Relationship Id="rId54" Type="http://schemas.openxmlformats.org/officeDocument/2006/relationships/tags" Target="../tags/tag630.xml"/><Relationship Id="rId70" Type="http://schemas.openxmlformats.org/officeDocument/2006/relationships/tags" Target="../tags/tag646.xml"/><Relationship Id="rId75" Type="http://schemas.openxmlformats.org/officeDocument/2006/relationships/tags" Target="../tags/tag651.xml"/><Relationship Id="rId91" Type="http://schemas.openxmlformats.org/officeDocument/2006/relationships/tags" Target="../tags/tag667.xml"/><Relationship Id="rId96" Type="http://schemas.openxmlformats.org/officeDocument/2006/relationships/tags" Target="../tags/tag672.xml"/><Relationship Id="rId1" Type="http://schemas.openxmlformats.org/officeDocument/2006/relationships/vmlDrawing" Target="../drawings/vmlDrawing18.vml"/><Relationship Id="rId6" Type="http://schemas.openxmlformats.org/officeDocument/2006/relationships/tags" Target="../tags/tag582.xml"/><Relationship Id="rId23" Type="http://schemas.openxmlformats.org/officeDocument/2006/relationships/tags" Target="../tags/tag599.xml"/><Relationship Id="rId28" Type="http://schemas.openxmlformats.org/officeDocument/2006/relationships/tags" Target="../tags/tag604.xml"/><Relationship Id="rId49" Type="http://schemas.openxmlformats.org/officeDocument/2006/relationships/tags" Target="../tags/tag625.xml"/><Relationship Id="rId114" Type="http://schemas.openxmlformats.org/officeDocument/2006/relationships/tags" Target="../tags/tag690.xml"/><Relationship Id="rId119" Type="http://schemas.openxmlformats.org/officeDocument/2006/relationships/slideLayout" Target="../slideLayouts/slideLayout3.xml"/><Relationship Id="rId44" Type="http://schemas.openxmlformats.org/officeDocument/2006/relationships/tags" Target="../tags/tag620.xml"/><Relationship Id="rId60" Type="http://schemas.openxmlformats.org/officeDocument/2006/relationships/tags" Target="../tags/tag636.xml"/><Relationship Id="rId65" Type="http://schemas.openxmlformats.org/officeDocument/2006/relationships/tags" Target="../tags/tag641.xml"/><Relationship Id="rId81" Type="http://schemas.openxmlformats.org/officeDocument/2006/relationships/tags" Target="../tags/tag657.xml"/><Relationship Id="rId86" Type="http://schemas.openxmlformats.org/officeDocument/2006/relationships/tags" Target="../tags/tag662.xml"/><Relationship Id="rId4" Type="http://schemas.openxmlformats.org/officeDocument/2006/relationships/tags" Target="../tags/tag580.xml"/><Relationship Id="rId9" Type="http://schemas.openxmlformats.org/officeDocument/2006/relationships/tags" Target="../tags/tag585.xml"/><Relationship Id="rId13" Type="http://schemas.openxmlformats.org/officeDocument/2006/relationships/tags" Target="../tags/tag589.xml"/><Relationship Id="rId18" Type="http://schemas.openxmlformats.org/officeDocument/2006/relationships/tags" Target="../tags/tag594.xml"/><Relationship Id="rId39" Type="http://schemas.openxmlformats.org/officeDocument/2006/relationships/tags" Target="../tags/tag615.xml"/><Relationship Id="rId109" Type="http://schemas.openxmlformats.org/officeDocument/2006/relationships/tags" Target="../tags/tag685.xml"/><Relationship Id="rId34" Type="http://schemas.openxmlformats.org/officeDocument/2006/relationships/tags" Target="../tags/tag610.xml"/><Relationship Id="rId50" Type="http://schemas.openxmlformats.org/officeDocument/2006/relationships/tags" Target="../tags/tag626.xml"/><Relationship Id="rId55" Type="http://schemas.openxmlformats.org/officeDocument/2006/relationships/tags" Target="../tags/tag631.xml"/><Relationship Id="rId76" Type="http://schemas.openxmlformats.org/officeDocument/2006/relationships/tags" Target="../tags/tag652.xml"/><Relationship Id="rId97" Type="http://schemas.openxmlformats.org/officeDocument/2006/relationships/tags" Target="../tags/tag673.xml"/><Relationship Id="rId104" Type="http://schemas.openxmlformats.org/officeDocument/2006/relationships/tags" Target="../tags/tag680.xml"/><Relationship Id="rId120" Type="http://schemas.openxmlformats.org/officeDocument/2006/relationships/oleObject" Target="../embeddings/oleObject19.bin"/><Relationship Id="rId7" Type="http://schemas.openxmlformats.org/officeDocument/2006/relationships/tags" Target="../tags/tag583.xml"/><Relationship Id="rId71" Type="http://schemas.openxmlformats.org/officeDocument/2006/relationships/tags" Target="../tags/tag647.xml"/><Relationship Id="rId92" Type="http://schemas.openxmlformats.org/officeDocument/2006/relationships/tags" Target="../tags/tag668.xml"/><Relationship Id="rId2" Type="http://schemas.openxmlformats.org/officeDocument/2006/relationships/tags" Target="../tags/tag578.xml"/><Relationship Id="rId29" Type="http://schemas.openxmlformats.org/officeDocument/2006/relationships/tags" Target="../tags/tag605.xml"/><Relationship Id="rId24" Type="http://schemas.openxmlformats.org/officeDocument/2006/relationships/tags" Target="../tags/tag600.xml"/><Relationship Id="rId40" Type="http://schemas.openxmlformats.org/officeDocument/2006/relationships/tags" Target="../tags/tag616.xml"/><Relationship Id="rId45" Type="http://schemas.openxmlformats.org/officeDocument/2006/relationships/tags" Target="../tags/tag621.xml"/><Relationship Id="rId66" Type="http://schemas.openxmlformats.org/officeDocument/2006/relationships/tags" Target="../tags/tag642.xml"/><Relationship Id="rId87" Type="http://schemas.openxmlformats.org/officeDocument/2006/relationships/tags" Target="../tags/tag663.xml"/><Relationship Id="rId110" Type="http://schemas.openxmlformats.org/officeDocument/2006/relationships/tags" Target="../tags/tag686.xml"/><Relationship Id="rId115" Type="http://schemas.openxmlformats.org/officeDocument/2006/relationships/tags" Target="../tags/tag691.xml"/><Relationship Id="rId61" Type="http://schemas.openxmlformats.org/officeDocument/2006/relationships/tags" Target="../tags/tag637.xml"/><Relationship Id="rId82" Type="http://schemas.openxmlformats.org/officeDocument/2006/relationships/tags" Target="../tags/tag658.xml"/><Relationship Id="rId19" Type="http://schemas.openxmlformats.org/officeDocument/2006/relationships/tags" Target="../tags/tag595.xml"/><Relationship Id="rId14" Type="http://schemas.openxmlformats.org/officeDocument/2006/relationships/tags" Target="../tags/tag590.xml"/><Relationship Id="rId30" Type="http://schemas.openxmlformats.org/officeDocument/2006/relationships/tags" Target="../tags/tag606.xml"/><Relationship Id="rId35" Type="http://schemas.openxmlformats.org/officeDocument/2006/relationships/tags" Target="../tags/tag611.xml"/><Relationship Id="rId56" Type="http://schemas.openxmlformats.org/officeDocument/2006/relationships/tags" Target="../tags/tag632.xml"/><Relationship Id="rId77" Type="http://schemas.openxmlformats.org/officeDocument/2006/relationships/tags" Target="../tags/tag653.xml"/><Relationship Id="rId100" Type="http://schemas.openxmlformats.org/officeDocument/2006/relationships/tags" Target="../tags/tag676.xml"/><Relationship Id="rId105" Type="http://schemas.openxmlformats.org/officeDocument/2006/relationships/tags" Target="../tags/tag681.xml"/><Relationship Id="rId8" Type="http://schemas.openxmlformats.org/officeDocument/2006/relationships/tags" Target="../tags/tag584.xml"/><Relationship Id="rId51" Type="http://schemas.openxmlformats.org/officeDocument/2006/relationships/tags" Target="../tags/tag627.xml"/><Relationship Id="rId72" Type="http://schemas.openxmlformats.org/officeDocument/2006/relationships/tags" Target="../tags/tag648.xml"/><Relationship Id="rId93" Type="http://schemas.openxmlformats.org/officeDocument/2006/relationships/tags" Target="../tags/tag669.xml"/><Relationship Id="rId98" Type="http://schemas.openxmlformats.org/officeDocument/2006/relationships/tags" Target="../tags/tag674.xml"/><Relationship Id="rId121" Type="http://schemas.openxmlformats.org/officeDocument/2006/relationships/image" Target="../media/image18.emf"/><Relationship Id="rId3" Type="http://schemas.openxmlformats.org/officeDocument/2006/relationships/tags" Target="../tags/tag579.xml"/><Relationship Id="rId25" Type="http://schemas.openxmlformats.org/officeDocument/2006/relationships/tags" Target="../tags/tag601.xml"/><Relationship Id="rId46" Type="http://schemas.openxmlformats.org/officeDocument/2006/relationships/tags" Target="../tags/tag622.xml"/><Relationship Id="rId67" Type="http://schemas.openxmlformats.org/officeDocument/2006/relationships/tags" Target="../tags/tag643.xml"/><Relationship Id="rId116" Type="http://schemas.openxmlformats.org/officeDocument/2006/relationships/tags" Target="../tags/tag692.xml"/><Relationship Id="rId20" Type="http://schemas.openxmlformats.org/officeDocument/2006/relationships/tags" Target="../tags/tag596.xml"/><Relationship Id="rId41" Type="http://schemas.openxmlformats.org/officeDocument/2006/relationships/tags" Target="../tags/tag617.xml"/><Relationship Id="rId62" Type="http://schemas.openxmlformats.org/officeDocument/2006/relationships/tags" Target="../tags/tag638.xml"/><Relationship Id="rId83" Type="http://schemas.openxmlformats.org/officeDocument/2006/relationships/tags" Target="../tags/tag659.xml"/><Relationship Id="rId88" Type="http://schemas.openxmlformats.org/officeDocument/2006/relationships/tags" Target="../tags/tag664.xml"/><Relationship Id="rId111" Type="http://schemas.openxmlformats.org/officeDocument/2006/relationships/tags" Target="../tags/tag687.xml"/><Relationship Id="rId15" Type="http://schemas.openxmlformats.org/officeDocument/2006/relationships/tags" Target="../tags/tag591.xml"/><Relationship Id="rId36" Type="http://schemas.openxmlformats.org/officeDocument/2006/relationships/tags" Target="../tags/tag612.xml"/><Relationship Id="rId57" Type="http://schemas.openxmlformats.org/officeDocument/2006/relationships/tags" Target="../tags/tag633.xml"/><Relationship Id="rId106" Type="http://schemas.openxmlformats.org/officeDocument/2006/relationships/tags" Target="../tags/tag682.xml"/><Relationship Id="rId10" Type="http://schemas.openxmlformats.org/officeDocument/2006/relationships/tags" Target="../tags/tag586.xml"/><Relationship Id="rId31" Type="http://schemas.openxmlformats.org/officeDocument/2006/relationships/tags" Target="../tags/tag607.xml"/><Relationship Id="rId52" Type="http://schemas.openxmlformats.org/officeDocument/2006/relationships/tags" Target="../tags/tag628.xml"/><Relationship Id="rId73" Type="http://schemas.openxmlformats.org/officeDocument/2006/relationships/tags" Target="../tags/tag649.xml"/><Relationship Id="rId78" Type="http://schemas.openxmlformats.org/officeDocument/2006/relationships/tags" Target="../tags/tag654.xml"/><Relationship Id="rId94" Type="http://schemas.openxmlformats.org/officeDocument/2006/relationships/tags" Target="../tags/tag670.xml"/><Relationship Id="rId99" Type="http://schemas.openxmlformats.org/officeDocument/2006/relationships/tags" Target="../tags/tag675.xml"/><Relationship Id="rId101" Type="http://schemas.openxmlformats.org/officeDocument/2006/relationships/tags" Target="../tags/tag677.xml"/><Relationship Id="rId122" Type="http://schemas.openxmlformats.org/officeDocument/2006/relationships/chart" Target="../charts/chart1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9.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tags" Target="../tags/tag696.xml"/><Relationship Id="rId7" Type="http://schemas.openxmlformats.org/officeDocument/2006/relationships/package" Target="../embeddings/Microsoft_Excel_Worksheet.xlsx"/><Relationship Id="rId2" Type="http://schemas.openxmlformats.org/officeDocument/2006/relationships/tags" Target="../tags/tag695.xml"/><Relationship Id="rId1" Type="http://schemas.openxmlformats.org/officeDocument/2006/relationships/vmlDrawing" Target="../drawings/vmlDrawing19.vml"/><Relationship Id="rId6" Type="http://schemas.openxmlformats.org/officeDocument/2006/relationships/image" Target="../media/image20.emf"/><Relationship Id="rId5" Type="http://schemas.openxmlformats.org/officeDocument/2006/relationships/oleObject" Target="../embeddings/oleObject20.bin"/><Relationship Id="rId4"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tags" Target="../tags/tag698.xml"/><Relationship Id="rId2" Type="http://schemas.openxmlformats.org/officeDocument/2006/relationships/tags" Target="../tags/tag697.xml"/><Relationship Id="rId1" Type="http://schemas.openxmlformats.org/officeDocument/2006/relationships/vmlDrawing" Target="../drawings/vmlDrawing20.vml"/><Relationship Id="rId6" Type="http://schemas.openxmlformats.org/officeDocument/2006/relationships/image" Target="../media/image20.emf"/><Relationship Id="rId5" Type="http://schemas.openxmlformats.org/officeDocument/2006/relationships/oleObject" Target="../embeddings/oleObject21.bin"/><Relationship Id="rId4"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3" Type="http://schemas.openxmlformats.org/officeDocument/2006/relationships/tags" Target="../tags/tag710.xml"/><Relationship Id="rId18" Type="http://schemas.openxmlformats.org/officeDocument/2006/relationships/tags" Target="../tags/tag715.xml"/><Relationship Id="rId26" Type="http://schemas.openxmlformats.org/officeDocument/2006/relationships/tags" Target="../tags/tag723.xml"/><Relationship Id="rId39" Type="http://schemas.openxmlformats.org/officeDocument/2006/relationships/tags" Target="../tags/tag736.xml"/><Relationship Id="rId21" Type="http://schemas.openxmlformats.org/officeDocument/2006/relationships/tags" Target="../tags/tag718.xml"/><Relationship Id="rId34" Type="http://schemas.openxmlformats.org/officeDocument/2006/relationships/tags" Target="../tags/tag731.xml"/><Relationship Id="rId42" Type="http://schemas.openxmlformats.org/officeDocument/2006/relationships/tags" Target="../tags/tag739.xml"/><Relationship Id="rId47" Type="http://schemas.openxmlformats.org/officeDocument/2006/relationships/tags" Target="../tags/tag744.xml"/><Relationship Id="rId50" Type="http://schemas.openxmlformats.org/officeDocument/2006/relationships/tags" Target="../tags/tag747.xml"/><Relationship Id="rId55" Type="http://schemas.openxmlformats.org/officeDocument/2006/relationships/tags" Target="../tags/tag752.xml"/><Relationship Id="rId63" Type="http://schemas.openxmlformats.org/officeDocument/2006/relationships/chart" Target="../charts/chart15.xml"/><Relationship Id="rId7" Type="http://schemas.openxmlformats.org/officeDocument/2006/relationships/tags" Target="../tags/tag704.xml"/><Relationship Id="rId2" Type="http://schemas.openxmlformats.org/officeDocument/2006/relationships/tags" Target="../tags/tag699.xml"/><Relationship Id="rId16" Type="http://schemas.openxmlformats.org/officeDocument/2006/relationships/tags" Target="../tags/tag713.xml"/><Relationship Id="rId29" Type="http://schemas.openxmlformats.org/officeDocument/2006/relationships/tags" Target="../tags/tag726.xml"/><Relationship Id="rId11" Type="http://schemas.openxmlformats.org/officeDocument/2006/relationships/tags" Target="../tags/tag708.xml"/><Relationship Id="rId24" Type="http://schemas.openxmlformats.org/officeDocument/2006/relationships/tags" Target="../tags/tag721.xml"/><Relationship Id="rId32" Type="http://schemas.openxmlformats.org/officeDocument/2006/relationships/tags" Target="../tags/tag729.xml"/><Relationship Id="rId37" Type="http://schemas.openxmlformats.org/officeDocument/2006/relationships/tags" Target="../tags/tag734.xml"/><Relationship Id="rId40" Type="http://schemas.openxmlformats.org/officeDocument/2006/relationships/tags" Target="../tags/tag737.xml"/><Relationship Id="rId45" Type="http://schemas.openxmlformats.org/officeDocument/2006/relationships/tags" Target="../tags/tag742.xml"/><Relationship Id="rId53" Type="http://schemas.openxmlformats.org/officeDocument/2006/relationships/tags" Target="../tags/tag750.xml"/><Relationship Id="rId58" Type="http://schemas.openxmlformats.org/officeDocument/2006/relationships/tags" Target="../tags/tag755.xml"/><Relationship Id="rId5" Type="http://schemas.openxmlformats.org/officeDocument/2006/relationships/tags" Target="../tags/tag702.xml"/><Relationship Id="rId61" Type="http://schemas.openxmlformats.org/officeDocument/2006/relationships/oleObject" Target="../embeddings/oleObject22.bin"/><Relationship Id="rId19" Type="http://schemas.openxmlformats.org/officeDocument/2006/relationships/tags" Target="../tags/tag716.xml"/><Relationship Id="rId14" Type="http://schemas.openxmlformats.org/officeDocument/2006/relationships/tags" Target="../tags/tag711.xml"/><Relationship Id="rId22" Type="http://schemas.openxmlformats.org/officeDocument/2006/relationships/tags" Target="../tags/tag719.xml"/><Relationship Id="rId27" Type="http://schemas.openxmlformats.org/officeDocument/2006/relationships/tags" Target="../tags/tag724.xml"/><Relationship Id="rId30" Type="http://schemas.openxmlformats.org/officeDocument/2006/relationships/tags" Target="../tags/tag727.xml"/><Relationship Id="rId35" Type="http://schemas.openxmlformats.org/officeDocument/2006/relationships/tags" Target="../tags/tag732.xml"/><Relationship Id="rId43" Type="http://schemas.openxmlformats.org/officeDocument/2006/relationships/tags" Target="../tags/tag740.xml"/><Relationship Id="rId48" Type="http://schemas.openxmlformats.org/officeDocument/2006/relationships/tags" Target="../tags/tag745.xml"/><Relationship Id="rId56" Type="http://schemas.openxmlformats.org/officeDocument/2006/relationships/tags" Target="../tags/tag753.xml"/><Relationship Id="rId64" Type="http://schemas.openxmlformats.org/officeDocument/2006/relationships/chart" Target="../charts/chart16.xml"/><Relationship Id="rId8" Type="http://schemas.openxmlformats.org/officeDocument/2006/relationships/tags" Target="../tags/tag705.xml"/><Relationship Id="rId51" Type="http://schemas.openxmlformats.org/officeDocument/2006/relationships/tags" Target="../tags/tag748.xml"/><Relationship Id="rId3" Type="http://schemas.openxmlformats.org/officeDocument/2006/relationships/tags" Target="../tags/tag700.xml"/><Relationship Id="rId12" Type="http://schemas.openxmlformats.org/officeDocument/2006/relationships/tags" Target="../tags/tag709.xml"/><Relationship Id="rId17" Type="http://schemas.openxmlformats.org/officeDocument/2006/relationships/tags" Target="../tags/tag714.xml"/><Relationship Id="rId25" Type="http://schemas.openxmlformats.org/officeDocument/2006/relationships/tags" Target="../tags/tag722.xml"/><Relationship Id="rId33" Type="http://schemas.openxmlformats.org/officeDocument/2006/relationships/tags" Target="../tags/tag730.xml"/><Relationship Id="rId38" Type="http://schemas.openxmlformats.org/officeDocument/2006/relationships/tags" Target="../tags/tag735.xml"/><Relationship Id="rId46" Type="http://schemas.openxmlformats.org/officeDocument/2006/relationships/tags" Target="../tags/tag743.xml"/><Relationship Id="rId59" Type="http://schemas.openxmlformats.org/officeDocument/2006/relationships/tags" Target="../tags/tag756.xml"/><Relationship Id="rId20" Type="http://schemas.openxmlformats.org/officeDocument/2006/relationships/tags" Target="../tags/tag717.xml"/><Relationship Id="rId41" Type="http://schemas.openxmlformats.org/officeDocument/2006/relationships/tags" Target="../tags/tag738.xml"/><Relationship Id="rId54" Type="http://schemas.openxmlformats.org/officeDocument/2006/relationships/tags" Target="../tags/tag751.xml"/><Relationship Id="rId62" Type="http://schemas.openxmlformats.org/officeDocument/2006/relationships/image" Target="../media/image18.emf"/><Relationship Id="rId1" Type="http://schemas.openxmlformats.org/officeDocument/2006/relationships/vmlDrawing" Target="../drawings/vmlDrawing21.vml"/><Relationship Id="rId6" Type="http://schemas.openxmlformats.org/officeDocument/2006/relationships/tags" Target="../tags/tag703.xml"/><Relationship Id="rId15" Type="http://schemas.openxmlformats.org/officeDocument/2006/relationships/tags" Target="../tags/tag712.xml"/><Relationship Id="rId23" Type="http://schemas.openxmlformats.org/officeDocument/2006/relationships/tags" Target="../tags/tag720.xml"/><Relationship Id="rId28" Type="http://schemas.openxmlformats.org/officeDocument/2006/relationships/tags" Target="../tags/tag725.xml"/><Relationship Id="rId36" Type="http://schemas.openxmlformats.org/officeDocument/2006/relationships/tags" Target="../tags/tag733.xml"/><Relationship Id="rId49" Type="http://schemas.openxmlformats.org/officeDocument/2006/relationships/tags" Target="../tags/tag746.xml"/><Relationship Id="rId57" Type="http://schemas.openxmlformats.org/officeDocument/2006/relationships/tags" Target="../tags/tag754.xml"/><Relationship Id="rId10" Type="http://schemas.openxmlformats.org/officeDocument/2006/relationships/tags" Target="../tags/tag707.xml"/><Relationship Id="rId31" Type="http://schemas.openxmlformats.org/officeDocument/2006/relationships/tags" Target="../tags/tag728.xml"/><Relationship Id="rId44" Type="http://schemas.openxmlformats.org/officeDocument/2006/relationships/tags" Target="../tags/tag741.xml"/><Relationship Id="rId52" Type="http://schemas.openxmlformats.org/officeDocument/2006/relationships/tags" Target="../tags/tag749.xml"/><Relationship Id="rId60" Type="http://schemas.openxmlformats.org/officeDocument/2006/relationships/slideLayout" Target="../slideLayouts/slideLayout3.xml"/><Relationship Id="rId4" Type="http://schemas.openxmlformats.org/officeDocument/2006/relationships/tags" Target="../tags/tag701.xml"/><Relationship Id="rId9" Type="http://schemas.openxmlformats.org/officeDocument/2006/relationships/tags" Target="../tags/tag706.xml"/></Relationships>
</file>

<file path=ppt/slides/_rels/slide23.xml.rels><?xml version="1.0" encoding="UTF-8" standalone="yes"?>
<Relationships xmlns="http://schemas.openxmlformats.org/package/2006/relationships"><Relationship Id="rId8" Type="http://schemas.openxmlformats.org/officeDocument/2006/relationships/tags" Target="../tags/tag763.xml"/><Relationship Id="rId13" Type="http://schemas.openxmlformats.org/officeDocument/2006/relationships/slideLayout" Target="../slideLayouts/slideLayout3.xml"/><Relationship Id="rId3" Type="http://schemas.openxmlformats.org/officeDocument/2006/relationships/tags" Target="../tags/tag758.xml"/><Relationship Id="rId7" Type="http://schemas.openxmlformats.org/officeDocument/2006/relationships/tags" Target="../tags/tag762.xml"/><Relationship Id="rId12" Type="http://schemas.openxmlformats.org/officeDocument/2006/relationships/tags" Target="../tags/tag767.xml"/><Relationship Id="rId17" Type="http://schemas.openxmlformats.org/officeDocument/2006/relationships/hyperlink" Target="https://www.healthprofessionals.gov.sg/docs/librariesprovider5/announcements/2021_ahpc-annual-report_final.pdf" TargetMode="External"/><Relationship Id="rId2" Type="http://schemas.openxmlformats.org/officeDocument/2006/relationships/tags" Target="../tags/tag757.xml"/><Relationship Id="rId16" Type="http://schemas.openxmlformats.org/officeDocument/2006/relationships/chart" Target="../charts/chart17.xml"/><Relationship Id="rId1" Type="http://schemas.openxmlformats.org/officeDocument/2006/relationships/vmlDrawing" Target="../drawings/vmlDrawing22.vml"/><Relationship Id="rId6" Type="http://schemas.openxmlformats.org/officeDocument/2006/relationships/tags" Target="../tags/tag761.xml"/><Relationship Id="rId11" Type="http://schemas.openxmlformats.org/officeDocument/2006/relationships/tags" Target="../tags/tag766.xml"/><Relationship Id="rId5" Type="http://schemas.openxmlformats.org/officeDocument/2006/relationships/tags" Target="../tags/tag760.xml"/><Relationship Id="rId15" Type="http://schemas.openxmlformats.org/officeDocument/2006/relationships/image" Target="../media/image20.emf"/><Relationship Id="rId10" Type="http://schemas.openxmlformats.org/officeDocument/2006/relationships/tags" Target="../tags/tag765.xml"/><Relationship Id="rId4" Type="http://schemas.openxmlformats.org/officeDocument/2006/relationships/tags" Target="../tags/tag759.xml"/><Relationship Id="rId9" Type="http://schemas.openxmlformats.org/officeDocument/2006/relationships/tags" Target="../tags/tag764.xml"/><Relationship Id="rId14" Type="http://schemas.openxmlformats.org/officeDocument/2006/relationships/oleObject" Target="../embeddings/oleObject23.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68.xml"/><Relationship Id="rId1" Type="http://schemas.openxmlformats.org/officeDocument/2006/relationships/vmlDrawing" Target="../drawings/vmlDrawing23.vml"/><Relationship Id="rId5" Type="http://schemas.openxmlformats.org/officeDocument/2006/relationships/image" Target="../media/image20.emf"/><Relationship Id="rId4" Type="http://schemas.openxmlformats.org/officeDocument/2006/relationships/oleObject" Target="../embeddings/oleObject24.bin"/></Relationships>
</file>

<file path=ppt/slides/_rels/slide25.xml.rels><?xml version="1.0" encoding="UTF-8" standalone="yes"?>
<Relationships xmlns="http://schemas.openxmlformats.org/package/2006/relationships"><Relationship Id="rId8" Type="http://schemas.openxmlformats.org/officeDocument/2006/relationships/tags" Target="../tags/tag775.xml"/><Relationship Id="rId13" Type="http://schemas.openxmlformats.org/officeDocument/2006/relationships/tags" Target="../tags/tag780.xml"/><Relationship Id="rId18" Type="http://schemas.openxmlformats.org/officeDocument/2006/relationships/tags" Target="../tags/tag785.xml"/><Relationship Id="rId26" Type="http://schemas.openxmlformats.org/officeDocument/2006/relationships/slideLayout" Target="../slideLayouts/slideLayout3.xml"/><Relationship Id="rId3" Type="http://schemas.openxmlformats.org/officeDocument/2006/relationships/tags" Target="../tags/tag770.xml"/><Relationship Id="rId21" Type="http://schemas.openxmlformats.org/officeDocument/2006/relationships/tags" Target="../tags/tag788.xml"/><Relationship Id="rId7" Type="http://schemas.openxmlformats.org/officeDocument/2006/relationships/tags" Target="../tags/tag774.xml"/><Relationship Id="rId12" Type="http://schemas.openxmlformats.org/officeDocument/2006/relationships/tags" Target="../tags/tag779.xml"/><Relationship Id="rId17" Type="http://schemas.openxmlformats.org/officeDocument/2006/relationships/tags" Target="../tags/tag784.xml"/><Relationship Id="rId25" Type="http://schemas.openxmlformats.org/officeDocument/2006/relationships/tags" Target="../tags/tag792.xml"/><Relationship Id="rId2" Type="http://schemas.openxmlformats.org/officeDocument/2006/relationships/tags" Target="../tags/tag769.xml"/><Relationship Id="rId16" Type="http://schemas.openxmlformats.org/officeDocument/2006/relationships/tags" Target="../tags/tag783.xml"/><Relationship Id="rId20" Type="http://schemas.openxmlformats.org/officeDocument/2006/relationships/tags" Target="../tags/tag787.xml"/><Relationship Id="rId29" Type="http://schemas.openxmlformats.org/officeDocument/2006/relationships/chart" Target="../charts/chart18.xml"/><Relationship Id="rId1" Type="http://schemas.openxmlformats.org/officeDocument/2006/relationships/vmlDrawing" Target="../drawings/vmlDrawing24.vml"/><Relationship Id="rId6" Type="http://schemas.openxmlformats.org/officeDocument/2006/relationships/tags" Target="../tags/tag773.xml"/><Relationship Id="rId11" Type="http://schemas.openxmlformats.org/officeDocument/2006/relationships/tags" Target="../tags/tag778.xml"/><Relationship Id="rId24" Type="http://schemas.openxmlformats.org/officeDocument/2006/relationships/tags" Target="../tags/tag791.xml"/><Relationship Id="rId5" Type="http://schemas.openxmlformats.org/officeDocument/2006/relationships/tags" Target="../tags/tag772.xml"/><Relationship Id="rId15" Type="http://schemas.openxmlformats.org/officeDocument/2006/relationships/tags" Target="../tags/tag782.xml"/><Relationship Id="rId23" Type="http://schemas.openxmlformats.org/officeDocument/2006/relationships/tags" Target="../tags/tag790.xml"/><Relationship Id="rId28" Type="http://schemas.openxmlformats.org/officeDocument/2006/relationships/image" Target="../media/image20.emf"/><Relationship Id="rId10" Type="http://schemas.openxmlformats.org/officeDocument/2006/relationships/tags" Target="../tags/tag777.xml"/><Relationship Id="rId19" Type="http://schemas.openxmlformats.org/officeDocument/2006/relationships/tags" Target="../tags/tag786.xml"/><Relationship Id="rId4" Type="http://schemas.openxmlformats.org/officeDocument/2006/relationships/tags" Target="../tags/tag771.xml"/><Relationship Id="rId9" Type="http://schemas.openxmlformats.org/officeDocument/2006/relationships/tags" Target="../tags/tag776.xml"/><Relationship Id="rId14" Type="http://schemas.openxmlformats.org/officeDocument/2006/relationships/tags" Target="../tags/tag781.xml"/><Relationship Id="rId22" Type="http://schemas.openxmlformats.org/officeDocument/2006/relationships/tags" Target="../tags/tag789.xml"/><Relationship Id="rId27" Type="http://schemas.openxmlformats.org/officeDocument/2006/relationships/oleObject" Target="../embeddings/oleObject25.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93.xml"/><Relationship Id="rId1" Type="http://schemas.openxmlformats.org/officeDocument/2006/relationships/vmlDrawing" Target="../drawings/vmlDrawing25.vml"/><Relationship Id="rId5" Type="http://schemas.openxmlformats.org/officeDocument/2006/relationships/image" Target="../media/image20.emf"/><Relationship Id="rId4" Type="http://schemas.openxmlformats.org/officeDocument/2006/relationships/oleObject" Target="../embeddings/oleObject26.bin"/></Relationships>
</file>

<file path=ppt/slides/_rels/slide27.xml.rels><?xml version="1.0" encoding="UTF-8" standalone="yes"?>
<Relationships xmlns="http://schemas.openxmlformats.org/package/2006/relationships"><Relationship Id="rId8" Type="http://schemas.openxmlformats.org/officeDocument/2006/relationships/hyperlink" Target="https://www.hsa.gov.sg/medical-devices/registration/risk-classification" TargetMode="External"/><Relationship Id="rId3" Type="http://schemas.openxmlformats.org/officeDocument/2006/relationships/slideLayout" Target="../slideLayouts/slideLayout3.xml"/><Relationship Id="rId7" Type="http://schemas.openxmlformats.org/officeDocument/2006/relationships/hyperlink" Target="https://eservice.hsa.gov.sg/osc/portal/jsp/AA/choose.jsp" TargetMode="External"/><Relationship Id="rId2" Type="http://schemas.openxmlformats.org/officeDocument/2006/relationships/tags" Target="../tags/tag794.xml"/><Relationship Id="rId1" Type="http://schemas.openxmlformats.org/officeDocument/2006/relationships/vmlDrawing" Target="../drawings/vmlDrawing26.vml"/><Relationship Id="rId6" Type="http://schemas.openxmlformats.org/officeDocument/2006/relationships/hyperlink" Target="https://www.hsa.gov.sg/medical-devices" TargetMode="External"/><Relationship Id="rId5" Type="http://schemas.openxmlformats.org/officeDocument/2006/relationships/image" Target="../media/image20.emf"/><Relationship Id="rId4" Type="http://schemas.openxmlformats.org/officeDocument/2006/relationships/oleObject" Target="../embeddings/oleObject27.bin"/><Relationship Id="rId9" Type="http://schemas.openxmlformats.org/officeDocument/2006/relationships/hyperlink" Target="https://www.hsa.gov.sg/medical-devices/fees" TargetMode="Externa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95.xml"/><Relationship Id="rId1" Type="http://schemas.openxmlformats.org/officeDocument/2006/relationships/vmlDrawing" Target="../drawings/vmlDrawing27.vml"/><Relationship Id="rId5" Type="http://schemas.openxmlformats.org/officeDocument/2006/relationships/image" Target="../media/image20.emf"/><Relationship Id="rId4" Type="http://schemas.openxmlformats.org/officeDocument/2006/relationships/oleObject" Target="../embeddings/oleObject28.bin"/></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96.xml"/><Relationship Id="rId1" Type="http://schemas.openxmlformats.org/officeDocument/2006/relationships/vmlDrawing" Target="../drawings/vmlDrawing28.vml"/><Relationship Id="rId5" Type="http://schemas.openxmlformats.org/officeDocument/2006/relationships/image" Target="../media/image20.emf"/><Relationship Id="rId4" Type="http://schemas.openxmlformats.org/officeDocument/2006/relationships/oleObject" Target="../embeddings/oleObject29.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9.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3" Type="http://schemas.openxmlformats.org/officeDocument/2006/relationships/tags" Target="../tags/tag798.xml"/><Relationship Id="rId2" Type="http://schemas.openxmlformats.org/officeDocument/2006/relationships/tags" Target="../tags/tag797.xml"/><Relationship Id="rId1" Type="http://schemas.openxmlformats.org/officeDocument/2006/relationships/vmlDrawing" Target="../drawings/vmlDrawing29.vml"/><Relationship Id="rId6" Type="http://schemas.openxmlformats.org/officeDocument/2006/relationships/image" Target="../media/image20.emf"/><Relationship Id="rId5" Type="http://schemas.openxmlformats.org/officeDocument/2006/relationships/oleObject" Target="../embeddings/oleObject30.bin"/><Relationship Id="rId4"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99.xml"/><Relationship Id="rId1" Type="http://schemas.openxmlformats.org/officeDocument/2006/relationships/vmlDrawing" Target="../drawings/vmlDrawing30.vml"/><Relationship Id="rId6" Type="http://schemas.openxmlformats.org/officeDocument/2006/relationships/hyperlink" Target="https://www.jetro.go.jp/biz/areareports/2021/e178293b9f08889a.html" TargetMode="External"/><Relationship Id="rId5" Type="http://schemas.openxmlformats.org/officeDocument/2006/relationships/image" Target="../media/image20.emf"/><Relationship Id="rId4" Type="http://schemas.openxmlformats.org/officeDocument/2006/relationships/oleObject" Target="../embeddings/oleObject31.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00.xml"/><Relationship Id="rId1" Type="http://schemas.openxmlformats.org/officeDocument/2006/relationships/vmlDrawing" Target="../drawings/vmlDrawing31.vml"/><Relationship Id="rId5" Type="http://schemas.openxmlformats.org/officeDocument/2006/relationships/image" Target="../media/image20.emf"/><Relationship Id="rId4" Type="http://schemas.openxmlformats.org/officeDocument/2006/relationships/oleObject" Target="../embeddings/oleObject32.bin"/></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01.xml"/><Relationship Id="rId1" Type="http://schemas.openxmlformats.org/officeDocument/2006/relationships/vmlDrawing" Target="../drawings/vmlDrawing32.vml"/><Relationship Id="rId5" Type="http://schemas.openxmlformats.org/officeDocument/2006/relationships/image" Target="../media/image20.emf"/><Relationship Id="rId4" Type="http://schemas.openxmlformats.org/officeDocument/2006/relationships/oleObject" Target="../embeddings/oleObject33.bin"/></Relationships>
</file>

<file path=ppt/slides/_rels/slide34.xml.rels><?xml version="1.0" encoding="UTF-8" standalone="yes"?>
<Relationships xmlns="http://schemas.openxmlformats.org/package/2006/relationships"><Relationship Id="rId8" Type="http://schemas.openxmlformats.org/officeDocument/2006/relationships/hyperlink" Target="https://blog.moneysmart.sg/career/highest-paying-jobs-in-singapore/" TargetMode="External"/><Relationship Id="rId3" Type="http://schemas.openxmlformats.org/officeDocument/2006/relationships/slideLayout" Target="../slideLayouts/slideLayout3.xml"/><Relationship Id="rId7" Type="http://schemas.openxmlformats.org/officeDocument/2006/relationships/hyperlink" Target="https://blog.moneysmart.sg/career/doctor-lawyer-salary-singapore/" TargetMode="External"/><Relationship Id="rId2" Type="http://schemas.openxmlformats.org/officeDocument/2006/relationships/tags" Target="../tags/tag802.xml"/><Relationship Id="rId1" Type="http://schemas.openxmlformats.org/officeDocument/2006/relationships/vmlDrawing" Target="../drawings/vmlDrawing33.vml"/><Relationship Id="rId6" Type="http://schemas.openxmlformats.org/officeDocument/2006/relationships/hyperlink" Target="https://www.todayonline.com/commentary/want-study-medicine-and-be-doctor-singapore-heres-what-you-need-know-1813681#:~:text=To%20become%20a%20specialist%2C%20a,get%20into%20the%20residency%20programme" TargetMode="External"/><Relationship Id="rId5" Type="http://schemas.openxmlformats.org/officeDocument/2006/relationships/image" Target="../media/image20.emf"/><Relationship Id="rId4" Type="http://schemas.openxmlformats.org/officeDocument/2006/relationships/oleObject" Target="../embeddings/oleObject34.bin"/></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https://www.healthprofessionals.gov.sg/smc/becoming-a-registered-doctor/register-of-medical-practitioners/temporary-registration" TargetMode="External"/><Relationship Id="rId2" Type="http://schemas.openxmlformats.org/officeDocument/2006/relationships/tags" Target="../tags/tag803.xml"/><Relationship Id="rId1" Type="http://schemas.openxmlformats.org/officeDocument/2006/relationships/vmlDrawing" Target="../drawings/vmlDrawing34.vml"/><Relationship Id="rId6" Type="http://schemas.openxmlformats.org/officeDocument/2006/relationships/hyperlink" Target="https://www.healthprofessionals.gov.sg/smc/becoming-a-registered-doctor/register-of-medical-practitioners/international-medical-graduates" TargetMode="External"/><Relationship Id="rId5" Type="http://schemas.openxmlformats.org/officeDocument/2006/relationships/image" Target="../media/image20.emf"/><Relationship Id="rId4" Type="http://schemas.openxmlformats.org/officeDocument/2006/relationships/oleObject" Target="../embeddings/oleObject35.bin"/></Relationships>
</file>

<file path=ppt/slides/_rels/slide36.xml.rels><?xml version="1.0" encoding="UTF-8" standalone="yes"?>
<Relationships xmlns="http://schemas.openxmlformats.org/package/2006/relationships"><Relationship Id="rId8" Type="http://schemas.openxmlformats.org/officeDocument/2006/relationships/tags" Target="../tags/tag810.xml"/><Relationship Id="rId13" Type="http://schemas.openxmlformats.org/officeDocument/2006/relationships/tags" Target="../tags/tag815.xml"/><Relationship Id="rId18" Type="http://schemas.openxmlformats.org/officeDocument/2006/relationships/tags" Target="../tags/tag820.xml"/><Relationship Id="rId26" Type="http://schemas.openxmlformats.org/officeDocument/2006/relationships/oleObject" Target="../embeddings/oleObject36.bin"/><Relationship Id="rId3" Type="http://schemas.openxmlformats.org/officeDocument/2006/relationships/tags" Target="../tags/tag805.xml"/><Relationship Id="rId21" Type="http://schemas.openxmlformats.org/officeDocument/2006/relationships/tags" Target="../tags/tag823.xml"/><Relationship Id="rId7" Type="http://schemas.openxmlformats.org/officeDocument/2006/relationships/tags" Target="../tags/tag809.xml"/><Relationship Id="rId12" Type="http://schemas.openxmlformats.org/officeDocument/2006/relationships/tags" Target="../tags/tag814.xml"/><Relationship Id="rId17" Type="http://schemas.openxmlformats.org/officeDocument/2006/relationships/tags" Target="../tags/tag819.xml"/><Relationship Id="rId25" Type="http://schemas.openxmlformats.org/officeDocument/2006/relationships/slideLayout" Target="../slideLayouts/slideLayout3.xml"/><Relationship Id="rId2" Type="http://schemas.openxmlformats.org/officeDocument/2006/relationships/tags" Target="../tags/tag804.xml"/><Relationship Id="rId16" Type="http://schemas.openxmlformats.org/officeDocument/2006/relationships/tags" Target="../tags/tag818.xml"/><Relationship Id="rId20" Type="http://schemas.openxmlformats.org/officeDocument/2006/relationships/tags" Target="../tags/tag822.xml"/><Relationship Id="rId1" Type="http://schemas.openxmlformats.org/officeDocument/2006/relationships/vmlDrawing" Target="../drawings/vmlDrawing35.vml"/><Relationship Id="rId6" Type="http://schemas.openxmlformats.org/officeDocument/2006/relationships/tags" Target="../tags/tag808.xml"/><Relationship Id="rId11" Type="http://schemas.openxmlformats.org/officeDocument/2006/relationships/tags" Target="../tags/tag813.xml"/><Relationship Id="rId24" Type="http://schemas.openxmlformats.org/officeDocument/2006/relationships/tags" Target="../tags/tag826.xml"/><Relationship Id="rId5" Type="http://schemas.openxmlformats.org/officeDocument/2006/relationships/tags" Target="../tags/tag807.xml"/><Relationship Id="rId15" Type="http://schemas.openxmlformats.org/officeDocument/2006/relationships/tags" Target="../tags/tag817.xml"/><Relationship Id="rId23" Type="http://schemas.openxmlformats.org/officeDocument/2006/relationships/tags" Target="../tags/tag825.xml"/><Relationship Id="rId28" Type="http://schemas.openxmlformats.org/officeDocument/2006/relationships/chart" Target="../charts/chart19.xml"/><Relationship Id="rId10" Type="http://schemas.openxmlformats.org/officeDocument/2006/relationships/tags" Target="../tags/tag812.xml"/><Relationship Id="rId19" Type="http://schemas.openxmlformats.org/officeDocument/2006/relationships/tags" Target="../tags/tag821.xml"/><Relationship Id="rId4" Type="http://schemas.openxmlformats.org/officeDocument/2006/relationships/tags" Target="../tags/tag806.xml"/><Relationship Id="rId9" Type="http://schemas.openxmlformats.org/officeDocument/2006/relationships/tags" Target="../tags/tag811.xml"/><Relationship Id="rId14" Type="http://schemas.openxmlformats.org/officeDocument/2006/relationships/tags" Target="../tags/tag816.xml"/><Relationship Id="rId22" Type="http://schemas.openxmlformats.org/officeDocument/2006/relationships/tags" Target="../tags/tag824.xml"/><Relationship Id="rId27" Type="http://schemas.openxmlformats.org/officeDocument/2006/relationships/image" Target="../media/image18.emf"/></Relationships>
</file>

<file path=ppt/slides/_rels/slide37.xml.rels><?xml version="1.0" encoding="UTF-8" standalone="yes"?>
<Relationships xmlns="http://schemas.openxmlformats.org/package/2006/relationships"><Relationship Id="rId8" Type="http://schemas.openxmlformats.org/officeDocument/2006/relationships/tags" Target="../tags/tag833.xml"/><Relationship Id="rId13" Type="http://schemas.openxmlformats.org/officeDocument/2006/relationships/tags" Target="../tags/tag838.xml"/><Relationship Id="rId18" Type="http://schemas.openxmlformats.org/officeDocument/2006/relationships/tags" Target="../tags/tag843.xml"/><Relationship Id="rId26" Type="http://schemas.openxmlformats.org/officeDocument/2006/relationships/chart" Target="../charts/chart20.xml"/><Relationship Id="rId3" Type="http://schemas.openxmlformats.org/officeDocument/2006/relationships/tags" Target="../tags/tag828.xml"/><Relationship Id="rId21" Type="http://schemas.openxmlformats.org/officeDocument/2006/relationships/tags" Target="../tags/tag846.xml"/><Relationship Id="rId7" Type="http://schemas.openxmlformats.org/officeDocument/2006/relationships/tags" Target="../tags/tag832.xml"/><Relationship Id="rId12" Type="http://schemas.openxmlformats.org/officeDocument/2006/relationships/tags" Target="../tags/tag837.xml"/><Relationship Id="rId17" Type="http://schemas.openxmlformats.org/officeDocument/2006/relationships/tags" Target="../tags/tag842.xml"/><Relationship Id="rId25" Type="http://schemas.openxmlformats.org/officeDocument/2006/relationships/image" Target="../media/image1.emf"/><Relationship Id="rId2" Type="http://schemas.openxmlformats.org/officeDocument/2006/relationships/tags" Target="../tags/tag827.xml"/><Relationship Id="rId16" Type="http://schemas.openxmlformats.org/officeDocument/2006/relationships/tags" Target="../tags/tag841.xml"/><Relationship Id="rId20" Type="http://schemas.openxmlformats.org/officeDocument/2006/relationships/tags" Target="../tags/tag845.xml"/><Relationship Id="rId1" Type="http://schemas.openxmlformats.org/officeDocument/2006/relationships/vmlDrawing" Target="../drawings/vmlDrawing36.vml"/><Relationship Id="rId6" Type="http://schemas.openxmlformats.org/officeDocument/2006/relationships/tags" Target="../tags/tag831.xml"/><Relationship Id="rId11" Type="http://schemas.openxmlformats.org/officeDocument/2006/relationships/tags" Target="../tags/tag836.xml"/><Relationship Id="rId24" Type="http://schemas.openxmlformats.org/officeDocument/2006/relationships/oleObject" Target="../embeddings/oleObject37.bin"/><Relationship Id="rId5" Type="http://schemas.openxmlformats.org/officeDocument/2006/relationships/tags" Target="../tags/tag830.xml"/><Relationship Id="rId15" Type="http://schemas.openxmlformats.org/officeDocument/2006/relationships/tags" Target="../tags/tag840.xml"/><Relationship Id="rId23" Type="http://schemas.openxmlformats.org/officeDocument/2006/relationships/slideLayout" Target="../slideLayouts/slideLayout3.xml"/><Relationship Id="rId10" Type="http://schemas.openxmlformats.org/officeDocument/2006/relationships/tags" Target="../tags/tag835.xml"/><Relationship Id="rId19" Type="http://schemas.openxmlformats.org/officeDocument/2006/relationships/tags" Target="../tags/tag844.xml"/><Relationship Id="rId4" Type="http://schemas.openxmlformats.org/officeDocument/2006/relationships/tags" Target="../tags/tag829.xml"/><Relationship Id="rId9" Type="http://schemas.openxmlformats.org/officeDocument/2006/relationships/tags" Target="../tags/tag834.xml"/><Relationship Id="rId14" Type="http://schemas.openxmlformats.org/officeDocument/2006/relationships/tags" Target="../tags/tag839.xml"/><Relationship Id="rId22" Type="http://schemas.openxmlformats.org/officeDocument/2006/relationships/tags" Target="../tags/tag847.xml"/></Relationships>
</file>

<file path=ppt/slides/_rels/slide38.xml.rels><?xml version="1.0" encoding="UTF-8" standalone="yes"?>
<Relationships xmlns="http://schemas.openxmlformats.org/package/2006/relationships"><Relationship Id="rId13" Type="http://schemas.openxmlformats.org/officeDocument/2006/relationships/tags" Target="../tags/tag859.xml"/><Relationship Id="rId18" Type="http://schemas.openxmlformats.org/officeDocument/2006/relationships/tags" Target="../tags/tag864.xml"/><Relationship Id="rId26" Type="http://schemas.openxmlformats.org/officeDocument/2006/relationships/tags" Target="../tags/tag872.xml"/><Relationship Id="rId39" Type="http://schemas.openxmlformats.org/officeDocument/2006/relationships/tags" Target="../tags/tag885.xml"/><Relationship Id="rId21" Type="http://schemas.openxmlformats.org/officeDocument/2006/relationships/tags" Target="../tags/tag867.xml"/><Relationship Id="rId34" Type="http://schemas.openxmlformats.org/officeDocument/2006/relationships/tags" Target="../tags/tag880.xml"/><Relationship Id="rId42" Type="http://schemas.openxmlformats.org/officeDocument/2006/relationships/slideLayout" Target="../slideLayouts/slideLayout3.xml"/><Relationship Id="rId7" Type="http://schemas.openxmlformats.org/officeDocument/2006/relationships/tags" Target="../tags/tag853.xml"/><Relationship Id="rId2" Type="http://schemas.openxmlformats.org/officeDocument/2006/relationships/tags" Target="../tags/tag848.xml"/><Relationship Id="rId16" Type="http://schemas.openxmlformats.org/officeDocument/2006/relationships/tags" Target="../tags/tag862.xml"/><Relationship Id="rId29" Type="http://schemas.openxmlformats.org/officeDocument/2006/relationships/tags" Target="../tags/tag875.xml"/><Relationship Id="rId1" Type="http://schemas.openxmlformats.org/officeDocument/2006/relationships/vmlDrawing" Target="../drawings/vmlDrawing37.vml"/><Relationship Id="rId6" Type="http://schemas.openxmlformats.org/officeDocument/2006/relationships/tags" Target="../tags/tag852.xml"/><Relationship Id="rId11" Type="http://schemas.openxmlformats.org/officeDocument/2006/relationships/tags" Target="../tags/tag857.xml"/><Relationship Id="rId24" Type="http://schemas.openxmlformats.org/officeDocument/2006/relationships/tags" Target="../tags/tag870.xml"/><Relationship Id="rId32" Type="http://schemas.openxmlformats.org/officeDocument/2006/relationships/tags" Target="../tags/tag878.xml"/><Relationship Id="rId37" Type="http://schemas.openxmlformats.org/officeDocument/2006/relationships/tags" Target="../tags/tag883.xml"/><Relationship Id="rId40" Type="http://schemas.openxmlformats.org/officeDocument/2006/relationships/tags" Target="../tags/tag886.xml"/><Relationship Id="rId45" Type="http://schemas.openxmlformats.org/officeDocument/2006/relationships/chart" Target="../charts/chart21.xml"/><Relationship Id="rId5" Type="http://schemas.openxmlformats.org/officeDocument/2006/relationships/tags" Target="../tags/tag851.xml"/><Relationship Id="rId15" Type="http://schemas.openxmlformats.org/officeDocument/2006/relationships/tags" Target="../tags/tag861.xml"/><Relationship Id="rId23" Type="http://schemas.openxmlformats.org/officeDocument/2006/relationships/tags" Target="../tags/tag869.xml"/><Relationship Id="rId28" Type="http://schemas.openxmlformats.org/officeDocument/2006/relationships/tags" Target="../tags/tag874.xml"/><Relationship Id="rId36" Type="http://schemas.openxmlformats.org/officeDocument/2006/relationships/tags" Target="../tags/tag882.xml"/><Relationship Id="rId10" Type="http://schemas.openxmlformats.org/officeDocument/2006/relationships/tags" Target="../tags/tag856.xml"/><Relationship Id="rId19" Type="http://schemas.openxmlformats.org/officeDocument/2006/relationships/tags" Target="../tags/tag865.xml"/><Relationship Id="rId31" Type="http://schemas.openxmlformats.org/officeDocument/2006/relationships/tags" Target="../tags/tag877.xml"/><Relationship Id="rId44" Type="http://schemas.openxmlformats.org/officeDocument/2006/relationships/image" Target="../media/image18.emf"/><Relationship Id="rId4" Type="http://schemas.openxmlformats.org/officeDocument/2006/relationships/tags" Target="../tags/tag850.xml"/><Relationship Id="rId9" Type="http://schemas.openxmlformats.org/officeDocument/2006/relationships/tags" Target="../tags/tag855.xml"/><Relationship Id="rId14" Type="http://schemas.openxmlformats.org/officeDocument/2006/relationships/tags" Target="../tags/tag860.xml"/><Relationship Id="rId22" Type="http://schemas.openxmlformats.org/officeDocument/2006/relationships/tags" Target="../tags/tag868.xml"/><Relationship Id="rId27" Type="http://schemas.openxmlformats.org/officeDocument/2006/relationships/tags" Target="../tags/tag873.xml"/><Relationship Id="rId30" Type="http://schemas.openxmlformats.org/officeDocument/2006/relationships/tags" Target="../tags/tag876.xml"/><Relationship Id="rId35" Type="http://schemas.openxmlformats.org/officeDocument/2006/relationships/tags" Target="../tags/tag881.xml"/><Relationship Id="rId43" Type="http://schemas.openxmlformats.org/officeDocument/2006/relationships/oleObject" Target="../embeddings/oleObject38.bin"/><Relationship Id="rId8" Type="http://schemas.openxmlformats.org/officeDocument/2006/relationships/tags" Target="../tags/tag854.xml"/><Relationship Id="rId3" Type="http://schemas.openxmlformats.org/officeDocument/2006/relationships/tags" Target="../tags/tag849.xml"/><Relationship Id="rId12" Type="http://schemas.openxmlformats.org/officeDocument/2006/relationships/tags" Target="../tags/tag858.xml"/><Relationship Id="rId17" Type="http://schemas.openxmlformats.org/officeDocument/2006/relationships/tags" Target="../tags/tag863.xml"/><Relationship Id="rId25" Type="http://schemas.openxmlformats.org/officeDocument/2006/relationships/tags" Target="../tags/tag871.xml"/><Relationship Id="rId33" Type="http://schemas.openxmlformats.org/officeDocument/2006/relationships/tags" Target="../tags/tag879.xml"/><Relationship Id="rId38" Type="http://schemas.openxmlformats.org/officeDocument/2006/relationships/tags" Target="../tags/tag884.xml"/><Relationship Id="rId46" Type="http://schemas.openxmlformats.org/officeDocument/2006/relationships/chart" Target="../charts/chart22.xml"/><Relationship Id="rId20" Type="http://schemas.openxmlformats.org/officeDocument/2006/relationships/tags" Target="../tags/tag866.xml"/><Relationship Id="rId41" Type="http://schemas.openxmlformats.org/officeDocument/2006/relationships/tags" Target="../tags/tag887.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88.xml"/><Relationship Id="rId1" Type="http://schemas.openxmlformats.org/officeDocument/2006/relationships/vmlDrawing" Target="../drawings/vmlDrawing38.vml"/><Relationship Id="rId5" Type="http://schemas.openxmlformats.org/officeDocument/2006/relationships/image" Target="../media/image20.emf"/><Relationship Id="rId4" Type="http://schemas.openxmlformats.org/officeDocument/2006/relationships/oleObject" Target="../embeddings/oleObject39.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89.xml"/><Relationship Id="rId1" Type="http://schemas.openxmlformats.org/officeDocument/2006/relationships/vmlDrawing" Target="../drawings/vmlDrawing39.vml"/><Relationship Id="rId5" Type="http://schemas.openxmlformats.org/officeDocument/2006/relationships/image" Target="../media/image20.emf"/><Relationship Id="rId4" Type="http://schemas.openxmlformats.org/officeDocument/2006/relationships/oleObject" Target="../embeddings/oleObject40.bin"/></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90.xml"/><Relationship Id="rId1" Type="http://schemas.openxmlformats.org/officeDocument/2006/relationships/vmlDrawing" Target="../drawings/vmlDrawing40.vml"/><Relationship Id="rId5" Type="http://schemas.openxmlformats.org/officeDocument/2006/relationships/image" Target="../media/image20.emf"/><Relationship Id="rId4" Type="http://schemas.openxmlformats.org/officeDocument/2006/relationships/oleObject" Target="../embeddings/oleObject41.bin"/></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91.xml"/><Relationship Id="rId1" Type="http://schemas.openxmlformats.org/officeDocument/2006/relationships/vmlDrawing" Target="../drawings/vmlDrawing41.vml"/><Relationship Id="rId5" Type="http://schemas.openxmlformats.org/officeDocument/2006/relationships/image" Target="../media/image20.emf"/><Relationship Id="rId4" Type="http://schemas.openxmlformats.org/officeDocument/2006/relationships/oleObject" Target="../embeddings/oleObject42.bin"/></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92.xml"/><Relationship Id="rId1" Type="http://schemas.openxmlformats.org/officeDocument/2006/relationships/vmlDrawing" Target="../drawings/vmlDrawing42.vml"/><Relationship Id="rId5" Type="http://schemas.openxmlformats.org/officeDocument/2006/relationships/image" Target="../media/image20.emf"/><Relationship Id="rId4" Type="http://schemas.openxmlformats.org/officeDocument/2006/relationships/oleObject" Target="../embeddings/oleObject43.bin"/></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93.xml"/><Relationship Id="rId1" Type="http://schemas.openxmlformats.org/officeDocument/2006/relationships/vmlDrawing" Target="../drawings/vmlDrawing43.vml"/><Relationship Id="rId5" Type="http://schemas.openxmlformats.org/officeDocument/2006/relationships/image" Target="../media/image20.emf"/><Relationship Id="rId4" Type="http://schemas.openxmlformats.org/officeDocument/2006/relationships/oleObject" Target="../embeddings/oleObject44.bin"/></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94.xml"/><Relationship Id="rId1" Type="http://schemas.openxmlformats.org/officeDocument/2006/relationships/vmlDrawing" Target="../drawings/vmlDrawing44.vml"/><Relationship Id="rId5" Type="http://schemas.openxmlformats.org/officeDocument/2006/relationships/image" Target="../media/image20.emf"/><Relationship Id="rId4" Type="http://schemas.openxmlformats.org/officeDocument/2006/relationships/oleObject" Target="../embeddings/oleObject45.bin"/></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95.xml"/><Relationship Id="rId1" Type="http://schemas.openxmlformats.org/officeDocument/2006/relationships/vmlDrawing" Target="../drawings/vmlDrawing45.vml"/><Relationship Id="rId5" Type="http://schemas.openxmlformats.org/officeDocument/2006/relationships/image" Target="../media/image20.emf"/><Relationship Id="rId4" Type="http://schemas.openxmlformats.org/officeDocument/2006/relationships/oleObject" Target="../embeddings/oleObject46.bin"/></Relationships>
</file>

<file path=ppt/slides/_rels/slide47.xml.rels><?xml version="1.0" encoding="UTF-8" standalone="yes"?>
<Relationships xmlns="http://schemas.openxmlformats.org/package/2006/relationships"><Relationship Id="rId13" Type="http://schemas.openxmlformats.org/officeDocument/2006/relationships/tags" Target="../tags/tag907.xml"/><Relationship Id="rId18" Type="http://schemas.openxmlformats.org/officeDocument/2006/relationships/tags" Target="../tags/tag912.xml"/><Relationship Id="rId26" Type="http://schemas.openxmlformats.org/officeDocument/2006/relationships/tags" Target="../tags/tag920.xml"/><Relationship Id="rId39" Type="http://schemas.openxmlformats.org/officeDocument/2006/relationships/tags" Target="../tags/tag933.xml"/><Relationship Id="rId21" Type="http://schemas.openxmlformats.org/officeDocument/2006/relationships/tags" Target="../tags/tag915.xml"/><Relationship Id="rId34" Type="http://schemas.openxmlformats.org/officeDocument/2006/relationships/tags" Target="../tags/tag928.xml"/><Relationship Id="rId42" Type="http://schemas.openxmlformats.org/officeDocument/2006/relationships/tags" Target="../tags/tag936.xml"/><Relationship Id="rId47" Type="http://schemas.openxmlformats.org/officeDocument/2006/relationships/chart" Target="../charts/chart24.xml"/><Relationship Id="rId7" Type="http://schemas.openxmlformats.org/officeDocument/2006/relationships/tags" Target="../tags/tag901.xml"/><Relationship Id="rId2" Type="http://schemas.openxmlformats.org/officeDocument/2006/relationships/tags" Target="../tags/tag896.xml"/><Relationship Id="rId16" Type="http://schemas.openxmlformats.org/officeDocument/2006/relationships/tags" Target="../tags/tag910.xml"/><Relationship Id="rId29" Type="http://schemas.openxmlformats.org/officeDocument/2006/relationships/tags" Target="../tags/tag923.xml"/><Relationship Id="rId1" Type="http://schemas.openxmlformats.org/officeDocument/2006/relationships/vmlDrawing" Target="../drawings/vmlDrawing46.vml"/><Relationship Id="rId6" Type="http://schemas.openxmlformats.org/officeDocument/2006/relationships/tags" Target="../tags/tag900.xml"/><Relationship Id="rId11" Type="http://schemas.openxmlformats.org/officeDocument/2006/relationships/tags" Target="../tags/tag905.xml"/><Relationship Id="rId24" Type="http://schemas.openxmlformats.org/officeDocument/2006/relationships/tags" Target="../tags/tag918.xml"/><Relationship Id="rId32" Type="http://schemas.openxmlformats.org/officeDocument/2006/relationships/tags" Target="../tags/tag926.xml"/><Relationship Id="rId37" Type="http://schemas.openxmlformats.org/officeDocument/2006/relationships/tags" Target="../tags/tag931.xml"/><Relationship Id="rId40" Type="http://schemas.openxmlformats.org/officeDocument/2006/relationships/tags" Target="../tags/tag934.xml"/><Relationship Id="rId45" Type="http://schemas.openxmlformats.org/officeDocument/2006/relationships/image" Target="../media/image18.emf"/><Relationship Id="rId5" Type="http://schemas.openxmlformats.org/officeDocument/2006/relationships/tags" Target="../tags/tag899.xml"/><Relationship Id="rId15" Type="http://schemas.openxmlformats.org/officeDocument/2006/relationships/tags" Target="../tags/tag909.xml"/><Relationship Id="rId23" Type="http://schemas.openxmlformats.org/officeDocument/2006/relationships/tags" Target="../tags/tag917.xml"/><Relationship Id="rId28" Type="http://schemas.openxmlformats.org/officeDocument/2006/relationships/tags" Target="../tags/tag922.xml"/><Relationship Id="rId36" Type="http://schemas.openxmlformats.org/officeDocument/2006/relationships/tags" Target="../tags/tag930.xml"/><Relationship Id="rId10" Type="http://schemas.openxmlformats.org/officeDocument/2006/relationships/tags" Target="../tags/tag904.xml"/><Relationship Id="rId19" Type="http://schemas.openxmlformats.org/officeDocument/2006/relationships/tags" Target="../tags/tag913.xml"/><Relationship Id="rId31" Type="http://schemas.openxmlformats.org/officeDocument/2006/relationships/tags" Target="../tags/tag925.xml"/><Relationship Id="rId44" Type="http://schemas.openxmlformats.org/officeDocument/2006/relationships/oleObject" Target="../embeddings/oleObject47.bin"/><Relationship Id="rId4" Type="http://schemas.openxmlformats.org/officeDocument/2006/relationships/tags" Target="../tags/tag898.xml"/><Relationship Id="rId9" Type="http://schemas.openxmlformats.org/officeDocument/2006/relationships/tags" Target="../tags/tag903.xml"/><Relationship Id="rId14" Type="http://schemas.openxmlformats.org/officeDocument/2006/relationships/tags" Target="../tags/tag908.xml"/><Relationship Id="rId22" Type="http://schemas.openxmlformats.org/officeDocument/2006/relationships/tags" Target="../tags/tag916.xml"/><Relationship Id="rId27" Type="http://schemas.openxmlformats.org/officeDocument/2006/relationships/tags" Target="../tags/tag921.xml"/><Relationship Id="rId30" Type="http://schemas.openxmlformats.org/officeDocument/2006/relationships/tags" Target="../tags/tag924.xml"/><Relationship Id="rId35" Type="http://schemas.openxmlformats.org/officeDocument/2006/relationships/tags" Target="../tags/tag929.xml"/><Relationship Id="rId43" Type="http://schemas.openxmlformats.org/officeDocument/2006/relationships/slideLayout" Target="../slideLayouts/slideLayout3.xml"/><Relationship Id="rId8" Type="http://schemas.openxmlformats.org/officeDocument/2006/relationships/tags" Target="../tags/tag902.xml"/><Relationship Id="rId3" Type="http://schemas.openxmlformats.org/officeDocument/2006/relationships/tags" Target="../tags/tag897.xml"/><Relationship Id="rId12" Type="http://schemas.openxmlformats.org/officeDocument/2006/relationships/tags" Target="../tags/tag906.xml"/><Relationship Id="rId17" Type="http://schemas.openxmlformats.org/officeDocument/2006/relationships/tags" Target="../tags/tag911.xml"/><Relationship Id="rId25" Type="http://schemas.openxmlformats.org/officeDocument/2006/relationships/tags" Target="../tags/tag919.xml"/><Relationship Id="rId33" Type="http://schemas.openxmlformats.org/officeDocument/2006/relationships/tags" Target="../tags/tag927.xml"/><Relationship Id="rId38" Type="http://schemas.openxmlformats.org/officeDocument/2006/relationships/tags" Target="../tags/tag932.xml"/><Relationship Id="rId46" Type="http://schemas.openxmlformats.org/officeDocument/2006/relationships/chart" Target="../charts/chart23.xml"/><Relationship Id="rId20" Type="http://schemas.openxmlformats.org/officeDocument/2006/relationships/tags" Target="../tags/tag914.xml"/><Relationship Id="rId41" Type="http://schemas.openxmlformats.org/officeDocument/2006/relationships/tags" Target="../tags/tag935.xml"/></Relationships>
</file>

<file path=ppt/slides/_rels/slide48.xml.rels><?xml version="1.0" encoding="UTF-8" standalone="yes"?>
<Relationships xmlns="http://schemas.openxmlformats.org/package/2006/relationships"><Relationship Id="rId3" Type="http://schemas.openxmlformats.org/officeDocument/2006/relationships/tags" Target="../tags/tag938.xml"/><Relationship Id="rId2" Type="http://schemas.openxmlformats.org/officeDocument/2006/relationships/tags" Target="../tags/tag937.xml"/><Relationship Id="rId1" Type="http://schemas.openxmlformats.org/officeDocument/2006/relationships/vmlDrawing" Target="../drawings/vmlDrawing47.vml"/><Relationship Id="rId6" Type="http://schemas.openxmlformats.org/officeDocument/2006/relationships/image" Target="../media/image20.emf"/><Relationship Id="rId5" Type="http://schemas.openxmlformats.org/officeDocument/2006/relationships/oleObject" Target="../embeddings/oleObject48.bin"/><Relationship Id="rId4"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39.xml"/><Relationship Id="rId1" Type="http://schemas.openxmlformats.org/officeDocument/2006/relationships/vmlDrawing" Target="../drawings/vmlDrawing48.vml"/><Relationship Id="rId6" Type="http://schemas.openxmlformats.org/officeDocument/2006/relationships/hyperlink" Target="https://www.otsuka.co.jp/en/company/newsreleases/2018/20180523_1.html" TargetMode="External"/><Relationship Id="rId5" Type="http://schemas.openxmlformats.org/officeDocument/2006/relationships/image" Target="../media/image20.emf"/><Relationship Id="rId4" Type="http://schemas.openxmlformats.org/officeDocument/2006/relationships/oleObject" Target="../embeddings/oleObject49.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20.emf"/><Relationship Id="rId5" Type="http://schemas.openxmlformats.org/officeDocument/2006/relationships/oleObject" Target="../embeddings/oleObject5.bin"/><Relationship Id="rId4" Type="http://schemas.openxmlformats.org/officeDocument/2006/relationships/notesSlide" Target="../notesSlides/notesSlide3.xml"/></Relationships>
</file>

<file path=ppt/slides/_rels/slide50.xml.rels><?xml version="1.0" encoding="UTF-8" standalone="yes"?>
<Relationships xmlns="http://schemas.openxmlformats.org/package/2006/relationships"><Relationship Id="rId8" Type="http://schemas.openxmlformats.org/officeDocument/2006/relationships/tags" Target="../tags/tag946.xml"/><Relationship Id="rId3" Type="http://schemas.openxmlformats.org/officeDocument/2006/relationships/tags" Target="../tags/tag941.xml"/><Relationship Id="rId7" Type="http://schemas.openxmlformats.org/officeDocument/2006/relationships/tags" Target="../tags/tag945.xml"/><Relationship Id="rId12" Type="http://schemas.openxmlformats.org/officeDocument/2006/relationships/chart" Target="../charts/chart25.xml"/><Relationship Id="rId2" Type="http://schemas.openxmlformats.org/officeDocument/2006/relationships/tags" Target="../tags/tag940.xml"/><Relationship Id="rId1" Type="http://schemas.openxmlformats.org/officeDocument/2006/relationships/vmlDrawing" Target="../drawings/vmlDrawing49.vml"/><Relationship Id="rId6" Type="http://schemas.openxmlformats.org/officeDocument/2006/relationships/tags" Target="../tags/tag944.xml"/><Relationship Id="rId11" Type="http://schemas.openxmlformats.org/officeDocument/2006/relationships/image" Target="../media/image23.emf"/><Relationship Id="rId5" Type="http://schemas.openxmlformats.org/officeDocument/2006/relationships/tags" Target="../tags/tag943.xml"/><Relationship Id="rId10" Type="http://schemas.openxmlformats.org/officeDocument/2006/relationships/oleObject" Target="../embeddings/oleObject50.bin"/><Relationship Id="rId4" Type="http://schemas.openxmlformats.org/officeDocument/2006/relationships/tags" Target="../tags/tag942.xml"/><Relationship Id="rId9"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3" Type="http://schemas.openxmlformats.org/officeDocument/2006/relationships/tags" Target="../tags/tag948.xml"/><Relationship Id="rId2" Type="http://schemas.openxmlformats.org/officeDocument/2006/relationships/tags" Target="../tags/tag947.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49.xml"/><Relationship Id="rId1" Type="http://schemas.openxmlformats.org/officeDocument/2006/relationships/vmlDrawing" Target="../drawings/vmlDrawing51.vml"/><Relationship Id="rId5" Type="http://schemas.openxmlformats.org/officeDocument/2006/relationships/image" Target="../media/image24.emf"/><Relationship Id="rId4" Type="http://schemas.openxmlformats.org/officeDocument/2006/relationships/oleObject" Target="../embeddings/oleObject52.bin"/></Relationships>
</file>

<file path=ppt/slides/_rels/slide53.xml.rels><?xml version="1.0" encoding="UTF-8" standalone="yes"?>
<Relationships xmlns="http://schemas.openxmlformats.org/package/2006/relationships"><Relationship Id="rId8" Type="http://schemas.openxmlformats.org/officeDocument/2006/relationships/hyperlink" Target="https://ace.nus.edu.sg/prelude-to-digitalization-in-healthcare-care-and-patient-journey/" TargetMode="External"/><Relationship Id="rId3" Type="http://schemas.openxmlformats.org/officeDocument/2006/relationships/slideLayout" Target="../slideLayouts/slideLayout3.xml"/><Relationship Id="rId7" Type="http://schemas.openxmlformats.org/officeDocument/2006/relationships/hyperlink" Target="https://www.edb.gov.sg/ja/newsroom/news-library/2020jan-jp-article-01.html" TargetMode="External"/><Relationship Id="rId2" Type="http://schemas.openxmlformats.org/officeDocument/2006/relationships/tags" Target="../tags/tag950.xml"/><Relationship Id="rId1" Type="http://schemas.openxmlformats.org/officeDocument/2006/relationships/vmlDrawing" Target="../drawings/vmlDrawing52.vml"/><Relationship Id="rId6" Type="http://schemas.openxmlformats.org/officeDocument/2006/relationships/hyperlink" Target="https://www.mhlw.go.jp/content/10808000/000685914.pdf" TargetMode="External"/><Relationship Id="rId5" Type="http://schemas.openxmlformats.org/officeDocument/2006/relationships/image" Target="../media/image20.emf"/><Relationship Id="rId4" Type="http://schemas.openxmlformats.org/officeDocument/2006/relationships/oleObject" Target="../embeddings/oleObject53.bin"/></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51.xml"/><Relationship Id="rId1" Type="http://schemas.openxmlformats.org/officeDocument/2006/relationships/vmlDrawing" Target="../drawings/vmlDrawing53.vml"/><Relationship Id="rId6" Type="http://schemas.openxmlformats.org/officeDocument/2006/relationships/hyperlink" Target="https://sbo.sg/lifestyle/health-wellness/best-telemedicine-in-singapore/" TargetMode="External"/><Relationship Id="rId5" Type="http://schemas.openxmlformats.org/officeDocument/2006/relationships/image" Target="../media/image20.emf"/><Relationship Id="rId4" Type="http://schemas.openxmlformats.org/officeDocument/2006/relationships/oleObject" Target="../embeddings/oleObject54.bin"/></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52.xml"/><Relationship Id="rId1" Type="http://schemas.openxmlformats.org/officeDocument/2006/relationships/vmlDrawing" Target="../drawings/vmlDrawing54.vml"/><Relationship Id="rId6" Type="http://schemas.openxmlformats.org/officeDocument/2006/relationships/hyperlink" Target="http://www.apmsingapore.org/" TargetMode="External"/><Relationship Id="rId5" Type="http://schemas.openxmlformats.org/officeDocument/2006/relationships/image" Target="../media/image20.emf"/><Relationship Id="rId4" Type="http://schemas.openxmlformats.org/officeDocument/2006/relationships/oleObject" Target="../embeddings/oleObject55.bin"/></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53.xml"/><Relationship Id="rId1" Type="http://schemas.openxmlformats.org/officeDocument/2006/relationships/vmlDrawing" Target="../drawings/vmlDrawing55.vml"/><Relationship Id="rId5" Type="http://schemas.openxmlformats.org/officeDocument/2006/relationships/image" Target="../media/image20.emf"/><Relationship Id="rId4" Type="http://schemas.openxmlformats.org/officeDocument/2006/relationships/oleObject" Target="../embeddings/oleObject56.bin"/></Relationships>
</file>

<file path=ppt/slides/_rels/slide57.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tags" Target="../tags/tag955.xml"/><Relationship Id="rId7" Type="http://schemas.openxmlformats.org/officeDocument/2006/relationships/oleObject" Target="../embeddings/oleObject57.bin"/><Relationship Id="rId2" Type="http://schemas.openxmlformats.org/officeDocument/2006/relationships/tags" Target="../tags/tag954.xml"/><Relationship Id="rId1" Type="http://schemas.openxmlformats.org/officeDocument/2006/relationships/vmlDrawing" Target="../drawings/vmlDrawing56.vml"/><Relationship Id="rId6" Type="http://schemas.openxmlformats.org/officeDocument/2006/relationships/slideLayout" Target="../slideLayouts/slideLayout3.xml"/><Relationship Id="rId5" Type="http://schemas.openxmlformats.org/officeDocument/2006/relationships/tags" Target="../tags/tag957.xml"/><Relationship Id="rId4" Type="http://schemas.openxmlformats.org/officeDocument/2006/relationships/tags" Target="../tags/tag956.xml"/><Relationship Id="rId9" Type="http://schemas.openxmlformats.org/officeDocument/2006/relationships/chart" Target="../charts/chart2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58.xml"/><Relationship Id="rId1" Type="http://schemas.openxmlformats.org/officeDocument/2006/relationships/vmlDrawing" Target="../drawings/vmlDrawing57.vml"/><Relationship Id="rId5" Type="http://schemas.openxmlformats.org/officeDocument/2006/relationships/image" Target="../media/image20.emf"/><Relationship Id="rId4" Type="http://schemas.openxmlformats.org/officeDocument/2006/relationships/oleObject" Target="../embeddings/oleObject58.bin"/></Relationships>
</file>

<file path=ppt/slides/_rels/slide6.xml.rels><?xml version="1.0" encoding="UTF-8" standalone="yes"?>
<Relationships xmlns="http://schemas.openxmlformats.org/package/2006/relationships"><Relationship Id="rId117" Type="http://schemas.openxmlformats.org/officeDocument/2006/relationships/tags" Target="../tags/tag123.xml"/><Relationship Id="rId21" Type="http://schemas.openxmlformats.org/officeDocument/2006/relationships/tags" Target="../tags/tag27.xml"/><Relationship Id="rId42" Type="http://schemas.openxmlformats.org/officeDocument/2006/relationships/tags" Target="../tags/tag48.xml"/><Relationship Id="rId63" Type="http://schemas.openxmlformats.org/officeDocument/2006/relationships/tags" Target="../tags/tag69.xml"/><Relationship Id="rId84" Type="http://schemas.openxmlformats.org/officeDocument/2006/relationships/tags" Target="../tags/tag90.xml"/><Relationship Id="rId138" Type="http://schemas.openxmlformats.org/officeDocument/2006/relationships/tags" Target="../tags/tag144.xml"/><Relationship Id="rId159" Type="http://schemas.openxmlformats.org/officeDocument/2006/relationships/tags" Target="../tags/tag165.xml"/><Relationship Id="rId170" Type="http://schemas.openxmlformats.org/officeDocument/2006/relationships/tags" Target="../tags/tag176.xml"/><Relationship Id="rId191" Type="http://schemas.openxmlformats.org/officeDocument/2006/relationships/tags" Target="../tags/tag197.xml"/><Relationship Id="rId205" Type="http://schemas.openxmlformats.org/officeDocument/2006/relationships/tags" Target="../tags/tag211.xml"/><Relationship Id="rId226" Type="http://schemas.openxmlformats.org/officeDocument/2006/relationships/slideLayout" Target="../slideLayouts/slideLayout3.xml"/><Relationship Id="rId107" Type="http://schemas.openxmlformats.org/officeDocument/2006/relationships/tags" Target="../tags/tag113.xml"/><Relationship Id="rId11" Type="http://schemas.openxmlformats.org/officeDocument/2006/relationships/tags" Target="../tags/tag17.xml"/><Relationship Id="rId32" Type="http://schemas.openxmlformats.org/officeDocument/2006/relationships/tags" Target="../tags/tag38.xml"/><Relationship Id="rId53" Type="http://schemas.openxmlformats.org/officeDocument/2006/relationships/tags" Target="../tags/tag59.xml"/><Relationship Id="rId74" Type="http://schemas.openxmlformats.org/officeDocument/2006/relationships/tags" Target="../tags/tag80.xml"/><Relationship Id="rId128" Type="http://schemas.openxmlformats.org/officeDocument/2006/relationships/tags" Target="../tags/tag134.xml"/><Relationship Id="rId149" Type="http://schemas.openxmlformats.org/officeDocument/2006/relationships/tags" Target="../tags/tag155.xml"/><Relationship Id="rId5" Type="http://schemas.openxmlformats.org/officeDocument/2006/relationships/tags" Target="../tags/tag11.xml"/><Relationship Id="rId95" Type="http://schemas.openxmlformats.org/officeDocument/2006/relationships/tags" Target="../tags/tag101.xml"/><Relationship Id="rId160" Type="http://schemas.openxmlformats.org/officeDocument/2006/relationships/tags" Target="../tags/tag166.xml"/><Relationship Id="rId181" Type="http://schemas.openxmlformats.org/officeDocument/2006/relationships/tags" Target="../tags/tag187.xml"/><Relationship Id="rId216" Type="http://schemas.openxmlformats.org/officeDocument/2006/relationships/tags" Target="../tags/tag222.xml"/><Relationship Id="rId22" Type="http://schemas.openxmlformats.org/officeDocument/2006/relationships/tags" Target="../tags/tag28.xml"/><Relationship Id="rId43" Type="http://schemas.openxmlformats.org/officeDocument/2006/relationships/tags" Target="../tags/tag49.xml"/><Relationship Id="rId64" Type="http://schemas.openxmlformats.org/officeDocument/2006/relationships/tags" Target="../tags/tag70.xml"/><Relationship Id="rId118" Type="http://schemas.openxmlformats.org/officeDocument/2006/relationships/tags" Target="../tags/tag124.xml"/><Relationship Id="rId139" Type="http://schemas.openxmlformats.org/officeDocument/2006/relationships/tags" Target="../tags/tag145.xml"/><Relationship Id="rId85" Type="http://schemas.openxmlformats.org/officeDocument/2006/relationships/tags" Target="../tags/tag91.xml"/><Relationship Id="rId150" Type="http://schemas.openxmlformats.org/officeDocument/2006/relationships/tags" Target="../tags/tag156.xml"/><Relationship Id="rId171" Type="http://schemas.openxmlformats.org/officeDocument/2006/relationships/tags" Target="../tags/tag177.xml"/><Relationship Id="rId192" Type="http://schemas.openxmlformats.org/officeDocument/2006/relationships/tags" Target="../tags/tag198.xml"/><Relationship Id="rId206" Type="http://schemas.openxmlformats.org/officeDocument/2006/relationships/tags" Target="../tags/tag212.xml"/><Relationship Id="rId227" Type="http://schemas.openxmlformats.org/officeDocument/2006/relationships/oleObject" Target="../embeddings/oleObject6.bin"/><Relationship Id="rId12" Type="http://schemas.openxmlformats.org/officeDocument/2006/relationships/tags" Target="../tags/tag18.xml"/><Relationship Id="rId33" Type="http://schemas.openxmlformats.org/officeDocument/2006/relationships/tags" Target="../tags/tag39.xml"/><Relationship Id="rId108" Type="http://schemas.openxmlformats.org/officeDocument/2006/relationships/tags" Target="../tags/tag114.xml"/><Relationship Id="rId129" Type="http://schemas.openxmlformats.org/officeDocument/2006/relationships/tags" Target="../tags/tag135.xml"/><Relationship Id="rId54" Type="http://schemas.openxmlformats.org/officeDocument/2006/relationships/tags" Target="../tags/tag60.xml"/><Relationship Id="rId75" Type="http://schemas.openxmlformats.org/officeDocument/2006/relationships/tags" Target="../tags/tag81.xml"/><Relationship Id="rId96" Type="http://schemas.openxmlformats.org/officeDocument/2006/relationships/tags" Target="../tags/tag102.xml"/><Relationship Id="rId140" Type="http://schemas.openxmlformats.org/officeDocument/2006/relationships/tags" Target="../tags/tag146.xml"/><Relationship Id="rId161" Type="http://schemas.openxmlformats.org/officeDocument/2006/relationships/tags" Target="../tags/tag167.xml"/><Relationship Id="rId182" Type="http://schemas.openxmlformats.org/officeDocument/2006/relationships/tags" Target="../tags/tag188.xml"/><Relationship Id="rId217" Type="http://schemas.openxmlformats.org/officeDocument/2006/relationships/tags" Target="../tags/tag223.xml"/><Relationship Id="rId6" Type="http://schemas.openxmlformats.org/officeDocument/2006/relationships/tags" Target="../tags/tag12.xml"/><Relationship Id="rId23" Type="http://schemas.openxmlformats.org/officeDocument/2006/relationships/tags" Target="../tags/tag29.xml"/><Relationship Id="rId119" Type="http://schemas.openxmlformats.org/officeDocument/2006/relationships/tags" Target="../tags/tag125.xml"/><Relationship Id="rId44" Type="http://schemas.openxmlformats.org/officeDocument/2006/relationships/tags" Target="../tags/tag50.xml"/><Relationship Id="rId65" Type="http://schemas.openxmlformats.org/officeDocument/2006/relationships/tags" Target="../tags/tag71.xml"/><Relationship Id="rId86" Type="http://schemas.openxmlformats.org/officeDocument/2006/relationships/tags" Target="../tags/tag92.xml"/><Relationship Id="rId130" Type="http://schemas.openxmlformats.org/officeDocument/2006/relationships/tags" Target="../tags/tag136.xml"/><Relationship Id="rId151" Type="http://schemas.openxmlformats.org/officeDocument/2006/relationships/tags" Target="../tags/tag157.xml"/><Relationship Id="rId172" Type="http://schemas.openxmlformats.org/officeDocument/2006/relationships/tags" Target="../tags/tag178.xml"/><Relationship Id="rId193" Type="http://schemas.openxmlformats.org/officeDocument/2006/relationships/tags" Target="../tags/tag199.xml"/><Relationship Id="rId207" Type="http://schemas.openxmlformats.org/officeDocument/2006/relationships/tags" Target="../tags/tag213.xml"/><Relationship Id="rId228" Type="http://schemas.openxmlformats.org/officeDocument/2006/relationships/image" Target="../media/image1.emf"/><Relationship Id="rId13" Type="http://schemas.openxmlformats.org/officeDocument/2006/relationships/tags" Target="../tags/tag19.xml"/><Relationship Id="rId109" Type="http://schemas.openxmlformats.org/officeDocument/2006/relationships/tags" Target="../tags/tag115.xml"/><Relationship Id="rId34" Type="http://schemas.openxmlformats.org/officeDocument/2006/relationships/tags" Target="../tags/tag40.xml"/><Relationship Id="rId55" Type="http://schemas.openxmlformats.org/officeDocument/2006/relationships/tags" Target="../tags/tag61.xml"/><Relationship Id="rId76" Type="http://schemas.openxmlformats.org/officeDocument/2006/relationships/tags" Target="../tags/tag82.xml"/><Relationship Id="rId97" Type="http://schemas.openxmlformats.org/officeDocument/2006/relationships/tags" Target="../tags/tag103.xml"/><Relationship Id="rId120" Type="http://schemas.openxmlformats.org/officeDocument/2006/relationships/tags" Target="../tags/tag126.xml"/><Relationship Id="rId141" Type="http://schemas.openxmlformats.org/officeDocument/2006/relationships/tags" Target="../tags/tag147.xml"/><Relationship Id="rId7" Type="http://schemas.openxmlformats.org/officeDocument/2006/relationships/tags" Target="../tags/tag13.xml"/><Relationship Id="rId162" Type="http://schemas.openxmlformats.org/officeDocument/2006/relationships/tags" Target="../tags/tag168.xml"/><Relationship Id="rId183" Type="http://schemas.openxmlformats.org/officeDocument/2006/relationships/tags" Target="../tags/tag189.xml"/><Relationship Id="rId218" Type="http://schemas.openxmlformats.org/officeDocument/2006/relationships/tags" Target="../tags/tag224.xml"/><Relationship Id="rId24" Type="http://schemas.openxmlformats.org/officeDocument/2006/relationships/tags" Target="../tags/tag30.xml"/><Relationship Id="rId45" Type="http://schemas.openxmlformats.org/officeDocument/2006/relationships/tags" Target="../tags/tag51.xml"/><Relationship Id="rId66" Type="http://schemas.openxmlformats.org/officeDocument/2006/relationships/tags" Target="../tags/tag72.xml"/><Relationship Id="rId87" Type="http://schemas.openxmlformats.org/officeDocument/2006/relationships/tags" Target="../tags/tag93.xml"/><Relationship Id="rId110" Type="http://schemas.openxmlformats.org/officeDocument/2006/relationships/tags" Target="../tags/tag116.xml"/><Relationship Id="rId131" Type="http://schemas.openxmlformats.org/officeDocument/2006/relationships/tags" Target="../tags/tag137.xml"/><Relationship Id="rId152" Type="http://schemas.openxmlformats.org/officeDocument/2006/relationships/tags" Target="../tags/tag158.xml"/><Relationship Id="rId173" Type="http://schemas.openxmlformats.org/officeDocument/2006/relationships/tags" Target="../tags/tag179.xml"/><Relationship Id="rId194" Type="http://schemas.openxmlformats.org/officeDocument/2006/relationships/tags" Target="../tags/tag200.xml"/><Relationship Id="rId208" Type="http://schemas.openxmlformats.org/officeDocument/2006/relationships/tags" Target="../tags/tag214.xml"/><Relationship Id="rId229" Type="http://schemas.openxmlformats.org/officeDocument/2006/relationships/chart" Target="../charts/chart1.xml"/><Relationship Id="rId14" Type="http://schemas.openxmlformats.org/officeDocument/2006/relationships/tags" Target="../tags/tag20.xml"/><Relationship Id="rId35" Type="http://schemas.openxmlformats.org/officeDocument/2006/relationships/tags" Target="../tags/tag41.xml"/><Relationship Id="rId56" Type="http://schemas.openxmlformats.org/officeDocument/2006/relationships/tags" Target="../tags/tag62.xml"/><Relationship Id="rId77" Type="http://schemas.openxmlformats.org/officeDocument/2006/relationships/tags" Target="../tags/tag83.xml"/><Relationship Id="rId100" Type="http://schemas.openxmlformats.org/officeDocument/2006/relationships/tags" Target="../tags/tag106.xml"/><Relationship Id="rId8" Type="http://schemas.openxmlformats.org/officeDocument/2006/relationships/tags" Target="../tags/tag14.xml"/><Relationship Id="rId98" Type="http://schemas.openxmlformats.org/officeDocument/2006/relationships/tags" Target="../tags/tag104.xml"/><Relationship Id="rId121" Type="http://schemas.openxmlformats.org/officeDocument/2006/relationships/tags" Target="../tags/tag127.xml"/><Relationship Id="rId142" Type="http://schemas.openxmlformats.org/officeDocument/2006/relationships/tags" Target="../tags/tag148.xml"/><Relationship Id="rId163" Type="http://schemas.openxmlformats.org/officeDocument/2006/relationships/tags" Target="../tags/tag169.xml"/><Relationship Id="rId184" Type="http://schemas.openxmlformats.org/officeDocument/2006/relationships/tags" Target="../tags/tag190.xml"/><Relationship Id="rId219" Type="http://schemas.openxmlformats.org/officeDocument/2006/relationships/tags" Target="../tags/tag225.xml"/><Relationship Id="rId230" Type="http://schemas.openxmlformats.org/officeDocument/2006/relationships/chart" Target="../charts/chart2.xml"/><Relationship Id="rId25" Type="http://schemas.openxmlformats.org/officeDocument/2006/relationships/tags" Target="../tags/tag31.xml"/><Relationship Id="rId46" Type="http://schemas.openxmlformats.org/officeDocument/2006/relationships/tags" Target="../tags/tag52.xml"/><Relationship Id="rId67" Type="http://schemas.openxmlformats.org/officeDocument/2006/relationships/tags" Target="../tags/tag73.xml"/><Relationship Id="rId116" Type="http://schemas.openxmlformats.org/officeDocument/2006/relationships/tags" Target="../tags/tag122.xml"/><Relationship Id="rId137" Type="http://schemas.openxmlformats.org/officeDocument/2006/relationships/tags" Target="../tags/tag143.xml"/><Relationship Id="rId158" Type="http://schemas.openxmlformats.org/officeDocument/2006/relationships/tags" Target="../tags/tag164.xml"/><Relationship Id="rId20" Type="http://schemas.openxmlformats.org/officeDocument/2006/relationships/tags" Target="../tags/tag26.xml"/><Relationship Id="rId41" Type="http://schemas.openxmlformats.org/officeDocument/2006/relationships/tags" Target="../tags/tag47.xml"/><Relationship Id="rId62" Type="http://schemas.openxmlformats.org/officeDocument/2006/relationships/tags" Target="../tags/tag68.xml"/><Relationship Id="rId83" Type="http://schemas.openxmlformats.org/officeDocument/2006/relationships/tags" Target="../tags/tag89.xml"/><Relationship Id="rId88" Type="http://schemas.openxmlformats.org/officeDocument/2006/relationships/tags" Target="../tags/tag94.xml"/><Relationship Id="rId111" Type="http://schemas.openxmlformats.org/officeDocument/2006/relationships/tags" Target="../tags/tag117.xml"/><Relationship Id="rId132" Type="http://schemas.openxmlformats.org/officeDocument/2006/relationships/tags" Target="../tags/tag138.xml"/><Relationship Id="rId153" Type="http://schemas.openxmlformats.org/officeDocument/2006/relationships/tags" Target="../tags/tag159.xml"/><Relationship Id="rId174" Type="http://schemas.openxmlformats.org/officeDocument/2006/relationships/tags" Target="../tags/tag180.xml"/><Relationship Id="rId179" Type="http://schemas.openxmlformats.org/officeDocument/2006/relationships/tags" Target="../tags/tag185.xml"/><Relationship Id="rId195" Type="http://schemas.openxmlformats.org/officeDocument/2006/relationships/tags" Target="../tags/tag201.xml"/><Relationship Id="rId209" Type="http://schemas.openxmlformats.org/officeDocument/2006/relationships/tags" Target="../tags/tag215.xml"/><Relationship Id="rId190" Type="http://schemas.openxmlformats.org/officeDocument/2006/relationships/tags" Target="../tags/tag196.xml"/><Relationship Id="rId204" Type="http://schemas.openxmlformats.org/officeDocument/2006/relationships/tags" Target="../tags/tag210.xml"/><Relationship Id="rId220" Type="http://schemas.openxmlformats.org/officeDocument/2006/relationships/tags" Target="../tags/tag226.xml"/><Relationship Id="rId225" Type="http://schemas.openxmlformats.org/officeDocument/2006/relationships/tags" Target="../tags/tag231.xml"/><Relationship Id="rId15" Type="http://schemas.openxmlformats.org/officeDocument/2006/relationships/tags" Target="../tags/tag21.xml"/><Relationship Id="rId36" Type="http://schemas.openxmlformats.org/officeDocument/2006/relationships/tags" Target="../tags/tag42.xml"/><Relationship Id="rId57" Type="http://schemas.openxmlformats.org/officeDocument/2006/relationships/tags" Target="../tags/tag63.xml"/><Relationship Id="rId106" Type="http://schemas.openxmlformats.org/officeDocument/2006/relationships/tags" Target="../tags/tag112.xml"/><Relationship Id="rId127" Type="http://schemas.openxmlformats.org/officeDocument/2006/relationships/tags" Target="../tags/tag133.xml"/><Relationship Id="rId10" Type="http://schemas.openxmlformats.org/officeDocument/2006/relationships/tags" Target="../tags/tag16.xml"/><Relationship Id="rId31" Type="http://schemas.openxmlformats.org/officeDocument/2006/relationships/tags" Target="../tags/tag37.xml"/><Relationship Id="rId52" Type="http://schemas.openxmlformats.org/officeDocument/2006/relationships/tags" Target="../tags/tag58.xml"/><Relationship Id="rId73" Type="http://schemas.openxmlformats.org/officeDocument/2006/relationships/tags" Target="../tags/tag79.xml"/><Relationship Id="rId78" Type="http://schemas.openxmlformats.org/officeDocument/2006/relationships/tags" Target="../tags/tag84.xml"/><Relationship Id="rId94" Type="http://schemas.openxmlformats.org/officeDocument/2006/relationships/tags" Target="../tags/tag100.xml"/><Relationship Id="rId99" Type="http://schemas.openxmlformats.org/officeDocument/2006/relationships/tags" Target="../tags/tag105.xml"/><Relationship Id="rId101" Type="http://schemas.openxmlformats.org/officeDocument/2006/relationships/tags" Target="../tags/tag107.xml"/><Relationship Id="rId122" Type="http://schemas.openxmlformats.org/officeDocument/2006/relationships/tags" Target="../tags/tag128.xml"/><Relationship Id="rId143" Type="http://schemas.openxmlformats.org/officeDocument/2006/relationships/tags" Target="../tags/tag149.xml"/><Relationship Id="rId148" Type="http://schemas.openxmlformats.org/officeDocument/2006/relationships/tags" Target="../tags/tag154.xml"/><Relationship Id="rId164" Type="http://schemas.openxmlformats.org/officeDocument/2006/relationships/tags" Target="../tags/tag170.xml"/><Relationship Id="rId169" Type="http://schemas.openxmlformats.org/officeDocument/2006/relationships/tags" Target="../tags/tag175.xml"/><Relationship Id="rId185" Type="http://schemas.openxmlformats.org/officeDocument/2006/relationships/tags" Target="../tags/tag191.xml"/><Relationship Id="rId4" Type="http://schemas.openxmlformats.org/officeDocument/2006/relationships/tags" Target="../tags/tag10.xml"/><Relationship Id="rId9" Type="http://schemas.openxmlformats.org/officeDocument/2006/relationships/tags" Target="../tags/tag15.xml"/><Relationship Id="rId180" Type="http://schemas.openxmlformats.org/officeDocument/2006/relationships/tags" Target="../tags/tag186.xml"/><Relationship Id="rId210" Type="http://schemas.openxmlformats.org/officeDocument/2006/relationships/tags" Target="../tags/tag216.xml"/><Relationship Id="rId215" Type="http://schemas.openxmlformats.org/officeDocument/2006/relationships/tags" Target="../tags/tag221.xml"/><Relationship Id="rId26" Type="http://schemas.openxmlformats.org/officeDocument/2006/relationships/tags" Target="../tags/tag32.xml"/><Relationship Id="rId47" Type="http://schemas.openxmlformats.org/officeDocument/2006/relationships/tags" Target="../tags/tag53.xml"/><Relationship Id="rId68" Type="http://schemas.openxmlformats.org/officeDocument/2006/relationships/tags" Target="../tags/tag74.xml"/><Relationship Id="rId89" Type="http://schemas.openxmlformats.org/officeDocument/2006/relationships/tags" Target="../tags/tag95.xml"/><Relationship Id="rId112" Type="http://schemas.openxmlformats.org/officeDocument/2006/relationships/tags" Target="../tags/tag118.xml"/><Relationship Id="rId133" Type="http://schemas.openxmlformats.org/officeDocument/2006/relationships/tags" Target="../tags/tag139.xml"/><Relationship Id="rId154" Type="http://schemas.openxmlformats.org/officeDocument/2006/relationships/tags" Target="../tags/tag160.xml"/><Relationship Id="rId175" Type="http://schemas.openxmlformats.org/officeDocument/2006/relationships/tags" Target="../tags/tag181.xml"/><Relationship Id="rId196" Type="http://schemas.openxmlformats.org/officeDocument/2006/relationships/tags" Target="../tags/tag202.xml"/><Relationship Id="rId200" Type="http://schemas.openxmlformats.org/officeDocument/2006/relationships/tags" Target="../tags/tag206.xml"/><Relationship Id="rId16" Type="http://schemas.openxmlformats.org/officeDocument/2006/relationships/tags" Target="../tags/tag22.xml"/><Relationship Id="rId221" Type="http://schemas.openxmlformats.org/officeDocument/2006/relationships/tags" Target="../tags/tag227.xml"/><Relationship Id="rId37" Type="http://schemas.openxmlformats.org/officeDocument/2006/relationships/tags" Target="../tags/tag43.xml"/><Relationship Id="rId58" Type="http://schemas.openxmlformats.org/officeDocument/2006/relationships/tags" Target="../tags/tag64.xml"/><Relationship Id="rId79" Type="http://schemas.openxmlformats.org/officeDocument/2006/relationships/tags" Target="../tags/tag85.xml"/><Relationship Id="rId102" Type="http://schemas.openxmlformats.org/officeDocument/2006/relationships/tags" Target="../tags/tag108.xml"/><Relationship Id="rId123" Type="http://schemas.openxmlformats.org/officeDocument/2006/relationships/tags" Target="../tags/tag129.xml"/><Relationship Id="rId144" Type="http://schemas.openxmlformats.org/officeDocument/2006/relationships/tags" Target="../tags/tag150.xml"/><Relationship Id="rId90" Type="http://schemas.openxmlformats.org/officeDocument/2006/relationships/tags" Target="../tags/tag96.xml"/><Relationship Id="rId165" Type="http://schemas.openxmlformats.org/officeDocument/2006/relationships/tags" Target="../tags/tag171.xml"/><Relationship Id="rId186" Type="http://schemas.openxmlformats.org/officeDocument/2006/relationships/tags" Target="../tags/tag192.xml"/><Relationship Id="rId211" Type="http://schemas.openxmlformats.org/officeDocument/2006/relationships/tags" Target="../tags/tag217.xml"/><Relationship Id="rId27" Type="http://schemas.openxmlformats.org/officeDocument/2006/relationships/tags" Target="../tags/tag33.xml"/><Relationship Id="rId48" Type="http://schemas.openxmlformats.org/officeDocument/2006/relationships/tags" Target="../tags/tag54.xml"/><Relationship Id="rId69" Type="http://schemas.openxmlformats.org/officeDocument/2006/relationships/tags" Target="../tags/tag75.xml"/><Relationship Id="rId113" Type="http://schemas.openxmlformats.org/officeDocument/2006/relationships/tags" Target="../tags/tag119.xml"/><Relationship Id="rId134" Type="http://schemas.openxmlformats.org/officeDocument/2006/relationships/tags" Target="../tags/tag140.xml"/><Relationship Id="rId80" Type="http://schemas.openxmlformats.org/officeDocument/2006/relationships/tags" Target="../tags/tag86.xml"/><Relationship Id="rId155" Type="http://schemas.openxmlformats.org/officeDocument/2006/relationships/tags" Target="../tags/tag161.xml"/><Relationship Id="rId176" Type="http://schemas.openxmlformats.org/officeDocument/2006/relationships/tags" Target="../tags/tag182.xml"/><Relationship Id="rId197" Type="http://schemas.openxmlformats.org/officeDocument/2006/relationships/tags" Target="../tags/tag203.xml"/><Relationship Id="rId201" Type="http://schemas.openxmlformats.org/officeDocument/2006/relationships/tags" Target="../tags/tag207.xml"/><Relationship Id="rId222" Type="http://schemas.openxmlformats.org/officeDocument/2006/relationships/tags" Target="../tags/tag228.xml"/><Relationship Id="rId17" Type="http://schemas.openxmlformats.org/officeDocument/2006/relationships/tags" Target="../tags/tag23.xml"/><Relationship Id="rId38" Type="http://schemas.openxmlformats.org/officeDocument/2006/relationships/tags" Target="../tags/tag44.xml"/><Relationship Id="rId59" Type="http://schemas.openxmlformats.org/officeDocument/2006/relationships/tags" Target="../tags/tag65.xml"/><Relationship Id="rId103" Type="http://schemas.openxmlformats.org/officeDocument/2006/relationships/tags" Target="../tags/tag109.xml"/><Relationship Id="rId124" Type="http://schemas.openxmlformats.org/officeDocument/2006/relationships/tags" Target="../tags/tag130.xml"/><Relationship Id="rId70" Type="http://schemas.openxmlformats.org/officeDocument/2006/relationships/tags" Target="../tags/tag76.xml"/><Relationship Id="rId91" Type="http://schemas.openxmlformats.org/officeDocument/2006/relationships/tags" Target="../tags/tag97.xml"/><Relationship Id="rId145" Type="http://schemas.openxmlformats.org/officeDocument/2006/relationships/tags" Target="../tags/tag151.xml"/><Relationship Id="rId166" Type="http://schemas.openxmlformats.org/officeDocument/2006/relationships/tags" Target="../tags/tag172.xml"/><Relationship Id="rId187" Type="http://schemas.openxmlformats.org/officeDocument/2006/relationships/tags" Target="../tags/tag193.xml"/><Relationship Id="rId1" Type="http://schemas.openxmlformats.org/officeDocument/2006/relationships/vmlDrawing" Target="../drawings/vmlDrawing6.vml"/><Relationship Id="rId212" Type="http://schemas.openxmlformats.org/officeDocument/2006/relationships/tags" Target="../tags/tag218.xml"/><Relationship Id="rId28" Type="http://schemas.openxmlformats.org/officeDocument/2006/relationships/tags" Target="../tags/tag34.xml"/><Relationship Id="rId49" Type="http://schemas.openxmlformats.org/officeDocument/2006/relationships/tags" Target="../tags/tag55.xml"/><Relationship Id="rId114" Type="http://schemas.openxmlformats.org/officeDocument/2006/relationships/tags" Target="../tags/tag120.xml"/><Relationship Id="rId60" Type="http://schemas.openxmlformats.org/officeDocument/2006/relationships/tags" Target="../tags/tag66.xml"/><Relationship Id="rId81" Type="http://schemas.openxmlformats.org/officeDocument/2006/relationships/tags" Target="../tags/tag87.xml"/><Relationship Id="rId135" Type="http://schemas.openxmlformats.org/officeDocument/2006/relationships/tags" Target="../tags/tag141.xml"/><Relationship Id="rId156" Type="http://schemas.openxmlformats.org/officeDocument/2006/relationships/tags" Target="../tags/tag162.xml"/><Relationship Id="rId177" Type="http://schemas.openxmlformats.org/officeDocument/2006/relationships/tags" Target="../tags/tag183.xml"/><Relationship Id="rId198" Type="http://schemas.openxmlformats.org/officeDocument/2006/relationships/tags" Target="../tags/tag204.xml"/><Relationship Id="rId202" Type="http://schemas.openxmlformats.org/officeDocument/2006/relationships/tags" Target="../tags/tag208.xml"/><Relationship Id="rId223" Type="http://schemas.openxmlformats.org/officeDocument/2006/relationships/tags" Target="../tags/tag229.xml"/><Relationship Id="rId18" Type="http://schemas.openxmlformats.org/officeDocument/2006/relationships/tags" Target="../tags/tag24.xml"/><Relationship Id="rId39" Type="http://schemas.openxmlformats.org/officeDocument/2006/relationships/tags" Target="../tags/tag45.xml"/><Relationship Id="rId50" Type="http://schemas.openxmlformats.org/officeDocument/2006/relationships/tags" Target="../tags/tag56.xml"/><Relationship Id="rId104" Type="http://schemas.openxmlformats.org/officeDocument/2006/relationships/tags" Target="../tags/tag110.xml"/><Relationship Id="rId125" Type="http://schemas.openxmlformats.org/officeDocument/2006/relationships/tags" Target="../tags/tag131.xml"/><Relationship Id="rId146" Type="http://schemas.openxmlformats.org/officeDocument/2006/relationships/tags" Target="../tags/tag152.xml"/><Relationship Id="rId167" Type="http://schemas.openxmlformats.org/officeDocument/2006/relationships/tags" Target="../tags/tag173.xml"/><Relationship Id="rId188" Type="http://schemas.openxmlformats.org/officeDocument/2006/relationships/tags" Target="../tags/tag194.xml"/><Relationship Id="rId71" Type="http://schemas.openxmlformats.org/officeDocument/2006/relationships/tags" Target="../tags/tag77.xml"/><Relationship Id="rId92" Type="http://schemas.openxmlformats.org/officeDocument/2006/relationships/tags" Target="../tags/tag98.xml"/><Relationship Id="rId213" Type="http://schemas.openxmlformats.org/officeDocument/2006/relationships/tags" Target="../tags/tag219.xml"/><Relationship Id="rId2" Type="http://schemas.openxmlformats.org/officeDocument/2006/relationships/tags" Target="../tags/tag8.xml"/><Relationship Id="rId29" Type="http://schemas.openxmlformats.org/officeDocument/2006/relationships/tags" Target="../tags/tag35.xml"/><Relationship Id="rId40" Type="http://schemas.openxmlformats.org/officeDocument/2006/relationships/tags" Target="../tags/tag46.xml"/><Relationship Id="rId115" Type="http://schemas.openxmlformats.org/officeDocument/2006/relationships/tags" Target="../tags/tag121.xml"/><Relationship Id="rId136" Type="http://schemas.openxmlformats.org/officeDocument/2006/relationships/tags" Target="../tags/tag142.xml"/><Relationship Id="rId157" Type="http://schemas.openxmlformats.org/officeDocument/2006/relationships/tags" Target="../tags/tag163.xml"/><Relationship Id="rId178" Type="http://schemas.openxmlformats.org/officeDocument/2006/relationships/tags" Target="../tags/tag184.xml"/><Relationship Id="rId61" Type="http://schemas.openxmlformats.org/officeDocument/2006/relationships/tags" Target="../tags/tag67.xml"/><Relationship Id="rId82" Type="http://schemas.openxmlformats.org/officeDocument/2006/relationships/tags" Target="../tags/tag88.xml"/><Relationship Id="rId199" Type="http://schemas.openxmlformats.org/officeDocument/2006/relationships/tags" Target="../tags/tag205.xml"/><Relationship Id="rId203" Type="http://schemas.openxmlformats.org/officeDocument/2006/relationships/tags" Target="../tags/tag209.xml"/><Relationship Id="rId19" Type="http://schemas.openxmlformats.org/officeDocument/2006/relationships/tags" Target="../tags/tag25.xml"/><Relationship Id="rId224" Type="http://schemas.openxmlformats.org/officeDocument/2006/relationships/tags" Target="../tags/tag230.xml"/><Relationship Id="rId30" Type="http://schemas.openxmlformats.org/officeDocument/2006/relationships/tags" Target="../tags/tag36.xml"/><Relationship Id="rId105" Type="http://schemas.openxmlformats.org/officeDocument/2006/relationships/tags" Target="../tags/tag111.xml"/><Relationship Id="rId126" Type="http://schemas.openxmlformats.org/officeDocument/2006/relationships/tags" Target="../tags/tag132.xml"/><Relationship Id="rId147" Type="http://schemas.openxmlformats.org/officeDocument/2006/relationships/tags" Target="../tags/tag153.xml"/><Relationship Id="rId168" Type="http://schemas.openxmlformats.org/officeDocument/2006/relationships/tags" Target="../tags/tag174.xml"/><Relationship Id="rId51" Type="http://schemas.openxmlformats.org/officeDocument/2006/relationships/tags" Target="../tags/tag57.xml"/><Relationship Id="rId72" Type="http://schemas.openxmlformats.org/officeDocument/2006/relationships/tags" Target="../tags/tag78.xml"/><Relationship Id="rId93" Type="http://schemas.openxmlformats.org/officeDocument/2006/relationships/tags" Target="../tags/tag99.xml"/><Relationship Id="rId189" Type="http://schemas.openxmlformats.org/officeDocument/2006/relationships/tags" Target="../tags/tag195.xml"/><Relationship Id="rId3" Type="http://schemas.openxmlformats.org/officeDocument/2006/relationships/tags" Target="../tags/tag9.xml"/><Relationship Id="rId214" Type="http://schemas.openxmlformats.org/officeDocument/2006/relationships/tags" Target="../tags/tag220.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59.xml"/><Relationship Id="rId1" Type="http://schemas.openxmlformats.org/officeDocument/2006/relationships/vmlDrawing" Target="../drawings/vmlDrawing58.vml"/><Relationship Id="rId5" Type="http://schemas.openxmlformats.org/officeDocument/2006/relationships/image" Target="../media/image20.emf"/><Relationship Id="rId4" Type="http://schemas.openxmlformats.org/officeDocument/2006/relationships/oleObject" Target="../embeddings/oleObject59.bin"/></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60.xml"/><Relationship Id="rId1" Type="http://schemas.openxmlformats.org/officeDocument/2006/relationships/vmlDrawing" Target="../drawings/vmlDrawing59.vml"/><Relationship Id="rId5" Type="http://schemas.openxmlformats.org/officeDocument/2006/relationships/image" Target="../media/image20.emf"/><Relationship Id="rId4" Type="http://schemas.openxmlformats.org/officeDocument/2006/relationships/oleObject" Target="../embeddings/oleObject60.bin"/></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61.xml"/><Relationship Id="rId1" Type="http://schemas.openxmlformats.org/officeDocument/2006/relationships/vmlDrawing" Target="../drawings/vmlDrawing60.vml"/><Relationship Id="rId5" Type="http://schemas.openxmlformats.org/officeDocument/2006/relationships/image" Target="../media/image20.emf"/><Relationship Id="rId4" Type="http://schemas.openxmlformats.org/officeDocument/2006/relationships/oleObject" Target="../embeddings/oleObject61.bin"/></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62.xml"/><Relationship Id="rId1" Type="http://schemas.openxmlformats.org/officeDocument/2006/relationships/vmlDrawing" Target="../drawings/vmlDrawing61.vml"/><Relationship Id="rId5" Type="http://schemas.openxmlformats.org/officeDocument/2006/relationships/image" Target="../media/image20.emf"/><Relationship Id="rId4" Type="http://schemas.openxmlformats.org/officeDocument/2006/relationships/oleObject" Target="../embeddings/oleObject62.bin"/></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63.xml"/><Relationship Id="rId1" Type="http://schemas.openxmlformats.org/officeDocument/2006/relationships/vmlDrawing" Target="../drawings/vmlDrawing62.vml"/><Relationship Id="rId5" Type="http://schemas.openxmlformats.org/officeDocument/2006/relationships/image" Target="../media/image20.emf"/><Relationship Id="rId4" Type="http://schemas.openxmlformats.org/officeDocument/2006/relationships/oleObject" Target="../embeddings/oleObject63.bin"/></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64.xml"/><Relationship Id="rId1" Type="http://schemas.openxmlformats.org/officeDocument/2006/relationships/vmlDrawing" Target="../drawings/vmlDrawing63.vml"/><Relationship Id="rId5" Type="http://schemas.openxmlformats.org/officeDocument/2006/relationships/image" Target="../media/image20.emf"/><Relationship Id="rId4" Type="http://schemas.openxmlformats.org/officeDocument/2006/relationships/oleObject" Target="../embeddings/oleObject64.bin"/></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65.xml"/><Relationship Id="rId1" Type="http://schemas.openxmlformats.org/officeDocument/2006/relationships/vmlDrawing" Target="../drawings/vmlDrawing64.vml"/><Relationship Id="rId5" Type="http://schemas.openxmlformats.org/officeDocument/2006/relationships/image" Target="../media/image20.emf"/><Relationship Id="rId4" Type="http://schemas.openxmlformats.org/officeDocument/2006/relationships/oleObject" Target="../embeddings/oleObject65.bin"/></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66.xml"/><Relationship Id="rId1" Type="http://schemas.openxmlformats.org/officeDocument/2006/relationships/vmlDrawing" Target="../drawings/vmlDrawing65.vml"/><Relationship Id="rId5" Type="http://schemas.openxmlformats.org/officeDocument/2006/relationships/image" Target="../media/image20.emf"/><Relationship Id="rId4" Type="http://schemas.openxmlformats.org/officeDocument/2006/relationships/oleObject" Target="../embeddings/oleObject66.bin"/></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67.xml"/><Relationship Id="rId1" Type="http://schemas.openxmlformats.org/officeDocument/2006/relationships/vmlDrawing" Target="../drawings/vmlDrawing66.vml"/><Relationship Id="rId5" Type="http://schemas.openxmlformats.org/officeDocument/2006/relationships/image" Target="../media/image20.emf"/><Relationship Id="rId4" Type="http://schemas.openxmlformats.org/officeDocument/2006/relationships/oleObject" Target="../embeddings/oleObject67.bin"/></Relationships>
</file>

<file path=ppt/slides/_rels/slide7.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233.xml"/><Relationship Id="rId7" Type="http://schemas.openxmlformats.org/officeDocument/2006/relationships/oleObject" Target="../embeddings/oleObject7.bin"/><Relationship Id="rId2" Type="http://schemas.openxmlformats.org/officeDocument/2006/relationships/tags" Target="../tags/tag232.xml"/><Relationship Id="rId1" Type="http://schemas.openxmlformats.org/officeDocument/2006/relationships/vmlDrawing" Target="../drawings/vmlDrawing7.vml"/><Relationship Id="rId6" Type="http://schemas.openxmlformats.org/officeDocument/2006/relationships/slideLayout" Target="../slideLayouts/slideLayout3.xml"/><Relationship Id="rId5" Type="http://schemas.openxmlformats.org/officeDocument/2006/relationships/tags" Target="../tags/tag235.xml"/><Relationship Id="rId10" Type="http://schemas.openxmlformats.org/officeDocument/2006/relationships/image" Target="../media/image21.emf"/><Relationship Id="rId4" Type="http://schemas.openxmlformats.org/officeDocument/2006/relationships/tags" Target="../tags/tag234.xml"/><Relationship Id="rId9" Type="http://schemas.openxmlformats.org/officeDocument/2006/relationships/oleObject" Target="../embeddings/oleObject8.bin"/></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68.xml"/><Relationship Id="rId1" Type="http://schemas.openxmlformats.org/officeDocument/2006/relationships/vmlDrawing" Target="../drawings/vmlDrawing67.vml"/><Relationship Id="rId5" Type="http://schemas.openxmlformats.org/officeDocument/2006/relationships/image" Target="../media/image25.emf"/><Relationship Id="rId4" Type="http://schemas.openxmlformats.org/officeDocument/2006/relationships/oleObject" Target="../embeddings/oleObject68.bin"/></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69.xml"/><Relationship Id="rId1" Type="http://schemas.openxmlformats.org/officeDocument/2006/relationships/vmlDrawing" Target="../drawings/vmlDrawing68.vml"/><Relationship Id="rId5" Type="http://schemas.openxmlformats.org/officeDocument/2006/relationships/image" Target="../media/image20.emf"/><Relationship Id="rId4" Type="http://schemas.openxmlformats.org/officeDocument/2006/relationships/oleObject" Target="../embeddings/oleObject69.bin"/></Relationships>
</file>

<file path=ppt/slides/_rels/slide8.xml.rels><?xml version="1.0" encoding="UTF-8" standalone="yes"?>
<Relationships xmlns="http://schemas.openxmlformats.org/package/2006/relationships"><Relationship Id="rId26" Type="http://schemas.openxmlformats.org/officeDocument/2006/relationships/tags" Target="../tags/tag260.xml"/><Relationship Id="rId21" Type="http://schemas.openxmlformats.org/officeDocument/2006/relationships/tags" Target="../tags/tag255.xml"/><Relationship Id="rId42" Type="http://schemas.openxmlformats.org/officeDocument/2006/relationships/tags" Target="../tags/tag276.xml"/><Relationship Id="rId47" Type="http://schemas.openxmlformats.org/officeDocument/2006/relationships/tags" Target="../tags/tag281.xml"/><Relationship Id="rId63" Type="http://schemas.openxmlformats.org/officeDocument/2006/relationships/tags" Target="../tags/tag297.xml"/><Relationship Id="rId68" Type="http://schemas.openxmlformats.org/officeDocument/2006/relationships/image" Target="../media/image18.emf"/><Relationship Id="rId7" Type="http://schemas.openxmlformats.org/officeDocument/2006/relationships/tags" Target="../tags/tag241.xml"/><Relationship Id="rId2" Type="http://schemas.openxmlformats.org/officeDocument/2006/relationships/tags" Target="../tags/tag236.xml"/><Relationship Id="rId16" Type="http://schemas.openxmlformats.org/officeDocument/2006/relationships/tags" Target="../tags/tag250.xml"/><Relationship Id="rId29" Type="http://schemas.openxmlformats.org/officeDocument/2006/relationships/tags" Target="../tags/tag263.xml"/><Relationship Id="rId11" Type="http://schemas.openxmlformats.org/officeDocument/2006/relationships/tags" Target="../tags/tag245.xml"/><Relationship Id="rId24" Type="http://schemas.openxmlformats.org/officeDocument/2006/relationships/tags" Target="../tags/tag258.xml"/><Relationship Id="rId32" Type="http://schemas.openxmlformats.org/officeDocument/2006/relationships/tags" Target="../tags/tag266.xml"/><Relationship Id="rId37" Type="http://schemas.openxmlformats.org/officeDocument/2006/relationships/tags" Target="../tags/tag271.xml"/><Relationship Id="rId40" Type="http://schemas.openxmlformats.org/officeDocument/2006/relationships/tags" Target="../tags/tag274.xml"/><Relationship Id="rId45" Type="http://schemas.openxmlformats.org/officeDocument/2006/relationships/tags" Target="../tags/tag279.xml"/><Relationship Id="rId53" Type="http://schemas.openxmlformats.org/officeDocument/2006/relationships/tags" Target="../tags/tag287.xml"/><Relationship Id="rId58" Type="http://schemas.openxmlformats.org/officeDocument/2006/relationships/tags" Target="../tags/tag292.xml"/><Relationship Id="rId66" Type="http://schemas.openxmlformats.org/officeDocument/2006/relationships/slideLayout" Target="../slideLayouts/slideLayout3.xml"/><Relationship Id="rId5" Type="http://schemas.openxmlformats.org/officeDocument/2006/relationships/tags" Target="../tags/tag239.xml"/><Relationship Id="rId61" Type="http://schemas.openxmlformats.org/officeDocument/2006/relationships/tags" Target="../tags/tag295.xml"/><Relationship Id="rId19" Type="http://schemas.openxmlformats.org/officeDocument/2006/relationships/tags" Target="../tags/tag253.xml"/><Relationship Id="rId14" Type="http://schemas.openxmlformats.org/officeDocument/2006/relationships/tags" Target="../tags/tag248.xml"/><Relationship Id="rId22" Type="http://schemas.openxmlformats.org/officeDocument/2006/relationships/tags" Target="../tags/tag256.xml"/><Relationship Id="rId27" Type="http://schemas.openxmlformats.org/officeDocument/2006/relationships/tags" Target="../tags/tag261.xml"/><Relationship Id="rId30" Type="http://schemas.openxmlformats.org/officeDocument/2006/relationships/tags" Target="../tags/tag264.xml"/><Relationship Id="rId35" Type="http://schemas.openxmlformats.org/officeDocument/2006/relationships/tags" Target="../tags/tag269.xml"/><Relationship Id="rId43" Type="http://schemas.openxmlformats.org/officeDocument/2006/relationships/tags" Target="../tags/tag277.xml"/><Relationship Id="rId48" Type="http://schemas.openxmlformats.org/officeDocument/2006/relationships/tags" Target="../tags/tag282.xml"/><Relationship Id="rId56" Type="http://schemas.openxmlformats.org/officeDocument/2006/relationships/tags" Target="../tags/tag290.xml"/><Relationship Id="rId64" Type="http://schemas.openxmlformats.org/officeDocument/2006/relationships/tags" Target="../tags/tag298.xml"/><Relationship Id="rId69" Type="http://schemas.openxmlformats.org/officeDocument/2006/relationships/chart" Target="../charts/chart3.xml"/><Relationship Id="rId8" Type="http://schemas.openxmlformats.org/officeDocument/2006/relationships/tags" Target="../tags/tag242.xml"/><Relationship Id="rId51" Type="http://schemas.openxmlformats.org/officeDocument/2006/relationships/tags" Target="../tags/tag285.xml"/><Relationship Id="rId3" Type="http://schemas.openxmlformats.org/officeDocument/2006/relationships/tags" Target="../tags/tag237.xml"/><Relationship Id="rId12" Type="http://schemas.openxmlformats.org/officeDocument/2006/relationships/tags" Target="../tags/tag246.xml"/><Relationship Id="rId17" Type="http://schemas.openxmlformats.org/officeDocument/2006/relationships/tags" Target="../tags/tag251.xml"/><Relationship Id="rId25" Type="http://schemas.openxmlformats.org/officeDocument/2006/relationships/tags" Target="../tags/tag259.xml"/><Relationship Id="rId33" Type="http://schemas.openxmlformats.org/officeDocument/2006/relationships/tags" Target="../tags/tag267.xml"/><Relationship Id="rId38" Type="http://schemas.openxmlformats.org/officeDocument/2006/relationships/tags" Target="../tags/tag272.xml"/><Relationship Id="rId46" Type="http://schemas.openxmlformats.org/officeDocument/2006/relationships/tags" Target="../tags/tag280.xml"/><Relationship Id="rId59" Type="http://schemas.openxmlformats.org/officeDocument/2006/relationships/tags" Target="../tags/tag293.xml"/><Relationship Id="rId67" Type="http://schemas.openxmlformats.org/officeDocument/2006/relationships/oleObject" Target="../embeddings/oleObject9.bin"/><Relationship Id="rId20" Type="http://schemas.openxmlformats.org/officeDocument/2006/relationships/tags" Target="../tags/tag254.xml"/><Relationship Id="rId41" Type="http://schemas.openxmlformats.org/officeDocument/2006/relationships/tags" Target="../tags/tag275.xml"/><Relationship Id="rId54" Type="http://schemas.openxmlformats.org/officeDocument/2006/relationships/tags" Target="../tags/tag288.xml"/><Relationship Id="rId62" Type="http://schemas.openxmlformats.org/officeDocument/2006/relationships/tags" Target="../tags/tag296.xml"/><Relationship Id="rId70" Type="http://schemas.openxmlformats.org/officeDocument/2006/relationships/chart" Target="../charts/chart4.xml"/><Relationship Id="rId1" Type="http://schemas.openxmlformats.org/officeDocument/2006/relationships/vmlDrawing" Target="../drawings/vmlDrawing8.vml"/><Relationship Id="rId6" Type="http://schemas.openxmlformats.org/officeDocument/2006/relationships/tags" Target="../tags/tag240.xml"/><Relationship Id="rId15" Type="http://schemas.openxmlformats.org/officeDocument/2006/relationships/tags" Target="../tags/tag249.xml"/><Relationship Id="rId23" Type="http://schemas.openxmlformats.org/officeDocument/2006/relationships/tags" Target="../tags/tag257.xml"/><Relationship Id="rId28" Type="http://schemas.openxmlformats.org/officeDocument/2006/relationships/tags" Target="../tags/tag262.xml"/><Relationship Id="rId36" Type="http://schemas.openxmlformats.org/officeDocument/2006/relationships/tags" Target="../tags/tag270.xml"/><Relationship Id="rId49" Type="http://schemas.openxmlformats.org/officeDocument/2006/relationships/tags" Target="../tags/tag283.xml"/><Relationship Id="rId57" Type="http://schemas.openxmlformats.org/officeDocument/2006/relationships/tags" Target="../tags/tag291.xml"/><Relationship Id="rId10" Type="http://schemas.openxmlformats.org/officeDocument/2006/relationships/tags" Target="../tags/tag244.xml"/><Relationship Id="rId31" Type="http://schemas.openxmlformats.org/officeDocument/2006/relationships/tags" Target="../tags/tag265.xml"/><Relationship Id="rId44" Type="http://schemas.openxmlformats.org/officeDocument/2006/relationships/tags" Target="../tags/tag278.xml"/><Relationship Id="rId52" Type="http://schemas.openxmlformats.org/officeDocument/2006/relationships/tags" Target="../tags/tag286.xml"/><Relationship Id="rId60" Type="http://schemas.openxmlformats.org/officeDocument/2006/relationships/tags" Target="../tags/tag294.xml"/><Relationship Id="rId65" Type="http://schemas.openxmlformats.org/officeDocument/2006/relationships/tags" Target="../tags/tag299.xml"/><Relationship Id="rId4" Type="http://schemas.openxmlformats.org/officeDocument/2006/relationships/tags" Target="../tags/tag238.xml"/><Relationship Id="rId9" Type="http://schemas.openxmlformats.org/officeDocument/2006/relationships/tags" Target="../tags/tag243.xml"/><Relationship Id="rId13" Type="http://schemas.openxmlformats.org/officeDocument/2006/relationships/tags" Target="../tags/tag247.xml"/><Relationship Id="rId18" Type="http://schemas.openxmlformats.org/officeDocument/2006/relationships/tags" Target="../tags/tag252.xml"/><Relationship Id="rId39" Type="http://schemas.openxmlformats.org/officeDocument/2006/relationships/tags" Target="../tags/tag273.xml"/><Relationship Id="rId34" Type="http://schemas.openxmlformats.org/officeDocument/2006/relationships/tags" Target="../tags/tag268.xml"/><Relationship Id="rId50" Type="http://schemas.openxmlformats.org/officeDocument/2006/relationships/tags" Target="../tags/tag284.xml"/><Relationship Id="rId55" Type="http://schemas.openxmlformats.org/officeDocument/2006/relationships/tags" Target="../tags/tag289.xml"/></Relationships>
</file>

<file path=ppt/slides/_rels/slide9.xml.rels><?xml version="1.0" encoding="UTF-8" standalone="yes"?>
<Relationships xmlns="http://schemas.openxmlformats.org/package/2006/relationships"><Relationship Id="rId26" Type="http://schemas.openxmlformats.org/officeDocument/2006/relationships/tags" Target="../tags/tag324.xml"/><Relationship Id="rId21" Type="http://schemas.openxmlformats.org/officeDocument/2006/relationships/tags" Target="../tags/tag319.xml"/><Relationship Id="rId42" Type="http://schemas.openxmlformats.org/officeDocument/2006/relationships/tags" Target="../tags/tag340.xml"/><Relationship Id="rId47" Type="http://schemas.openxmlformats.org/officeDocument/2006/relationships/tags" Target="../tags/tag345.xml"/><Relationship Id="rId63" Type="http://schemas.openxmlformats.org/officeDocument/2006/relationships/tags" Target="../tags/tag361.xml"/><Relationship Id="rId68" Type="http://schemas.openxmlformats.org/officeDocument/2006/relationships/tags" Target="../tags/tag366.xml"/><Relationship Id="rId84" Type="http://schemas.openxmlformats.org/officeDocument/2006/relationships/slideLayout" Target="../slideLayouts/slideLayout3.xml"/><Relationship Id="rId16" Type="http://schemas.openxmlformats.org/officeDocument/2006/relationships/tags" Target="../tags/tag314.xml"/><Relationship Id="rId11" Type="http://schemas.openxmlformats.org/officeDocument/2006/relationships/tags" Target="../tags/tag309.xml"/><Relationship Id="rId32" Type="http://schemas.openxmlformats.org/officeDocument/2006/relationships/tags" Target="../tags/tag330.xml"/><Relationship Id="rId37" Type="http://schemas.openxmlformats.org/officeDocument/2006/relationships/tags" Target="../tags/tag335.xml"/><Relationship Id="rId53" Type="http://schemas.openxmlformats.org/officeDocument/2006/relationships/tags" Target="../tags/tag351.xml"/><Relationship Id="rId58" Type="http://schemas.openxmlformats.org/officeDocument/2006/relationships/tags" Target="../tags/tag356.xml"/><Relationship Id="rId74" Type="http://schemas.openxmlformats.org/officeDocument/2006/relationships/tags" Target="../tags/tag372.xml"/><Relationship Id="rId79" Type="http://schemas.openxmlformats.org/officeDocument/2006/relationships/tags" Target="../tags/tag377.xml"/><Relationship Id="rId5" Type="http://schemas.openxmlformats.org/officeDocument/2006/relationships/tags" Target="../tags/tag303.xml"/><Relationship Id="rId19" Type="http://schemas.openxmlformats.org/officeDocument/2006/relationships/tags" Target="../tags/tag317.xml"/><Relationship Id="rId14" Type="http://schemas.openxmlformats.org/officeDocument/2006/relationships/tags" Target="../tags/tag312.xml"/><Relationship Id="rId22" Type="http://schemas.openxmlformats.org/officeDocument/2006/relationships/tags" Target="../tags/tag320.xml"/><Relationship Id="rId27" Type="http://schemas.openxmlformats.org/officeDocument/2006/relationships/tags" Target="../tags/tag325.xml"/><Relationship Id="rId30" Type="http://schemas.openxmlformats.org/officeDocument/2006/relationships/tags" Target="../tags/tag328.xml"/><Relationship Id="rId35" Type="http://schemas.openxmlformats.org/officeDocument/2006/relationships/tags" Target="../tags/tag333.xml"/><Relationship Id="rId43" Type="http://schemas.openxmlformats.org/officeDocument/2006/relationships/tags" Target="../tags/tag341.xml"/><Relationship Id="rId48" Type="http://schemas.openxmlformats.org/officeDocument/2006/relationships/tags" Target="../tags/tag346.xml"/><Relationship Id="rId56" Type="http://schemas.openxmlformats.org/officeDocument/2006/relationships/tags" Target="../tags/tag354.xml"/><Relationship Id="rId64" Type="http://schemas.openxmlformats.org/officeDocument/2006/relationships/tags" Target="../tags/tag362.xml"/><Relationship Id="rId69" Type="http://schemas.openxmlformats.org/officeDocument/2006/relationships/tags" Target="../tags/tag367.xml"/><Relationship Id="rId77" Type="http://schemas.openxmlformats.org/officeDocument/2006/relationships/tags" Target="../tags/tag375.xml"/><Relationship Id="rId8" Type="http://schemas.openxmlformats.org/officeDocument/2006/relationships/tags" Target="../tags/tag306.xml"/><Relationship Id="rId51" Type="http://schemas.openxmlformats.org/officeDocument/2006/relationships/tags" Target="../tags/tag349.xml"/><Relationship Id="rId72" Type="http://schemas.openxmlformats.org/officeDocument/2006/relationships/tags" Target="../tags/tag370.xml"/><Relationship Id="rId80" Type="http://schemas.openxmlformats.org/officeDocument/2006/relationships/tags" Target="../tags/tag378.xml"/><Relationship Id="rId85" Type="http://schemas.openxmlformats.org/officeDocument/2006/relationships/oleObject" Target="../embeddings/oleObject10.bin"/><Relationship Id="rId3" Type="http://schemas.openxmlformats.org/officeDocument/2006/relationships/tags" Target="../tags/tag301.xml"/><Relationship Id="rId12" Type="http://schemas.openxmlformats.org/officeDocument/2006/relationships/tags" Target="../tags/tag310.xml"/><Relationship Id="rId17" Type="http://schemas.openxmlformats.org/officeDocument/2006/relationships/tags" Target="../tags/tag315.xml"/><Relationship Id="rId25" Type="http://schemas.openxmlformats.org/officeDocument/2006/relationships/tags" Target="../tags/tag323.xml"/><Relationship Id="rId33" Type="http://schemas.openxmlformats.org/officeDocument/2006/relationships/tags" Target="../tags/tag331.xml"/><Relationship Id="rId38" Type="http://schemas.openxmlformats.org/officeDocument/2006/relationships/tags" Target="../tags/tag336.xml"/><Relationship Id="rId46" Type="http://schemas.openxmlformats.org/officeDocument/2006/relationships/tags" Target="../tags/tag344.xml"/><Relationship Id="rId59" Type="http://schemas.openxmlformats.org/officeDocument/2006/relationships/tags" Target="../tags/tag357.xml"/><Relationship Id="rId67" Type="http://schemas.openxmlformats.org/officeDocument/2006/relationships/tags" Target="../tags/tag365.xml"/><Relationship Id="rId20" Type="http://schemas.openxmlformats.org/officeDocument/2006/relationships/tags" Target="../tags/tag318.xml"/><Relationship Id="rId41" Type="http://schemas.openxmlformats.org/officeDocument/2006/relationships/tags" Target="../tags/tag339.xml"/><Relationship Id="rId54" Type="http://schemas.openxmlformats.org/officeDocument/2006/relationships/tags" Target="../tags/tag352.xml"/><Relationship Id="rId62" Type="http://schemas.openxmlformats.org/officeDocument/2006/relationships/tags" Target="../tags/tag360.xml"/><Relationship Id="rId70" Type="http://schemas.openxmlformats.org/officeDocument/2006/relationships/tags" Target="../tags/tag368.xml"/><Relationship Id="rId75" Type="http://schemas.openxmlformats.org/officeDocument/2006/relationships/tags" Target="../tags/tag373.xml"/><Relationship Id="rId83" Type="http://schemas.openxmlformats.org/officeDocument/2006/relationships/tags" Target="../tags/tag381.xml"/><Relationship Id="rId88" Type="http://schemas.openxmlformats.org/officeDocument/2006/relationships/chart" Target="../charts/chart6.xml"/><Relationship Id="rId1" Type="http://schemas.openxmlformats.org/officeDocument/2006/relationships/vmlDrawing" Target="../drawings/vmlDrawing9.vml"/><Relationship Id="rId6" Type="http://schemas.openxmlformats.org/officeDocument/2006/relationships/tags" Target="../tags/tag304.xml"/><Relationship Id="rId15" Type="http://schemas.openxmlformats.org/officeDocument/2006/relationships/tags" Target="../tags/tag313.xml"/><Relationship Id="rId23" Type="http://schemas.openxmlformats.org/officeDocument/2006/relationships/tags" Target="../tags/tag321.xml"/><Relationship Id="rId28" Type="http://schemas.openxmlformats.org/officeDocument/2006/relationships/tags" Target="../tags/tag326.xml"/><Relationship Id="rId36" Type="http://schemas.openxmlformats.org/officeDocument/2006/relationships/tags" Target="../tags/tag334.xml"/><Relationship Id="rId49" Type="http://schemas.openxmlformats.org/officeDocument/2006/relationships/tags" Target="../tags/tag347.xml"/><Relationship Id="rId57" Type="http://schemas.openxmlformats.org/officeDocument/2006/relationships/tags" Target="../tags/tag355.xml"/><Relationship Id="rId10" Type="http://schemas.openxmlformats.org/officeDocument/2006/relationships/tags" Target="../tags/tag308.xml"/><Relationship Id="rId31" Type="http://schemas.openxmlformats.org/officeDocument/2006/relationships/tags" Target="../tags/tag329.xml"/><Relationship Id="rId44" Type="http://schemas.openxmlformats.org/officeDocument/2006/relationships/tags" Target="../tags/tag342.xml"/><Relationship Id="rId52" Type="http://schemas.openxmlformats.org/officeDocument/2006/relationships/tags" Target="../tags/tag350.xml"/><Relationship Id="rId60" Type="http://schemas.openxmlformats.org/officeDocument/2006/relationships/tags" Target="../tags/tag358.xml"/><Relationship Id="rId65" Type="http://schemas.openxmlformats.org/officeDocument/2006/relationships/tags" Target="../tags/tag363.xml"/><Relationship Id="rId73" Type="http://schemas.openxmlformats.org/officeDocument/2006/relationships/tags" Target="../tags/tag371.xml"/><Relationship Id="rId78" Type="http://schemas.openxmlformats.org/officeDocument/2006/relationships/tags" Target="../tags/tag376.xml"/><Relationship Id="rId81" Type="http://schemas.openxmlformats.org/officeDocument/2006/relationships/tags" Target="../tags/tag379.xml"/><Relationship Id="rId86" Type="http://schemas.openxmlformats.org/officeDocument/2006/relationships/image" Target="../media/image18.emf"/><Relationship Id="rId4" Type="http://schemas.openxmlformats.org/officeDocument/2006/relationships/tags" Target="../tags/tag302.xml"/><Relationship Id="rId9" Type="http://schemas.openxmlformats.org/officeDocument/2006/relationships/tags" Target="../tags/tag307.xml"/><Relationship Id="rId13" Type="http://schemas.openxmlformats.org/officeDocument/2006/relationships/tags" Target="../tags/tag311.xml"/><Relationship Id="rId18" Type="http://schemas.openxmlformats.org/officeDocument/2006/relationships/tags" Target="../tags/tag316.xml"/><Relationship Id="rId39" Type="http://schemas.openxmlformats.org/officeDocument/2006/relationships/tags" Target="../tags/tag337.xml"/><Relationship Id="rId34" Type="http://schemas.openxmlformats.org/officeDocument/2006/relationships/tags" Target="../tags/tag332.xml"/><Relationship Id="rId50" Type="http://schemas.openxmlformats.org/officeDocument/2006/relationships/tags" Target="../tags/tag348.xml"/><Relationship Id="rId55" Type="http://schemas.openxmlformats.org/officeDocument/2006/relationships/tags" Target="../tags/tag353.xml"/><Relationship Id="rId76" Type="http://schemas.openxmlformats.org/officeDocument/2006/relationships/tags" Target="../tags/tag374.xml"/><Relationship Id="rId7" Type="http://schemas.openxmlformats.org/officeDocument/2006/relationships/tags" Target="../tags/tag305.xml"/><Relationship Id="rId71" Type="http://schemas.openxmlformats.org/officeDocument/2006/relationships/tags" Target="../tags/tag369.xml"/><Relationship Id="rId2" Type="http://schemas.openxmlformats.org/officeDocument/2006/relationships/tags" Target="../tags/tag300.xml"/><Relationship Id="rId29" Type="http://schemas.openxmlformats.org/officeDocument/2006/relationships/tags" Target="../tags/tag327.xml"/><Relationship Id="rId24" Type="http://schemas.openxmlformats.org/officeDocument/2006/relationships/tags" Target="../tags/tag322.xml"/><Relationship Id="rId40" Type="http://schemas.openxmlformats.org/officeDocument/2006/relationships/tags" Target="../tags/tag338.xml"/><Relationship Id="rId45" Type="http://schemas.openxmlformats.org/officeDocument/2006/relationships/tags" Target="../tags/tag343.xml"/><Relationship Id="rId66" Type="http://schemas.openxmlformats.org/officeDocument/2006/relationships/tags" Target="../tags/tag364.xml"/><Relationship Id="rId87" Type="http://schemas.openxmlformats.org/officeDocument/2006/relationships/chart" Target="../charts/chart5.xml"/><Relationship Id="rId61" Type="http://schemas.openxmlformats.org/officeDocument/2006/relationships/tags" Target="../tags/tag359.xml"/><Relationship Id="rId82" Type="http://schemas.openxmlformats.org/officeDocument/2006/relationships/tags" Target="../tags/tag38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a:xfrm>
            <a:off x="3440833" y="5419963"/>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en-US" altLang="ja-JP" dirty="0">
                <a:latin typeface="+mn-lt"/>
              </a:rPr>
              <a:t>2023</a:t>
            </a:r>
            <a:r>
              <a:rPr lang="ja-JP" altLang="en-US" dirty="0">
                <a:latin typeface="+mn-lt"/>
              </a:rPr>
              <a:t>年</a:t>
            </a:r>
            <a:r>
              <a:rPr lang="en-US" altLang="ja-JP" dirty="0">
                <a:latin typeface="+mn-lt"/>
              </a:rPr>
              <a:t>3</a:t>
            </a:r>
            <a:r>
              <a:rPr lang="ja-JP" altLang="en-US" dirty="0">
                <a:latin typeface="+mn-lt"/>
              </a:rPr>
              <a:t>月</a:t>
            </a:r>
            <a:endParaRPr lang="en-US" altLang="ja-JP" dirty="0">
              <a:latin typeface="+mn-lt"/>
            </a:endParaRPr>
          </a:p>
        </p:txBody>
      </p:sp>
      <p:sp>
        <p:nvSpPr>
          <p:cNvPr id="7" name="テキスト プレースホルダー 6"/>
          <p:cNvSpPr>
            <a:spLocks noGrp="1"/>
          </p:cNvSpPr>
          <p:nvPr>
            <p:ph type="body" sz="quarter" idx="12"/>
          </p:nvPr>
        </p:nvSpPr>
        <p:spPr>
          <a:xfrm>
            <a:off x="3440833" y="5747605"/>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ja-JP" altLang="en-US" sz="1600" b="0" dirty="0">
                <a:latin typeface="+mn-lt"/>
              </a:rPr>
              <a:t>経済産業省</a:t>
            </a:r>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dirty="0">
                <a:solidFill>
                  <a:srgbClr val="FFFFFF"/>
                </a:solidFill>
                <a:latin typeface="ＭＳ Ｐゴシック" panose="020B0600070205080204" pitchFamily="50" charset="-128"/>
                <a:ea typeface="ＭＳ Ｐゴシック" panose="020B0600070205080204" pitchFamily="50" charset="-128"/>
              </a:rPr>
              <a:t>新興国等のヘルスケア市場環境に関する基本情報</a:t>
            </a:r>
            <a:br>
              <a:rPr lang="ja-JP" altLang="en-US" sz="1600" b="1" spc="40" dirty="0">
                <a:solidFill>
                  <a:srgbClr val="FFFFFF"/>
                </a:solidFill>
                <a:latin typeface="ＭＳ Ｐゴシック" panose="020B0600070205080204" pitchFamily="50" charset="-128"/>
                <a:ea typeface="ＭＳ Ｐゴシック" panose="020B0600070205080204" pitchFamily="50" charset="-128"/>
              </a:rPr>
            </a:br>
            <a:r>
              <a:rPr lang="ja-JP" altLang="en-US" sz="3600" b="1" spc="-200" dirty="0">
                <a:solidFill>
                  <a:srgbClr val="FFFFFF"/>
                </a:solidFill>
                <a:latin typeface="ＭＳ Ｐゴシック" panose="020B0600070205080204" pitchFamily="50" charset="-128"/>
                <a:ea typeface="ＭＳ Ｐゴシック" panose="020B0600070205080204" pitchFamily="50" charset="-128"/>
                <a:cs typeface="Arial" panose="020B0604020202020204" pitchFamily="34" charset="0"/>
              </a:rPr>
              <a:t>シンガポール</a:t>
            </a:r>
            <a:r>
              <a:rPr lang="ja-JP" altLang="en-US" sz="3400" dirty="0">
                <a:solidFill>
                  <a:srgbClr val="FFFFFF"/>
                </a:solidFill>
              </a:rPr>
              <a:t>編</a:t>
            </a:r>
          </a:p>
        </p:txBody>
      </p:sp>
    </p:spTree>
    <p:extLst>
      <p:ext uri="{BB962C8B-B14F-4D97-AF65-F5344CB8AC3E}">
        <p14:creationId xmlns:p14="http://schemas.microsoft.com/office/powerpoint/2010/main" val="31235812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1B8D16D-48CA-4EEA-B953-45AD4AB5899D}"/>
              </a:ext>
            </a:extLst>
          </p:cNvPr>
          <p:cNvGraphicFramePr>
            <a:graphicFrameLocks noChangeAspect="1"/>
          </p:cNvGraphicFramePr>
          <p:nvPr>
            <p:custDataLst>
              <p:tags r:id="rId2"/>
            </p:custDataLst>
            <p:extLst>
              <p:ext uri="{D42A27DB-BD31-4B8C-83A1-F6EECF244321}">
                <p14:modId xmlns:p14="http://schemas.microsoft.com/office/powerpoint/2010/main" val="69609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4" imgW="395" imgH="396" progId="TCLayout.ActiveDocument.1">
                  <p:embed/>
                </p:oleObj>
              </mc:Choice>
              <mc:Fallback>
                <p:oleObj name="think-cell Slide" r:id="rId4" imgW="395" imgH="396" progId="TCLayout.ActiveDocument.1">
                  <p:embed/>
                  <p:pic>
                    <p:nvPicPr>
                      <p:cNvPr id="11" name="Object 10" hidden="1">
                        <a:extLst>
                          <a:ext uri="{FF2B5EF4-FFF2-40B4-BE49-F238E27FC236}">
                            <a16:creationId xmlns:a16="http://schemas.microsoft.com/office/drawing/2014/main" id="{71B8D16D-48CA-4EEA-B953-45AD4AB589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投資法</a:t>
            </a:r>
          </a:p>
        </p:txBody>
      </p:sp>
      <p:graphicFrame>
        <p:nvGraphicFramePr>
          <p:cNvPr id="4" name="表 3"/>
          <p:cNvGraphicFramePr>
            <a:graphicFrameLocks noGrp="1"/>
          </p:cNvGraphicFramePr>
          <p:nvPr>
            <p:extLst>
              <p:ext uri="{D42A27DB-BD31-4B8C-83A1-F6EECF244321}">
                <p14:modId xmlns:p14="http://schemas.microsoft.com/office/powerpoint/2010/main" val="3948895290"/>
              </p:ext>
            </p:extLst>
          </p:nvPr>
        </p:nvGraphicFramePr>
        <p:xfrm>
          <a:off x="200473" y="2241312"/>
          <a:ext cx="9505056" cy="3186784"/>
        </p:xfrm>
        <a:graphic>
          <a:graphicData uri="http://schemas.openxmlformats.org/drawingml/2006/table">
            <a:tbl>
              <a:tblPr firstRow="1" bandRow="1">
                <a:tableStyleId>{5C22544A-7EE6-4342-B048-85BDC9FD1C3A}</a:tableStyleId>
              </a:tblPr>
              <a:tblGrid>
                <a:gridCol w="1224136">
                  <a:extLst>
                    <a:ext uri="{9D8B030D-6E8A-4147-A177-3AD203B41FA5}">
                      <a16:colId xmlns:a16="http://schemas.microsoft.com/office/drawing/2014/main" val="20000"/>
                    </a:ext>
                  </a:extLst>
                </a:gridCol>
                <a:gridCol w="8280920">
                  <a:extLst>
                    <a:ext uri="{9D8B030D-6E8A-4147-A177-3AD203B41FA5}">
                      <a16:colId xmlns:a16="http://schemas.microsoft.com/office/drawing/2014/main" val="20001"/>
                    </a:ext>
                  </a:extLst>
                </a:gridCol>
              </a:tblGrid>
              <a:tr h="755640">
                <a:tc>
                  <a:txBody>
                    <a:bodyPr/>
                    <a:lstStyle/>
                    <a:p>
                      <a:r>
                        <a:rPr kumimoji="1" lang="ja-JP" altLang="en-US" sz="1100" b="1" dirty="0">
                          <a:solidFill>
                            <a:schemeClr val="bg1"/>
                          </a:solidFill>
                        </a:rPr>
                        <a:t>規制業種・</a:t>
                      </a:r>
                      <a:br>
                        <a:rPr kumimoji="1" lang="en-US" altLang="ja-JP" sz="1100" b="1" dirty="0">
                          <a:solidFill>
                            <a:schemeClr val="bg1"/>
                          </a:solidFill>
                        </a:rPr>
                      </a:br>
                      <a:r>
                        <a:rPr kumimoji="1" lang="ja-JP" altLang="en-US" sz="1100" b="1" dirty="0">
                          <a:solidFill>
                            <a:schemeClr val="bg1"/>
                          </a:solidFill>
                        </a:rPr>
                        <a:t>禁止業種</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外国資本による事業所有に関しても、国家の安全保障にかかわる公益事業、メディア関係等の一定の分野を除いて制限はない。</a:t>
                      </a: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外資規制を管轄する官庁はない。ライセンスを管轄する官庁は業種によって異なる。</a:t>
                      </a:r>
                      <a:endParaRPr kumimoji="1" lang="en-US" altLang="ja-JP" sz="10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内外資を問わず、事前に一定のライセンスを取得することが必要な事業がある。ヘルスケアに関連する代表的な業種は以下の通り。</a:t>
                      </a:r>
                    </a:p>
                    <a:p>
                      <a:pPr marL="565150" lvl="1" indent="-187325" algn="just" defTabSz="914400" rtl="0" eaLnBrk="1" fontAlgn="ctr" latinLnBrk="0" hangingPunct="1">
                        <a:lnSpc>
                          <a:spcPct val="110000"/>
                        </a:lnSpc>
                        <a:spcBef>
                          <a:spcPts val="30"/>
                        </a:spcBef>
                        <a:spcAft>
                          <a:spcPts val="200"/>
                        </a:spcAft>
                        <a:buClr>
                          <a:schemeClr val="bg1"/>
                        </a:buClr>
                        <a:buSzPct val="100000"/>
                        <a:buFont typeface="Wingdings" panose="05000000000000000000" pitchFamily="2" charset="2"/>
                        <a:buChar char="l"/>
                        <a:tabLst/>
                      </a:pPr>
                      <a:r>
                        <a:rPr kumimoji="1" lang="en-US" altLang="ja-JP" sz="1000" b="0" kern="1200" dirty="0">
                          <a:solidFill>
                            <a:srgbClr val="000000"/>
                          </a:solidFill>
                          <a:latin typeface="+mn-lt"/>
                          <a:ea typeface="ＭＳ Ｐゴシック" charset="-128"/>
                          <a:cs typeface="Arial" pitchFamily="34" charset="0"/>
                        </a:rPr>
                        <a:t>Licensing Of Retail Pharmacies</a:t>
                      </a:r>
                      <a:r>
                        <a:rPr kumimoji="1" lang="ja-JP" altLang="en-US" sz="1000" b="0" kern="1200" dirty="0">
                          <a:solidFill>
                            <a:srgbClr val="000000"/>
                          </a:solidFill>
                          <a:latin typeface="+mn-lt"/>
                          <a:ea typeface="ＭＳ Ｐゴシック" charset="-128"/>
                          <a:cs typeface="Arial" pitchFamily="34" charset="0"/>
                        </a:rPr>
                        <a:t>（薬局）：ヘルスサイエンス庁（</a:t>
                      </a:r>
                      <a:r>
                        <a:rPr kumimoji="1" lang="en-US" altLang="ja-JP" sz="1000" b="0" kern="1200" dirty="0">
                          <a:solidFill>
                            <a:srgbClr val="000000"/>
                          </a:solidFill>
                          <a:latin typeface="+mn-lt"/>
                          <a:ea typeface="ＭＳ Ｐゴシック" charset="-128"/>
                          <a:cs typeface="Arial" pitchFamily="34" charset="0"/>
                        </a:rPr>
                        <a:t>Health Science Authority</a:t>
                      </a:r>
                      <a:r>
                        <a:rPr kumimoji="1" lang="ja-JP" altLang="en-US" sz="1000" b="0" kern="1200" dirty="0">
                          <a:solidFill>
                            <a:srgbClr val="000000"/>
                          </a:solidFill>
                          <a:latin typeface="+mn-lt"/>
                          <a:ea typeface="ＭＳ Ｐゴシック" charset="-128"/>
                          <a:cs typeface="Arial" pitchFamily="34" charset="0"/>
                        </a:rPr>
                        <a:t>：</a:t>
                      </a:r>
                      <a:r>
                        <a:rPr kumimoji="1" lang="en-US" altLang="ja-JP" sz="1000" b="0" kern="1200" dirty="0">
                          <a:solidFill>
                            <a:srgbClr val="000000"/>
                          </a:solidFill>
                          <a:latin typeface="+mn-lt"/>
                          <a:ea typeface="ＭＳ Ｐゴシック" charset="-128"/>
                          <a:cs typeface="Arial" pitchFamily="34" charset="0"/>
                        </a:rPr>
                        <a:t>HSA</a:t>
                      </a:r>
                      <a:r>
                        <a:rPr kumimoji="1" lang="ja-JP" altLang="en-US" sz="1000" b="0" kern="1200" dirty="0">
                          <a:solidFill>
                            <a:srgbClr val="000000"/>
                          </a:solidFill>
                          <a:latin typeface="+mn-lt"/>
                          <a:ea typeface="ＭＳ Ｐゴシック" charset="-128"/>
                          <a:cs typeface="Arial" pitchFamily="34" charset="0"/>
                        </a:rPr>
                        <a:t>）</a:t>
                      </a:r>
                      <a:endParaRPr kumimoji="1" lang="en-US" altLang="ja-JP" sz="1000" b="0" kern="1200" dirty="0">
                        <a:solidFill>
                          <a:srgbClr val="000000"/>
                        </a:solidFill>
                        <a:latin typeface="+mn-lt"/>
                        <a:ea typeface="ＭＳ Ｐゴシック" charset="-128"/>
                        <a:cs typeface="Arial" pitchFamily="34" charset="0"/>
                      </a:endParaRPr>
                    </a:p>
                    <a:p>
                      <a:pPr marL="565150" lvl="1" indent="-187325" algn="just" defTabSz="914400" rtl="0" eaLnBrk="1" fontAlgn="ctr" latinLnBrk="0" hangingPunct="1">
                        <a:lnSpc>
                          <a:spcPct val="110000"/>
                        </a:lnSpc>
                        <a:spcBef>
                          <a:spcPts val="30"/>
                        </a:spcBef>
                        <a:spcAft>
                          <a:spcPts val="200"/>
                        </a:spcAft>
                        <a:buClr>
                          <a:schemeClr val="bg1"/>
                        </a:buClr>
                        <a:buSzPct val="100000"/>
                        <a:buFont typeface="Wingdings" panose="05000000000000000000" pitchFamily="2" charset="2"/>
                        <a:buChar char="l"/>
                        <a:tabLst/>
                      </a:pPr>
                      <a:r>
                        <a:rPr kumimoji="1" lang="en-US" altLang="ja-JP" sz="1000" b="0" kern="1200" dirty="0">
                          <a:solidFill>
                            <a:srgbClr val="000000"/>
                          </a:solidFill>
                          <a:latin typeface="+mn-lt"/>
                          <a:ea typeface="ＭＳ Ｐゴシック" charset="-128"/>
                          <a:cs typeface="Arial" pitchFamily="34" charset="0"/>
                        </a:rPr>
                        <a:t>Hospital License, Medical Clinic License</a:t>
                      </a:r>
                      <a:r>
                        <a:rPr kumimoji="1" lang="ja-JP" altLang="en-US" sz="1000" b="0" kern="1200" dirty="0">
                          <a:solidFill>
                            <a:srgbClr val="000000"/>
                          </a:solidFill>
                          <a:latin typeface="+mn-lt"/>
                          <a:ea typeface="ＭＳ Ｐゴシック" charset="-128"/>
                          <a:cs typeface="Arial" pitchFamily="34" charset="0"/>
                        </a:rPr>
                        <a:t>（民間病院、診療所）：保健省（</a:t>
                      </a:r>
                      <a:r>
                        <a:rPr kumimoji="1" lang="en-US" altLang="ja-JP" sz="1000" b="0" kern="1200" dirty="0">
                          <a:solidFill>
                            <a:srgbClr val="000000"/>
                          </a:solidFill>
                          <a:latin typeface="+mn-lt"/>
                          <a:ea typeface="ＭＳ Ｐゴシック" charset="-128"/>
                          <a:cs typeface="Arial" pitchFamily="34" charset="0"/>
                        </a:rPr>
                        <a:t>Ministry of Health</a:t>
                      </a:r>
                      <a:r>
                        <a:rPr kumimoji="1" lang="ja-JP" altLang="en-US" sz="1000" b="0" kern="1200" dirty="0">
                          <a:solidFill>
                            <a:srgbClr val="000000"/>
                          </a:solidFill>
                          <a:latin typeface="+mn-lt"/>
                          <a:ea typeface="ＭＳ Ｐゴシック" charset="-128"/>
                          <a:cs typeface="Arial" pitchFamily="34" charset="0"/>
                        </a:rPr>
                        <a:t>：</a:t>
                      </a:r>
                      <a:r>
                        <a:rPr kumimoji="1" lang="en-US" altLang="ja-JP" sz="1000" b="0" kern="1200" dirty="0">
                          <a:solidFill>
                            <a:srgbClr val="000000"/>
                          </a:solidFill>
                          <a:latin typeface="+mn-lt"/>
                          <a:ea typeface="ＭＳ Ｐゴシック" charset="-128"/>
                          <a:cs typeface="Arial" pitchFamily="34" charset="0"/>
                        </a:rPr>
                        <a:t>MOH</a:t>
                      </a:r>
                      <a:r>
                        <a:rPr kumimoji="1" lang="ja-JP" altLang="en-US" sz="1000" b="0" kern="1200" dirty="0">
                          <a:solidFill>
                            <a:srgbClr val="000000"/>
                          </a:solidFill>
                          <a:latin typeface="+mn-lt"/>
                          <a:ea typeface="ＭＳ Ｐゴシック" charset="-128"/>
                          <a:cs typeface="Arial" pitchFamily="34" charset="0"/>
                        </a:rPr>
                        <a:t>）</a:t>
                      </a:r>
                      <a:endParaRPr kumimoji="1" lang="en-US" altLang="ja-JP" sz="10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67464">
                <a:tc>
                  <a:txBody>
                    <a:bodyPr/>
                    <a:lstStyle/>
                    <a:p>
                      <a:r>
                        <a:rPr kumimoji="1" lang="ja-JP" altLang="en-US" sz="1100" b="1" dirty="0">
                          <a:solidFill>
                            <a:schemeClr val="bg1"/>
                          </a:solidFill>
                        </a:rPr>
                        <a:t>出資比率</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国家の安全にかかわる特定の部門を除き、外国資本による全額出資が原則認められている。</a:t>
                      </a: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40000">
                <a:tc>
                  <a:txBody>
                    <a:bodyPr/>
                    <a:lstStyle/>
                    <a:p>
                      <a:r>
                        <a:rPr kumimoji="1" lang="ja-JP" altLang="en-US" sz="1100" b="1" dirty="0">
                          <a:solidFill>
                            <a:schemeClr val="bg1"/>
                          </a:solidFill>
                        </a:rPr>
                        <a:t>資本金に関する</a:t>
                      </a:r>
                      <a:br>
                        <a:rPr kumimoji="1" lang="en-US" altLang="ja-JP" sz="1100" b="1" dirty="0">
                          <a:solidFill>
                            <a:schemeClr val="bg1"/>
                          </a:solidFill>
                        </a:rPr>
                      </a:br>
                      <a:r>
                        <a:rPr kumimoji="1" lang="ja-JP" altLang="en-US" sz="1100" b="1" dirty="0">
                          <a:solidFill>
                            <a:schemeClr val="bg1"/>
                          </a:solidFill>
                        </a:rPr>
                        <a:t>規制 </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特定の業種に関する出資比率制限以外には、外国資本による資本金に関するその他の規制はない。シンガポールで設立された企業の最低授権資本に関する法定要件もない。</a:t>
                      </a:r>
                      <a:endParaRPr kumimoji="1" lang="en-US" altLang="ja-JP" sz="10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40000">
                <a:tc>
                  <a:txBody>
                    <a:bodyPr/>
                    <a:lstStyle/>
                    <a:p>
                      <a:r>
                        <a:rPr kumimoji="1" lang="ja-JP" altLang="en-US" sz="1100" b="1" dirty="0">
                          <a:solidFill>
                            <a:schemeClr val="bg1"/>
                          </a:solidFill>
                        </a:rPr>
                        <a:t>外国企業の</a:t>
                      </a:r>
                      <a:br>
                        <a:rPr kumimoji="1" lang="en-US" altLang="ja-JP" sz="1100" b="1" dirty="0">
                          <a:solidFill>
                            <a:schemeClr val="bg1"/>
                          </a:solidFill>
                        </a:rPr>
                      </a:br>
                      <a:r>
                        <a:rPr kumimoji="1" lang="ja-JP" altLang="en-US" sz="1100" b="1" dirty="0">
                          <a:solidFill>
                            <a:schemeClr val="bg1"/>
                          </a:solidFill>
                        </a:rPr>
                        <a:t>土地所有の可否</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居住用不動産法に基づき、国土庁（</a:t>
                      </a:r>
                      <a:r>
                        <a:rPr lang="en-US" altLang="ja-JP" sz="1000" dirty="0"/>
                        <a:t>SLA</a:t>
                      </a:r>
                      <a:r>
                        <a:rPr lang="ja-JP" altLang="en-US" sz="1000" dirty="0"/>
                        <a:t>）による一定の制限が設けられているが、工業用・商業用不動産については法務大臣の許可なく所有が認められている</a:t>
                      </a:r>
                      <a:endParaRPr lang="en-US" altLang="ja-JP" sz="1000" dirty="0"/>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lang="ja-JP" altLang="en-US" sz="1000" dirty="0"/>
                        <a:t>国家開発省（</a:t>
                      </a:r>
                      <a:r>
                        <a:rPr lang="en-US" altLang="ja-JP" sz="1000" dirty="0"/>
                        <a:t>MND</a:t>
                      </a:r>
                      <a:r>
                        <a:rPr lang="ja-JP" altLang="en-US" sz="1000" dirty="0"/>
                        <a:t>）は年</a:t>
                      </a:r>
                      <a:r>
                        <a:rPr lang="en-US" altLang="ja-JP" sz="1000" dirty="0"/>
                        <a:t>2</a:t>
                      </a:r>
                      <a:r>
                        <a:rPr lang="ja-JP" altLang="en-US" sz="1000" dirty="0"/>
                        <a:t>回、市場の需要や国内経済政策に基づき、国有地の民間への売却計画を発表している。限られた国土を有効に活用することを目的に、売却計画は工業用地で最大</a:t>
                      </a:r>
                      <a:r>
                        <a:rPr lang="en-US" altLang="ja-JP" sz="1000" dirty="0"/>
                        <a:t>30</a:t>
                      </a:r>
                      <a:r>
                        <a:rPr lang="ja-JP" altLang="en-US" sz="1000" dirty="0"/>
                        <a:t>年または</a:t>
                      </a:r>
                      <a:r>
                        <a:rPr lang="en-US" altLang="ja-JP" sz="1000" dirty="0"/>
                        <a:t>60</a:t>
                      </a:r>
                      <a:r>
                        <a:rPr lang="ja-JP" altLang="en-US" sz="1000" dirty="0"/>
                        <a:t>年間、住宅や商業用地で最大</a:t>
                      </a:r>
                      <a:r>
                        <a:rPr lang="en-US" altLang="ja-JP" sz="1000" dirty="0"/>
                        <a:t>99</a:t>
                      </a:r>
                      <a:r>
                        <a:rPr lang="ja-JP" altLang="en-US" sz="1000" dirty="0"/>
                        <a:t>年間など使用権を一定期間に区切って貸し出す方式（リースホールド）が一般的である。</a:t>
                      </a:r>
                      <a:endParaRPr lang="en-US" altLang="ja-JP" sz="1000" dirty="0"/>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endParaRPr kumimoji="1" lang="ja-JP" altLang="en-US" sz="10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5" name="テキスト ボックス 4"/>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家の安全保障にかかわる公益事業やメディア関係等の一定の分野を除き外資規制はない。</a:t>
            </a:r>
          </a:p>
          <a:p>
            <a:pPr algn="just">
              <a:lnSpc>
                <a:spcPct val="110000"/>
              </a:lnSpc>
              <a:spcAft>
                <a:spcPts val="200"/>
              </a:spcAft>
              <a:buClr>
                <a:srgbClr val="5F8AC3"/>
              </a:buClr>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Rectangle 6"/>
          <p:cNvSpPr>
            <a:spLocks noChangeArrowheads="1"/>
          </p:cNvSpPr>
          <p:nvPr/>
        </p:nvSpPr>
        <p:spPr bwMode="auto">
          <a:xfrm>
            <a:off x="200472" y="2025288"/>
            <a:ext cx="95049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からの直接投資に関する規制について</a:t>
            </a:r>
            <a:endParaRPr lang="zh-TW" altLang="en-US" sz="1400" dirty="0">
              <a:solidFill>
                <a:srgbClr val="000000"/>
              </a:solidFill>
              <a:latin typeface="Arial Black" pitchFamily="34" charset="0"/>
              <a:ea typeface="HGP創英角ｺﾞｼｯｸUB" pitchFamily="50" charset="-128"/>
            </a:endParaRPr>
          </a:p>
        </p:txBody>
      </p:sp>
      <p:sp>
        <p:nvSpPr>
          <p:cNvPr id="9" name="テキスト ボックス 8"/>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6009685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C426151-F381-4D6C-9EE5-3607BF954BCA}"/>
              </a:ext>
            </a:extLst>
          </p:cNvPr>
          <p:cNvGraphicFramePr>
            <a:graphicFrameLocks noChangeAspect="1"/>
          </p:cNvGraphicFramePr>
          <p:nvPr>
            <p:custDataLst>
              <p:tags r:id="rId2"/>
            </p:custDataLst>
            <p:extLst>
              <p:ext uri="{D42A27DB-BD31-4B8C-83A1-F6EECF244321}">
                <p14:modId xmlns:p14="http://schemas.microsoft.com/office/powerpoint/2010/main" val="1144827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1C426151-F381-4D6C-9EE5-3607BF954B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会社法</a:t>
            </a:r>
          </a:p>
        </p:txBody>
      </p:sp>
      <p:sp>
        <p:nvSpPr>
          <p:cNvPr id="4" name="テキスト プレースホルダ 1"/>
          <p:cNvSpPr txBox="1">
            <a:spLocks/>
          </p:cNvSpPr>
          <p:nvPr/>
        </p:nvSpPr>
        <p:spPr>
          <a:xfrm>
            <a:off x="199710" y="1124744"/>
            <a:ext cx="9505950" cy="953274"/>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会計企業規制庁（</a:t>
            </a:r>
            <a:r>
              <a:rPr lang="en-US" altLang="ja-JP" dirty="0"/>
              <a:t>ACRA</a:t>
            </a:r>
            <a:r>
              <a:rPr lang="ja-JP" altLang="en-US" dirty="0"/>
              <a:t>）へのビジネス登録自体は最大</a:t>
            </a:r>
            <a:r>
              <a:rPr lang="en-US" altLang="ja-JP" dirty="0"/>
              <a:t>3</a:t>
            </a:r>
            <a:r>
              <a:rPr lang="ja-JP" altLang="en-US" dirty="0"/>
              <a:t>日で済むが、他の機関に承認や審査を申請する必要がある場合は、</a:t>
            </a:r>
            <a:r>
              <a:rPr lang="en-US" altLang="ja-JP" dirty="0"/>
              <a:t>14</a:t>
            </a:r>
            <a:r>
              <a:rPr lang="ja-JP" altLang="en-US" dirty="0"/>
              <a:t>営業日から</a:t>
            </a:r>
            <a:r>
              <a:rPr lang="en-US" altLang="ja-JP" dirty="0"/>
              <a:t>2</a:t>
            </a:r>
            <a:r>
              <a:rPr lang="ja-JP" altLang="en-US" dirty="0"/>
              <a:t>カ月かかる可能性がある。</a:t>
            </a:r>
            <a:endParaRPr lang="en-US" altLang="ja-JP" dirty="0"/>
          </a:p>
          <a:p>
            <a:r>
              <a:rPr lang="ja-JP" altLang="en-US" dirty="0"/>
              <a:t>シンガポール経済開発庁が在日大使館内に東京オフィスを構え、日本企業のシンガポール進出の支援・情報提供を行っている。</a:t>
            </a:r>
            <a:endParaRPr lang="en-US" altLang="ja-JP" dirty="0"/>
          </a:p>
        </p:txBody>
      </p:sp>
      <p:sp>
        <p:nvSpPr>
          <p:cNvPr id="10" name="テキスト ボックス 9"/>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シンガポール経済開発庁</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5" name="グループ化 7">
            <a:extLst>
              <a:ext uri="{FF2B5EF4-FFF2-40B4-BE49-F238E27FC236}">
                <a16:creationId xmlns:a16="http://schemas.microsoft.com/office/drawing/2014/main" id="{480C8A02-78FD-4F42-863A-1E2AE50545C4}"/>
              </a:ext>
            </a:extLst>
          </p:cNvPr>
          <p:cNvGrpSpPr/>
          <p:nvPr/>
        </p:nvGrpSpPr>
        <p:grpSpPr>
          <a:xfrm>
            <a:off x="198828" y="2371634"/>
            <a:ext cx="9506266" cy="288032"/>
            <a:chOff x="4944173" y="2113806"/>
            <a:chExt cx="5861371" cy="288032"/>
          </a:xfrm>
        </p:grpSpPr>
        <p:cxnSp>
          <p:nvCxnSpPr>
            <p:cNvPr id="16" name="直線コネクタ 6">
              <a:extLst>
                <a:ext uri="{FF2B5EF4-FFF2-40B4-BE49-F238E27FC236}">
                  <a16:creationId xmlns:a16="http://schemas.microsoft.com/office/drawing/2014/main" id="{D95FC2B0-BDA6-4014-9FA7-74A13AA4590D}"/>
                </a:ext>
              </a:extLst>
            </p:cNvPr>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a:extLst>
                <a:ext uri="{FF2B5EF4-FFF2-40B4-BE49-F238E27FC236}">
                  <a16:creationId xmlns:a16="http://schemas.microsoft.com/office/drawing/2014/main" id="{4646947B-C707-4CB4-8FB9-6718F1490A9F}"/>
                </a:ext>
              </a:extLst>
            </p:cNvPr>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国企業の設立に必要な手続き・書類等</a:t>
              </a:r>
              <a:endParaRPr lang="zh-TW" altLang="en-US" sz="1400" dirty="0">
                <a:solidFill>
                  <a:srgbClr val="000000"/>
                </a:solidFill>
                <a:latin typeface="Arial Black" pitchFamily="34" charset="0"/>
                <a:ea typeface="HGP創英角ｺﾞｼｯｸUB" pitchFamily="50" charset="-128"/>
              </a:endParaRPr>
            </a:p>
          </p:txBody>
        </p:sp>
      </p:grpSp>
      <p:sp>
        <p:nvSpPr>
          <p:cNvPr id="19" name="TextBox 18">
            <a:extLst>
              <a:ext uri="{FF2B5EF4-FFF2-40B4-BE49-F238E27FC236}">
                <a16:creationId xmlns:a16="http://schemas.microsoft.com/office/drawing/2014/main" id="{751F48AE-7DD3-4441-9D29-3BD42103EF5D}"/>
              </a:ext>
            </a:extLst>
          </p:cNvPr>
          <p:cNvSpPr txBox="1"/>
          <p:nvPr/>
        </p:nvSpPr>
        <p:spPr>
          <a:xfrm>
            <a:off x="198828" y="2787322"/>
            <a:ext cx="9362252" cy="954107"/>
          </a:xfrm>
          <a:prstGeom prst="rect">
            <a:avLst/>
          </a:prstGeom>
          <a:noFill/>
        </p:spPr>
        <p:txBody>
          <a:bodyPr wrap="square">
            <a:spAutoFit/>
          </a:bodyPr>
          <a:lstStyle/>
          <a:p>
            <a:r>
              <a:rPr lang="ja-JP" altLang="en-US" sz="1400" dirty="0"/>
              <a:t>外国企業はシンガポールにおいて、次のいずれかの形態で事業を実施できるが、会社設立にかかる手続き、および必要書類は設立形態によって異なる。いずれの形態の場合も、事業所の登記は会計企業規制庁（</a:t>
            </a:r>
            <a:r>
              <a:rPr lang="en-US" altLang="ja-JP" sz="1400" dirty="0"/>
              <a:t>ACRA</a:t>
            </a:r>
            <a:r>
              <a:rPr lang="ja-JP" altLang="en-US" sz="1400" dirty="0"/>
              <a:t>）を通じて行う。駐在員事務所の設立に関しては、所轄機関であるエンタープライズ・シンガポール（金融機関の場合は通貨金融庁）への申請が必要となる。</a:t>
            </a:r>
          </a:p>
        </p:txBody>
      </p:sp>
      <p:sp>
        <p:nvSpPr>
          <p:cNvPr id="23" name="TextBox 22">
            <a:extLst>
              <a:ext uri="{FF2B5EF4-FFF2-40B4-BE49-F238E27FC236}">
                <a16:creationId xmlns:a16="http://schemas.microsoft.com/office/drawing/2014/main" id="{FA51105E-24E2-4083-85D7-7B3BE3C22C77}"/>
              </a:ext>
            </a:extLst>
          </p:cNvPr>
          <p:cNvSpPr txBox="1"/>
          <p:nvPr/>
        </p:nvSpPr>
        <p:spPr>
          <a:xfrm>
            <a:off x="194036" y="3952520"/>
            <a:ext cx="1086124" cy="276999"/>
          </a:xfrm>
          <a:prstGeom prst="rect">
            <a:avLst/>
          </a:prstGeom>
          <a:noFill/>
        </p:spPr>
        <p:txBody>
          <a:bodyPr wrap="square">
            <a:spAutoFit/>
          </a:bodyPr>
          <a:lstStyle/>
          <a:p>
            <a:r>
              <a:rPr lang="ja-JP" altLang="en-US" sz="1200" dirty="0"/>
              <a:t>現地法人</a:t>
            </a:r>
          </a:p>
        </p:txBody>
      </p:sp>
      <p:sp>
        <p:nvSpPr>
          <p:cNvPr id="24" name="TextBox 23">
            <a:extLst>
              <a:ext uri="{FF2B5EF4-FFF2-40B4-BE49-F238E27FC236}">
                <a16:creationId xmlns:a16="http://schemas.microsoft.com/office/drawing/2014/main" id="{63C24206-E933-4A75-A11F-D2A5EB9340D7}"/>
              </a:ext>
            </a:extLst>
          </p:cNvPr>
          <p:cNvSpPr txBox="1"/>
          <p:nvPr/>
        </p:nvSpPr>
        <p:spPr>
          <a:xfrm>
            <a:off x="2072248" y="3952520"/>
            <a:ext cx="7344816" cy="461665"/>
          </a:xfrm>
          <a:prstGeom prst="rect">
            <a:avLst/>
          </a:prstGeom>
          <a:noFill/>
        </p:spPr>
        <p:txBody>
          <a:bodyPr wrap="square">
            <a:spAutoFit/>
          </a:bodyPr>
          <a:lstStyle/>
          <a:p>
            <a:r>
              <a:rPr lang="ja-JP" altLang="en-US" sz="1200" dirty="0"/>
              <a:t>定款、取締役会議事録、取締役就任宣誓書</a:t>
            </a:r>
            <a:r>
              <a:rPr lang="en-US" altLang="ja-JP" sz="1200" dirty="0"/>
              <a:t>(Form 45)</a:t>
            </a:r>
            <a:r>
              <a:rPr lang="ja-JP" altLang="en-US" sz="1200" dirty="0"/>
              <a:t>、株主代理人の選定書、取締役および株主代理人の氏名、</a:t>
            </a:r>
            <a:r>
              <a:rPr lang="en-US" altLang="ja-JP" sz="1200" dirty="0"/>
              <a:t>ID</a:t>
            </a:r>
            <a:r>
              <a:rPr lang="ja-JP" altLang="en-US" sz="1200" dirty="0"/>
              <a:t>ならびに住所に関する情報、実質的支配者のパスポートコピー</a:t>
            </a:r>
          </a:p>
        </p:txBody>
      </p:sp>
      <p:sp>
        <p:nvSpPr>
          <p:cNvPr id="25" name="TextBox 24">
            <a:extLst>
              <a:ext uri="{FF2B5EF4-FFF2-40B4-BE49-F238E27FC236}">
                <a16:creationId xmlns:a16="http://schemas.microsoft.com/office/drawing/2014/main" id="{B937D567-12B1-4DD3-80E2-BD1B486919AF}"/>
              </a:ext>
            </a:extLst>
          </p:cNvPr>
          <p:cNvSpPr txBox="1"/>
          <p:nvPr/>
        </p:nvSpPr>
        <p:spPr>
          <a:xfrm>
            <a:off x="2072248" y="4563625"/>
            <a:ext cx="7344816" cy="276999"/>
          </a:xfrm>
          <a:prstGeom prst="rect">
            <a:avLst/>
          </a:prstGeom>
          <a:noFill/>
        </p:spPr>
        <p:txBody>
          <a:bodyPr wrap="square">
            <a:spAutoFit/>
          </a:bodyPr>
          <a:lstStyle/>
          <a:p>
            <a:r>
              <a:rPr lang="ja-JP" altLang="en-US" sz="1200" dirty="0"/>
              <a:t>代表権者選任書、日本本社の登記簿謄本（英訳）、日本本社の会社定款（英訳）も日本本社取締役の一覧</a:t>
            </a:r>
          </a:p>
        </p:txBody>
      </p:sp>
      <p:sp>
        <p:nvSpPr>
          <p:cNvPr id="26" name="TextBox 25">
            <a:extLst>
              <a:ext uri="{FF2B5EF4-FFF2-40B4-BE49-F238E27FC236}">
                <a16:creationId xmlns:a16="http://schemas.microsoft.com/office/drawing/2014/main" id="{15B4E6BB-4916-490D-9039-B07EA21FA2DF}"/>
              </a:ext>
            </a:extLst>
          </p:cNvPr>
          <p:cNvSpPr txBox="1"/>
          <p:nvPr/>
        </p:nvSpPr>
        <p:spPr>
          <a:xfrm>
            <a:off x="2072248" y="5174730"/>
            <a:ext cx="7344816" cy="461665"/>
          </a:xfrm>
          <a:prstGeom prst="rect">
            <a:avLst/>
          </a:prstGeom>
          <a:noFill/>
        </p:spPr>
        <p:txBody>
          <a:bodyPr wrap="square">
            <a:spAutoFit/>
          </a:bodyPr>
          <a:lstStyle/>
          <a:p>
            <a:r>
              <a:rPr lang="ja-JP" altLang="en-US" sz="1200" dirty="0"/>
              <a:t>日本本社の決算書・監査報告書（英訳つき）、日本本社の登記簿謄本（翻訳証明書添付）、</a:t>
            </a:r>
            <a:r>
              <a:rPr lang="en-US" altLang="ja-JP" sz="1200" dirty="0"/>
              <a:t>Acceptance of Terms and Conditions</a:t>
            </a:r>
            <a:r>
              <a:rPr lang="ja-JP" altLang="en-US" sz="1200" dirty="0"/>
              <a:t>、日本本社の会社案内</a:t>
            </a:r>
          </a:p>
        </p:txBody>
      </p:sp>
      <p:sp>
        <p:nvSpPr>
          <p:cNvPr id="28" name="TextBox 27">
            <a:extLst>
              <a:ext uri="{FF2B5EF4-FFF2-40B4-BE49-F238E27FC236}">
                <a16:creationId xmlns:a16="http://schemas.microsoft.com/office/drawing/2014/main" id="{C794AA2B-D36E-470D-B229-6372DF36C23D}"/>
              </a:ext>
            </a:extLst>
          </p:cNvPr>
          <p:cNvSpPr txBox="1"/>
          <p:nvPr/>
        </p:nvSpPr>
        <p:spPr>
          <a:xfrm>
            <a:off x="194036" y="4609755"/>
            <a:ext cx="1086124" cy="276999"/>
          </a:xfrm>
          <a:prstGeom prst="rect">
            <a:avLst/>
          </a:prstGeom>
          <a:noFill/>
        </p:spPr>
        <p:txBody>
          <a:bodyPr wrap="square">
            <a:spAutoFit/>
          </a:bodyPr>
          <a:lstStyle/>
          <a:p>
            <a:r>
              <a:rPr lang="ja-JP" altLang="en-US" sz="1200" dirty="0"/>
              <a:t>支店</a:t>
            </a:r>
          </a:p>
        </p:txBody>
      </p:sp>
      <p:sp>
        <p:nvSpPr>
          <p:cNvPr id="29" name="TextBox 28">
            <a:extLst>
              <a:ext uri="{FF2B5EF4-FFF2-40B4-BE49-F238E27FC236}">
                <a16:creationId xmlns:a16="http://schemas.microsoft.com/office/drawing/2014/main" id="{2109AC39-6313-452B-B289-CD90068DCD22}"/>
              </a:ext>
            </a:extLst>
          </p:cNvPr>
          <p:cNvSpPr txBox="1"/>
          <p:nvPr/>
        </p:nvSpPr>
        <p:spPr>
          <a:xfrm>
            <a:off x="194036" y="5266990"/>
            <a:ext cx="1446164" cy="276999"/>
          </a:xfrm>
          <a:prstGeom prst="rect">
            <a:avLst/>
          </a:prstGeom>
          <a:noFill/>
        </p:spPr>
        <p:txBody>
          <a:bodyPr wrap="square">
            <a:spAutoFit/>
          </a:bodyPr>
          <a:lstStyle/>
          <a:p>
            <a:r>
              <a:rPr lang="ja-JP" altLang="en-US" sz="1200" dirty="0"/>
              <a:t>駐在員事務所</a:t>
            </a:r>
          </a:p>
        </p:txBody>
      </p:sp>
      <p:sp>
        <p:nvSpPr>
          <p:cNvPr id="31" name="TextBox 30">
            <a:extLst>
              <a:ext uri="{FF2B5EF4-FFF2-40B4-BE49-F238E27FC236}">
                <a16:creationId xmlns:a16="http://schemas.microsoft.com/office/drawing/2014/main" id="{A77FC9CC-9799-4D5B-AAC6-72EE26EB401F}"/>
              </a:ext>
            </a:extLst>
          </p:cNvPr>
          <p:cNvSpPr txBox="1"/>
          <p:nvPr/>
        </p:nvSpPr>
        <p:spPr>
          <a:xfrm>
            <a:off x="194036" y="5960198"/>
            <a:ext cx="9223028" cy="461665"/>
          </a:xfrm>
          <a:prstGeom prst="rect">
            <a:avLst/>
          </a:prstGeom>
          <a:noFill/>
        </p:spPr>
        <p:txBody>
          <a:bodyPr wrap="square">
            <a:spAutoFit/>
          </a:bodyPr>
          <a:lstStyle/>
          <a:p>
            <a:r>
              <a:rPr lang="ja-JP" altLang="en-US" sz="1200" dirty="0"/>
              <a:t>その他に個人事業体またはパートナーシップ、有限責任パートナーシップまたはリミテッド・パートナーシップ、ビジネストラストという形態をとることも可能。</a:t>
            </a:r>
          </a:p>
        </p:txBody>
      </p:sp>
    </p:spTree>
    <p:extLst>
      <p:ext uri="{BB962C8B-B14F-4D97-AF65-F5344CB8AC3E}">
        <p14:creationId xmlns:p14="http://schemas.microsoft.com/office/powerpoint/2010/main" val="2202653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0EBE1CC-B899-486C-8520-E7AC6F9732D1}"/>
              </a:ext>
            </a:extLst>
          </p:cNvPr>
          <p:cNvGraphicFramePr>
            <a:graphicFrameLocks noChangeAspect="1"/>
          </p:cNvGraphicFramePr>
          <p:nvPr>
            <p:custDataLst>
              <p:tags r:id="rId2"/>
            </p:custDataLst>
            <p:extLst>
              <p:ext uri="{D42A27DB-BD31-4B8C-83A1-F6EECF244321}">
                <p14:modId xmlns:p14="http://schemas.microsoft.com/office/powerpoint/2010/main" val="3553287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E0EBE1CC-B899-486C-8520-E7AC6F9732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一般概況／規制</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為替管理制度</a:t>
            </a:r>
          </a:p>
        </p:txBody>
      </p:sp>
      <p:sp>
        <p:nvSpPr>
          <p:cNvPr id="7" name="テキスト プレースホルダー 1"/>
          <p:cNvSpPr txBox="1">
            <a:spLocks/>
          </p:cNvSpPr>
          <p:nvPr/>
        </p:nvSpPr>
        <p:spPr>
          <a:xfrm>
            <a:off x="199710" y="1124744"/>
            <a:ext cx="9505950" cy="690638"/>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外国為替管理制度は、</a:t>
            </a:r>
            <a:r>
              <a:rPr lang="en-US" altLang="ja-JP" dirty="0"/>
              <a:t>1978</a:t>
            </a:r>
            <a:r>
              <a:rPr lang="ja-JP" altLang="en-US" dirty="0"/>
              <a:t>年に廃止されている。しかし、経済規模が小さいシンガポールでは、通貨投機などによる為替の乱高下を避け、シンガポール・ドル（</a:t>
            </a:r>
            <a:r>
              <a:rPr lang="en-US" altLang="ja-JP" dirty="0"/>
              <a:t>S</a:t>
            </a:r>
            <a:r>
              <a:rPr lang="ja-JP" altLang="en-US" dirty="0"/>
              <a:t>ドル）の安定を図るため、外国通貨取引と自国通貨取引を完全に切り離す政策（</a:t>
            </a:r>
            <a:r>
              <a:rPr lang="en-US" altLang="ja-JP" dirty="0"/>
              <a:t>S</a:t>
            </a:r>
            <a:r>
              <a:rPr lang="ja-JP" altLang="en-US" dirty="0"/>
              <a:t>ドルの非国際化政策）を実施している。</a:t>
            </a:r>
            <a:endParaRPr lang="en-US" altLang="ja-JP" dirty="0"/>
          </a:p>
        </p:txBody>
      </p:sp>
      <p:sp>
        <p:nvSpPr>
          <p:cNvPr id="66" name="テキスト ボックス 65"/>
          <p:cNvSpPr txBox="1"/>
          <p:nvPr/>
        </p:nvSpPr>
        <p:spPr>
          <a:xfrm>
            <a:off x="199710" y="6632802"/>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ttps://www.ica.gov.sg/enter-transit-depart/at-our-checkpoints/for-travellers/CBNI</a:t>
            </a:r>
          </a:p>
        </p:txBody>
      </p:sp>
      <p:sp>
        <p:nvSpPr>
          <p:cNvPr id="1291" name="Rectangle 6">
            <a:extLst>
              <a:ext uri="{FF2B5EF4-FFF2-40B4-BE49-F238E27FC236}">
                <a16:creationId xmlns:a16="http://schemas.microsoft.com/office/drawing/2014/main" id="{9CC8B1EF-B589-40DC-A08D-64F78C20549D}"/>
              </a:ext>
            </a:extLst>
          </p:cNvPr>
          <p:cNvSpPr>
            <a:spLocks noChangeArrowheads="1"/>
          </p:cNvSpPr>
          <p:nvPr/>
        </p:nvSpPr>
        <p:spPr bwMode="auto">
          <a:xfrm>
            <a:off x="428120" y="2188167"/>
            <a:ext cx="1368152" cy="276998"/>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為替相場管理</a:t>
            </a:r>
          </a:p>
        </p:txBody>
      </p:sp>
      <p:sp>
        <p:nvSpPr>
          <p:cNvPr id="1293" name="TextBox 1292">
            <a:extLst>
              <a:ext uri="{FF2B5EF4-FFF2-40B4-BE49-F238E27FC236}">
                <a16:creationId xmlns:a16="http://schemas.microsoft.com/office/drawing/2014/main" id="{E5A81AD7-AD7A-4E40-8E64-367BEBABC896}"/>
              </a:ext>
            </a:extLst>
          </p:cNvPr>
          <p:cNvSpPr txBox="1"/>
          <p:nvPr/>
        </p:nvSpPr>
        <p:spPr>
          <a:xfrm>
            <a:off x="2216696" y="2188167"/>
            <a:ext cx="6930836" cy="523220"/>
          </a:xfrm>
          <a:prstGeom prst="rect">
            <a:avLst/>
          </a:prstGeom>
          <a:noFill/>
        </p:spPr>
        <p:txBody>
          <a:bodyPr wrap="square">
            <a:spAutoFit/>
          </a:bodyPr>
          <a:lstStyle/>
          <a:p>
            <a:r>
              <a:rPr lang="ja-JP" altLang="en-US" sz="1400" dirty="0"/>
              <a:t>バスケット方式による管理型変動相場制、非居住金融機関に対するシンガポール・ドル（</a:t>
            </a:r>
            <a:r>
              <a:rPr lang="en-US" altLang="ja-JP" sz="1400" dirty="0"/>
              <a:t>S</a:t>
            </a:r>
            <a:r>
              <a:rPr lang="ja-JP" altLang="en-US" sz="1400" dirty="0"/>
              <a:t>ドル）貸出規制</a:t>
            </a:r>
            <a:endParaRPr lang="en-US" sz="1400" dirty="0"/>
          </a:p>
        </p:txBody>
      </p:sp>
      <p:sp>
        <p:nvSpPr>
          <p:cNvPr id="1294" name="Rectangle 6">
            <a:extLst>
              <a:ext uri="{FF2B5EF4-FFF2-40B4-BE49-F238E27FC236}">
                <a16:creationId xmlns:a16="http://schemas.microsoft.com/office/drawing/2014/main" id="{DD3B141F-78B7-456C-84A7-0AA33710C027}"/>
              </a:ext>
            </a:extLst>
          </p:cNvPr>
          <p:cNvSpPr>
            <a:spLocks noChangeArrowheads="1"/>
          </p:cNvSpPr>
          <p:nvPr/>
        </p:nvSpPr>
        <p:spPr bwMode="auto">
          <a:xfrm>
            <a:off x="410608" y="3045542"/>
            <a:ext cx="1368152" cy="276998"/>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貿易取引</a:t>
            </a:r>
          </a:p>
        </p:txBody>
      </p:sp>
      <p:sp>
        <p:nvSpPr>
          <p:cNvPr id="1295" name="TextBox 1294">
            <a:extLst>
              <a:ext uri="{FF2B5EF4-FFF2-40B4-BE49-F238E27FC236}">
                <a16:creationId xmlns:a16="http://schemas.microsoft.com/office/drawing/2014/main" id="{C0929412-B974-4C4E-9315-CDE310E6CBE6}"/>
              </a:ext>
            </a:extLst>
          </p:cNvPr>
          <p:cNvSpPr txBox="1"/>
          <p:nvPr/>
        </p:nvSpPr>
        <p:spPr>
          <a:xfrm>
            <a:off x="2199184" y="3045542"/>
            <a:ext cx="6930836" cy="738664"/>
          </a:xfrm>
          <a:prstGeom prst="rect">
            <a:avLst/>
          </a:prstGeom>
          <a:noFill/>
        </p:spPr>
        <p:txBody>
          <a:bodyPr wrap="square">
            <a:spAutoFit/>
          </a:bodyPr>
          <a:lstStyle/>
          <a:p>
            <a:r>
              <a:rPr lang="ja-JP" altLang="en-US" sz="1400" b="0" i="0" dirty="0">
                <a:solidFill>
                  <a:srgbClr val="000000"/>
                </a:solidFill>
                <a:effectLst/>
                <a:latin typeface="ヒラギノ角ゴ Pro W3"/>
              </a:rPr>
              <a:t>現金、小切手、口座送金、カード決済等、通常の決済に関して、貿易取引を行う企業に対する</a:t>
            </a:r>
            <a:r>
              <a:rPr lang="en-US" altLang="ja-JP" sz="1400" b="0" i="0" dirty="0">
                <a:solidFill>
                  <a:srgbClr val="000000"/>
                </a:solidFill>
                <a:effectLst/>
                <a:latin typeface="ヒラギノ角ゴ Pro W3"/>
              </a:rPr>
              <a:t>MAS</a:t>
            </a:r>
            <a:r>
              <a:rPr lang="ja-JP" altLang="en-US" sz="1400" b="0" i="0" dirty="0">
                <a:solidFill>
                  <a:srgbClr val="000000"/>
                </a:solidFill>
                <a:effectLst/>
                <a:latin typeface="ヒラギノ角ゴ Pro W3"/>
              </a:rPr>
              <a:t>の許認可・報告義務などの規制・制限はない（ただし、金融機関によるマネーロンダリングに関する確認は必要となり得る）。</a:t>
            </a:r>
            <a:endParaRPr lang="en-US" sz="1400" dirty="0"/>
          </a:p>
        </p:txBody>
      </p:sp>
      <p:sp>
        <p:nvSpPr>
          <p:cNvPr id="1296" name="Rectangle 6">
            <a:extLst>
              <a:ext uri="{FF2B5EF4-FFF2-40B4-BE49-F238E27FC236}">
                <a16:creationId xmlns:a16="http://schemas.microsoft.com/office/drawing/2014/main" id="{B21EBECB-A4F8-45A7-B21D-75220D913515}"/>
              </a:ext>
            </a:extLst>
          </p:cNvPr>
          <p:cNvSpPr>
            <a:spLocks noChangeArrowheads="1"/>
          </p:cNvSpPr>
          <p:nvPr/>
        </p:nvSpPr>
        <p:spPr bwMode="auto">
          <a:xfrm>
            <a:off x="410608" y="4081007"/>
            <a:ext cx="1368152" cy="276998"/>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貿易外取引</a:t>
            </a:r>
          </a:p>
        </p:txBody>
      </p:sp>
      <p:sp>
        <p:nvSpPr>
          <p:cNvPr id="1297" name="TextBox 1296">
            <a:extLst>
              <a:ext uri="{FF2B5EF4-FFF2-40B4-BE49-F238E27FC236}">
                <a16:creationId xmlns:a16="http://schemas.microsoft.com/office/drawing/2014/main" id="{0A2DD8DA-7F8D-4D74-8A9E-265A8091E390}"/>
              </a:ext>
            </a:extLst>
          </p:cNvPr>
          <p:cNvSpPr txBox="1"/>
          <p:nvPr/>
        </p:nvSpPr>
        <p:spPr>
          <a:xfrm>
            <a:off x="2199184" y="4081007"/>
            <a:ext cx="6930836" cy="738664"/>
          </a:xfrm>
          <a:prstGeom prst="rect">
            <a:avLst/>
          </a:prstGeom>
          <a:noFill/>
        </p:spPr>
        <p:txBody>
          <a:bodyPr wrap="square">
            <a:spAutoFit/>
          </a:bodyPr>
          <a:lstStyle/>
          <a:p>
            <a:r>
              <a:rPr lang="ja-JP" altLang="en-US" sz="1400" b="0" i="0" dirty="0">
                <a:solidFill>
                  <a:srgbClr val="000000"/>
                </a:solidFill>
                <a:effectLst/>
                <a:latin typeface="ヒラギノ角ゴ Pro W3"/>
              </a:rPr>
              <a:t>運賃、保険料などのサービス役務、仲介貿易の決済に対する規制・制限はない。また、技術援助契約に基づくロイヤルティー支払に対する規制・制限もない（ただし、金融機関によるマネーロンダリングに関する確認は必要となり得る）。</a:t>
            </a:r>
            <a:endParaRPr lang="en-US" sz="1400" dirty="0"/>
          </a:p>
        </p:txBody>
      </p:sp>
      <p:sp>
        <p:nvSpPr>
          <p:cNvPr id="1298" name="TextBox 1297">
            <a:extLst>
              <a:ext uri="{FF2B5EF4-FFF2-40B4-BE49-F238E27FC236}">
                <a16:creationId xmlns:a16="http://schemas.microsoft.com/office/drawing/2014/main" id="{D4284CE6-FD38-4749-BE91-6039F1941C53}"/>
              </a:ext>
            </a:extLst>
          </p:cNvPr>
          <p:cNvSpPr txBox="1"/>
          <p:nvPr/>
        </p:nvSpPr>
        <p:spPr>
          <a:xfrm>
            <a:off x="2199184" y="5014366"/>
            <a:ext cx="6930836" cy="523220"/>
          </a:xfrm>
          <a:prstGeom prst="rect">
            <a:avLst/>
          </a:prstGeom>
          <a:noFill/>
        </p:spPr>
        <p:txBody>
          <a:bodyPr wrap="square">
            <a:spAutoFit/>
          </a:bodyPr>
          <a:lstStyle/>
          <a:p>
            <a:r>
              <a:rPr lang="ja-JP" altLang="en-US" sz="1400" b="0" i="0" dirty="0">
                <a:solidFill>
                  <a:srgbClr val="000000"/>
                </a:solidFill>
                <a:effectLst/>
                <a:latin typeface="ヒラギノ角ゴ Pro W3"/>
              </a:rPr>
              <a:t>特に制限なし。ただし、非居住金融機関に対する</a:t>
            </a:r>
            <a:r>
              <a:rPr lang="en-US" altLang="ja-JP" sz="1400" b="0" i="0" dirty="0">
                <a:solidFill>
                  <a:srgbClr val="000000"/>
                </a:solidFill>
                <a:effectLst/>
                <a:latin typeface="ヒラギノ角ゴ Pro W3"/>
              </a:rPr>
              <a:t>S</a:t>
            </a:r>
            <a:r>
              <a:rPr lang="ja-JP" altLang="en-US" sz="1400" b="0" i="0" dirty="0">
                <a:solidFill>
                  <a:srgbClr val="000000"/>
                </a:solidFill>
                <a:effectLst/>
                <a:latin typeface="ヒラギノ角ゴ Pro W3"/>
              </a:rPr>
              <a:t>ドル貸出規制により、</a:t>
            </a:r>
            <a:r>
              <a:rPr lang="en-US" altLang="ja-JP" sz="1400" b="0" i="0" dirty="0">
                <a:solidFill>
                  <a:srgbClr val="000000"/>
                </a:solidFill>
                <a:effectLst/>
                <a:latin typeface="ヒラギノ角ゴ Pro W3"/>
              </a:rPr>
              <a:t>S</a:t>
            </a:r>
            <a:r>
              <a:rPr lang="ja-JP" altLang="en-US" sz="1400" b="0" i="0" dirty="0">
                <a:solidFill>
                  <a:srgbClr val="000000"/>
                </a:solidFill>
                <a:effectLst/>
                <a:latin typeface="ヒラギノ角ゴ Pro W3"/>
              </a:rPr>
              <a:t>ドルの使用方法については一定の制限がある。</a:t>
            </a:r>
            <a:endParaRPr lang="en-US" sz="1400" dirty="0"/>
          </a:p>
        </p:txBody>
      </p:sp>
      <p:sp>
        <p:nvSpPr>
          <p:cNvPr id="1299" name="Rectangle 6">
            <a:extLst>
              <a:ext uri="{FF2B5EF4-FFF2-40B4-BE49-F238E27FC236}">
                <a16:creationId xmlns:a16="http://schemas.microsoft.com/office/drawing/2014/main" id="{DF6F6ADE-F10F-423D-ACAA-96621DDFCF3D}"/>
              </a:ext>
            </a:extLst>
          </p:cNvPr>
          <p:cNvSpPr>
            <a:spLocks noChangeArrowheads="1"/>
          </p:cNvSpPr>
          <p:nvPr/>
        </p:nvSpPr>
        <p:spPr bwMode="auto">
          <a:xfrm>
            <a:off x="453312" y="5095711"/>
            <a:ext cx="1368152" cy="276998"/>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資本取引</a:t>
            </a:r>
          </a:p>
        </p:txBody>
      </p:sp>
    </p:spTree>
    <p:extLst>
      <p:ext uri="{BB962C8B-B14F-4D97-AF65-F5344CB8AC3E}">
        <p14:creationId xmlns:p14="http://schemas.microsoft.com/office/powerpoint/2010/main" val="22392485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2E9A0E-2740-4E3B-BBEA-DD6E5AFB0ABB}"/>
              </a:ext>
            </a:extLst>
          </p:cNvPr>
          <p:cNvGraphicFramePr>
            <a:graphicFrameLocks noChangeAspect="1"/>
          </p:cNvGraphicFramePr>
          <p:nvPr>
            <p:custDataLst>
              <p:tags r:id="rId2"/>
            </p:custDataLst>
            <p:extLst>
              <p:ext uri="{D42A27DB-BD31-4B8C-83A1-F6EECF244321}">
                <p14:modId xmlns:p14="http://schemas.microsoft.com/office/powerpoint/2010/main" val="1836235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932E9A0E-2740-4E3B-BBEA-DD6E5AFB0A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一般概況／規制</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貨持出規制</a:t>
            </a:r>
          </a:p>
        </p:txBody>
      </p:sp>
      <p:sp>
        <p:nvSpPr>
          <p:cNvPr id="7" name="テキスト プレースホルダー 1"/>
          <p:cNvSpPr txBox="1">
            <a:spLocks/>
          </p:cNvSpPr>
          <p:nvPr/>
        </p:nvSpPr>
        <p:spPr>
          <a:xfrm>
            <a:off x="199710" y="1124744"/>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入出国にあたっては、</a:t>
            </a:r>
            <a:r>
              <a:rPr lang="en-US" altLang="ja-JP" dirty="0"/>
              <a:t>2</a:t>
            </a:r>
            <a:r>
              <a:rPr lang="ja-JP" altLang="en-US" dirty="0"/>
              <a:t>万シンガポールドル以上もしくは相当する外貨（紙幣・硬貨）については税関への申告が必要となる。</a:t>
            </a:r>
            <a:endParaRPr lang="en-US" altLang="ja-JP" dirty="0"/>
          </a:p>
        </p:txBody>
      </p:sp>
      <p:sp>
        <p:nvSpPr>
          <p:cNvPr id="28" name="角丸四角形 27"/>
          <p:cNvSpPr/>
          <p:nvPr/>
        </p:nvSpPr>
        <p:spPr>
          <a:xfrm>
            <a:off x="776536" y="2375923"/>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776536" y="4248131"/>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30" name="Freeform 7"/>
          <p:cNvSpPr>
            <a:spLocks/>
          </p:cNvSpPr>
          <p:nvPr/>
        </p:nvSpPr>
        <p:spPr bwMode="auto">
          <a:xfrm>
            <a:off x="2072680" y="4597526"/>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6"/>
          <p:cNvSpPr>
            <a:spLocks/>
          </p:cNvSpPr>
          <p:nvPr/>
        </p:nvSpPr>
        <p:spPr bwMode="auto">
          <a:xfrm>
            <a:off x="1784648" y="3168011"/>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32" name="グループ化 31"/>
          <p:cNvGrpSpPr/>
          <p:nvPr/>
        </p:nvGrpSpPr>
        <p:grpSpPr>
          <a:xfrm>
            <a:off x="2633634" y="2231907"/>
            <a:ext cx="2161184" cy="1821260"/>
            <a:chOff x="2287194" y="2575129"/>
            <a:chExt cx="2161184" cy="1821260"/>
          </a:xfrm>
        </p:grpSpPr>
        <p:sp>
          <p:nvSpPr>
            <p:cNvPr id="33"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テキスト ボックス 33"/>
            <p:cNvSpPr txBox="1"/>
            <p:nvPr/>
          </p:nvSpPr>
          <p:spPr>
            <a:xfrm>
              <a:off x="2430244" y="3495223"/>
              <a:ext cx="1909497" cy="523220"/>
            </a:xfrm>
            <a:prstGeom prst="rect">
              <a:avLst/>
            </a:prstGeom>
            <a:noFill/>
          </p:spPr>
          <p:txBody>
            <a:bodyPr wrap="none" rtlCol="0">
              <a:spAutoFit/>
            </a:bodyPr>
            <a:lstStyle/>
            <a:p>
              <a:pPr algn="ctr"/>
              <a:r>
                <a:rPr lang="en-US" altLang="ja-JP" sz="1600" b="1" spc="-100" dirty="0">
                  <a:latin typeface="Arial Black" panose="020B0A04020102020204" pitchFamily="34" charset="0"/>
                  <a:ea typeface="ＭＳ Ｐゴシック" panose="020B0600070205080204" pitchFamily="50" charset="-128"/>
                  <a:cs typeface="Arial" panose="020B0604020202020204" pitchFamily="34" charset="0"/>
                </a:rPr>
                <a:t>2</a:t>
              </a:r>
              <a:r>
                <a:rPr lang="ja-JP" altLang="en-US" sz="1600" b="1" spc="-100" dirty="0">
                  <a:latin typeface="Arial Black" panose="020B0A04020102020204" pitchFamily="34" charset="0"/>
                  <a:ea typeface="ＭＳ Ｐゴシック" panose="020B0600070205080204" pitchFamily="50" charset="-128"/>
                  <a:cs typeface="Arial" panose="020B0604020202020204" pitchFamily="34" charset="0"/>
                </a:rPr>
                <a:t>万シンガポールドル</a:t>
              </a:r>
            </a:p>
            <a:p>
              <a:pPr algn="ctr"/>
              <a:r>
                <a:rPr lang="ja-JP" altLang="en-US" sz="1200" b="1" spc="-100" dirty="0">
                  <a:latin typeface="Arial Black" panose="020B0A04020102020204" pitchFamily="34" charset="0"/>
                  <a:ea typeface="ＭＳ Ｐゴシック" panose="020B0600070205080204" pitchFamily="50" charset="-128"/>
                  <a:cs typeface="Arial" panose="020B0604020202020204" pitchFamily="34" charset="0"/>
                </a:rPr>
                <a:t>以上もしくは相当する外貨</a:t>
              </a:r>
              <a:endParaRPr lang="en-US" altLang="ja-JP" sz="2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2640666" y="3079185"/>
              <a:ext cx="1454244"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税関への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grpSp>
        <p:nvGrpSpPr>
          <p:cNvPr id="43" name="グループ化 42"/>
          <p:cNvGrpSpPr/>
          <p:nvPr/>
        </p:nvGrpSpPr>
        <p:grpSpPr>
          <a:xfrm>
            <a:off x="5355783" y="4126243"/>
            <a:ext cx="2161184" cy="1821260"/>
            <a:chOff x="2287194" y="2575129"/>
            <a:chExt cx="2161184" cy="1821260"/>
          </a:xfrm>
        </p:grpSpPr>
        <p:sp>
          <p:nvSpPr>
            <p:cNvPr id="44"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テキスト ボックス 44"/>
            <p:cNvSpPr txBox="1"/>
            <p:nvPr/>
          </p:nvSpPr>
          <p:spPr>
            <a:xfrm>
              <a:off x="2413053" y="3486296"/>
              <a:ext cx="1909497" cy="523220"/>
            </a:xfrm>
            <a:prstGeom prst="rect">
              <a:avLst/>
            </a:prstGeom>
            <a:noFill/>
          </p:spPr>
          <p:txBody>
            <a:bodyPr wrap="none" rtlCol="0">
              <a:spAutoFit/>
            </a:bodyPr>
            <a:lstStyle/>
            <a:p>
              <a:pPr algn="ctr"/>
              <a:r>
                <a:rPr lang="en-US" altLang="ja-JP" sz="1600" b="1" spc="-100" dirty="0">
                  <a:latin typeface="Arial Black" panose="020B0A04020102020204" pitchFamily="34" charset="0"/>
                  <a:ea typeface="ＭＳ Ｐゴシック" panose="020B0600070205080204" pitchFamily="50" charset="-128"/>
                  <a:cs typeface="Arial" panose="020B0604020202020204" pitchFamily="34" charset="0"/>
                </a:rPr>
                <a:t>2</a:t>
              </a:r>
              <a:r>
                <a:rPr lang="ja-JP" altLang="en-US" sz="1600" b="1" spc="-100" dirty="0">
                  <a:latin typeface="Arial Black" panose="020B0A04020102020204" pitchFamily="34" charset="0"/>
                  <a:ea typeface="ＭＳ Ｐゴシック" panose="020B0600070205080204" pitchFamily="50" charset="-128"/>
                  <a:cs typeface="Arial" panose="020B0604020202020204" pitchFamily="34" charset="0"/>
                </a:rPr>
                <a:t>万シンガポールドル</a:t>
              </a:r>
            </a:p>
            <a:p>
              <a:pPr algn="ctr"/>
              <a:r>
                <a:rPr lang="ja-JP" altLang="en-US" sz="1200" b="1" spc="-100" dirty="0">
                  <a:latin typeface="Arial Black" panose="020B0A04020102020204" pitchFamily="34" charset="0"/>
                  <a:ea typeface="ＭＳ Ｐゴシック" panose="020B0600070205080204" pitchFamily="50" charset="-128"/>
                  <a:cs typeface="Arial" panose="020B0604020202020204" pitchFamily="34" charset="0"/>
                </a:rPr>
                <a:t>以上もしくは相当する外貨</a:t>
              </a:r>
              <a:endParaRPr lang="en-US" altLang="ja-JP" sz="2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640672" y="3079185"/>
              <a:ext cx="1454244"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税関への申告が必要</a:t>
              </a:r>
              <a:endParaRPr lang="en-US" altLang="ja-JP" sz="1200" b="1" spc="-100" baseline="300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66" name="テキスト ボックス 65"/>
          <p:cNvSpPr txBox="1"/>
          <p:nvPr/>
        </p:nvSpPr>
        <p:spPr>
          <a:xfrm>
            <a:off x="199647" y="6387387"/>
            <a:ext cx="9289794" cy="276793"/>
          </a:xfrm>
          <a:prstGeom prst="rect">
            <a:avLst/>
          </a:prstGeom>
          <a:noFill/>
        </p:spPr>
        <p:txBody>
          <a:bodyPr wrap="square" lIns="0" tIns="0" rIns="0" bIns="0" rtlCol="0">
            <a:noAutofit/>
          </a:bodyPr>
          <a:lstStyle/>
          <a:p>
            <a:pPr>
              <a:lnSpc>
                <a:spcPct val="150000"/>
              </a:lnSpc>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p>
        </p:txBody>
      </p:sp>
      <p:sp>
        <p:nvSpPr>
          <p:cNvPr id="22" name="Rectangle 1" hidden="1">
            <a:extLst>
              <a:ext uri="{FF2B5EF4-FFF2-40B4-BE49-F238E27FC236}">
                <a16:creationId xmlns:a16="http://schemas.microsoft.com/office/drawing/2014/main" id="{8DAC222F-B9F8-424B-8578-BE0800B377FD}"/>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200" b="1" dirty="0">
              <a:solidFill>
                <a:schemeClr val="bg1"/>
              </a:solidFill>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3739740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AD85027-C773-4FEA-A0B6-B1E7B7D30652}"/>
              </a:ext>
            </a:extLst>
          </p:cNvPr>
          <p:cNvGraphicFramePr>
            <a:graphicFrameLocks noChangeAspect="1"/>
          </p:cNvGraphicFramePr>
          <p:nvPr>
            <p:custDataLst>
              <p:tags r:id="rId2"/>
            </p:custDataLst>
            <p:extLst>
              <p:ext uri="{D42A27DB-BD31-4B8C-83A1-F6EECF244321}">
                <p14:modId xmlns:p14="http://schemas.microsoft.com/office/powerpoint/2010/main" val="571515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7AD85027-C773-4FEA-A0B6-B1E7B7D306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一般概況／規制</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資優遇措置</a:t>
            </a:r>
            <a:endParaRPr lang="en-US" altLang="ja-JP" dirty="0"/>
          </a:p>
        </p:txBody>
      </p:sp>
      <p:sp>
        <p:nvSpPr>
          <p:cNvPr id="7" name="テキスト プレースホルダー 1"/>
          <p:cNvSpPr txBox="1">
            <a:spLocks/>
          </p:cNvSpPr>
          <p:nvPr/>
        </p:nvSpPr>
        <p:spPr>
          <a:xfrm>
            <a:off x="199710" y="1124743"/>
            <a:ext cx="9505950" cy="747809"/>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b="0" i="0" dirty="0">
                <a:solidFill>
                  <a:srgbClr val="000000"/>
                </a:solidFill>
                <a:effectLst/>
                <a:latin typeface="ヒラギノ角ゴ Pro W3"/>
              </a:rPr>
              <a:t>シンガポールは、知識集約型経済構造の確立を目指し、先端技術部門、高付加価値産業部門、研究開発部門、ビジネスハブ機能の強化に資するサービス部門などを振興している。</a:t>
            </a:r>
            <a:endParaRPr lang="en-US" altLang="ja-JP" b="0" i="0" dirty="0">
              <a:solidFill>
                <a:srgbClr val="000000"/>
              </a:solidFill>
              <a:effectLst/>
              <a:latin typeface="ヒラギノ角ゴ Pro W3"/>
            </a:endParaRPr>
          </a:p>
          <a:p>
            <a:r>
              <a:rPr lang="ja-JP" altLang="en-US" dirty="0">
                <a:solidFill>
                  <a:srgbClr val="000000"/>
                </a:solidFill>
                <a:latin typeface="ヒラギノ角ゴ Pro W3"/>
              </a:rPr>
              <a:t>特に外資を優遇するというよりも、内外企業に対して国際的な競争力を高めるビジネス環境を整えている。</a:t>
            </a:r>
            <a:endParaRPr lang="ja-JP" altLang="en-US" dirty="0"/>
          </a:p>
        </p:txBody>
      </p:sp>
      <p:sp>
        <p:nvSpPr>
          <p:cNvPr id="16" name="Rectangle 6"/>
          <p:cNvSpPr>
            <a:spLocks noChangeArrowheads="1"/>
          </p:cNvSpPr>
          <p:nvPr/>
        </p:nvSpPr>
        <p:spPr bwMode="auto">
          <a:xfrm>
            <a:off x="428121" y="5022242"/>
            <a:ext cx="900505" cy="276998"/>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奨励産業</a:t>
            </a:r>
          </a:p>
        </p:txBody>
      </p:sp>
      <p:sp>
        <p:nvSpPr>
          <p:cNvPr id="20" name="テキスト ボックス 19"/>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シンガポール経済開発庁</a:t>
            </a:r>
          </a:p>
        </p:txBody>
      </p:sp>
      <p:sp>
        <p:nvSpPr>
          <p:cNvPr id="17" name="TextBox 16">
            <a:extLst>
              <a:ext uri="{FF2B5EF4-FFF2-40B4-BE49-F238E27FC236}">
                <a16:creationId xmlns:a16="http://schemas.microsoft.com/office/drawing/2014/main" id="{5B9C1209-E4F6-4376-91E3-BF5376EBCC14}"/>
              </a:ext>
            </a:extLst>
          </p:cNvPr>
          <p:cNvSpPr txBox="1"/>
          <p:nvPr/>
        </p:nvSpPr>
        <p:spPr>
          <a:xfrm>
            <a:off x="2300327" y="5022242"/>
            <a:ext cx="7177551" cy="646331"/>
          </a:xfrm>
          <a:prstGeom prst="rect">
            <a:avLst/>
          </a:prstGeom>
          <a:noFill/>
        </p:spPr>
        <p:txBody>
          <a:bodyPr wrap="square">
            <a:spAutoFit/>
          </a:bodyPr>
          <a:lstStyle/>
          <a:p>
            <a:r>
              <a:rPr lang="ja-JP" altLang="en-US" sz="1200" dirty="0"/>
              <a:t>航空宇宙、コンシューマ・ビジネス、クリエイティブ産業、エレクトロニクス、エネルギー・化学、情報通信技術、物流・サプライチェーン管理、石油・ガス設備＆サービス、</a:t>
            </a:r>
            <a:r>
              <a:rPr lang="ja-JP" altLang="en-US" sz="1200" b="1" dirty="0"/>
              <a:t>医療技術</a:t>
            </a:r>
            <a:r>
              <a:rPr lang="ja-JP" altLang="en-US" sz="1200" dirty="0"/>
              <a:t>、天然資源、</a:t>
            </a:r>
            <a:r>
              <a:rPr lang="ja-JP" altLang="en-US" sz="1200" b="1" dirty="0"/>
              <a:t>医薬品・バイオテクノロジー</a:t>
            </a:r>
            <a:r>
              <a:rPr lang="ja-JP" altLang="en-US" sz="1200" dirty="0"/>
              <a:t>、精密エンジニアリング、都市ソリューション・サステナビリティ、専門家サービス</a:t>
            </a:r>
            <a:endParaRPr lang="en-US" sz="1200" dirty="0"/>
          </a:p>
        </p:txBody>
      </p:sp>
      <p:sp>
        <p:nvSpPr>
          <p:cNvPr id="18" name="Rectangle 6">
            <a:extLst>
              <a:ext uri="{FF2B5EF4-FFF2-40B4-BE49-F238E27FC236}">
                <a16:creationId xmlns:a16="http://schemas.microsoft.com/office/drawing/2014/main" id="{181009B2-F7A9-4767-BFF1-C3FFDB938E71}"/>
              </a:ext>
            </a:extLst>
          </p:cNvPr>
          <p:cNvSpPr>
            <a:spLocks noChangeArrowheads="1"/>
          </p:cNvSpPr>
          <p:nvPr/>
        </p:nvSpPr>
        <p:spPr bwMode="auto">
          <a:xfrm>
            <a:off x="428120" y="2188167"/>
            <a:ext cx="1368152" cy="276998"/>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優遇措置</a:t>
            </a:r>
          </a:p>
        </p:txBody>
      </p:sp>
      <p:sp>
        <p:nvSpPr>
          <p:cNvPr id="19" name="TextBox 18">
            <a:extLst>
              <a:ext uri="{FF2B5EF4-FFF2-40B4-BE49-F238E27FC236}">
                <a16:creationId xmlns:a16="http://schemas.microsoft.com/office/drawing/2014/main" id="{D4FD73B2-EBB3-4A19-B60E-A69E488BC3F1}"/>
              </a:ext>
            </a:extLst>
          </p:cNvPr>
          <p:cNvSpPr txBox="1"/>
          <p:nvPr/>
        </p:nvSpPr>
        <p:spPr>
          <a:xfrm>
            <a:off x="2300326" y="2188167"/>
            <a:ext cx="6973151" cy="1938992"/>
          </a:xfrm>
          <a:prstGeom prst="rect">
            <a:avLst/>
          </a:prstGeom>
          <a:noFill/>
        </p:spPr>
        <p:txBody>
          <a:bodyPr wrap="square">
            <a:spAutoFit/>
          </a:bodyPr>
          <a:lstStyle/>
          <a:p>
            <a:pPr marL="171450" indent="-171450">
              <a:buFont typeface="Arial" panose="020B0604020202020204" pitchFamily="34" charset="0"/>
              <a:buChar char="•"/>
            </a:pPr>
            <a:r>
              <a:rPr lang="ja-JP" altLang="en-US" sz="1200" dirty="0"/>
              <a:t>法人への実効税率</a:t>
            </a:r>
            <a:r>
              <a:rPr lang="en-US" altLang="ja-JP" sz="1200" dirty="0"/>
              <a:t>17%</a:t>
            </a:r>
            <a:r>
              <a:rPr lang="ja-JP" altLang="en-US" sz="1200" dirty="0"/>
              <a:t>未満</a:t>
            </a:r>
          </a:p>
          <a:p>
            <a:pPr marL="171450" indent="-171450">
              <a:buFont typeface="Arial" panose="020B0604020202020204" pitchFamily="34" charset="0"/>
              <a:buChar char="•"/>
            </a:pPr>
            <a:r>
              <a:rPr lang="ja-JP" altLang="en-US" sz="1200" dirty="0"/>
              <a:t>キャピタルゲイン課税なし</a:t>
            </a:r>
          </a:p>
          <a:p>
            <a:pPr marL="171450" indent="-171450">
              <a:buFont typeface="Arial" panose="020B0604020202020204" pitchFamily="34" charset="0"/>
              <a:buChar char="•"/>
            </a:pPr>
            <a:r>
              <a:rPr lang="ja-JP" altLang="en-US" sz="1200" dirty="0"/>
              <a:t>約</a:t>
            </a:r>
            <a:r>
              <a:rPr lang="en-US" altLang="ja-JP" sz="1200" dirty="0"/>
              <a:t>90</a:t>
            </a:r>
            <a:r>
              <a:rPr lang="ja-JP" altLang="en-US" sz="1200" dirty="0"/>
              <a:t>カ国との租税条約</a:t>
            </a:r>
            <a:endParaRPr lang="en-US" altLang="ja-JP" sz="1200" dirty="0"/>
          </a:p>
          <a:p>
            <a:pPr marL="171450" indent="-171450">
              <a:buFont typeface="Arial" panose="020B0604020202020204" pitchFamily="34" charset="0"/>
              <a:buChar char="•"/>
            </a:pPr>
            <a:r>
              <a:rPr lang="ja-JP" altLang="en-US" sz="1200" dirty="0"/>
              <a:t>国外源泉所得の免税 </a:t>
            </a:r>
            <a:r>
              <a:rPr lang="en-US" altLang="ja-JP" sz="1200" dirty="0"/>
              <a:t>– </a:t>
            </a:r>
            <a:r>
              <a:rPr lang="ja-JP" altLang="en-US" sz="1200" dirty="0"/>
              <a:t>例）</a:t>
            </a:r>
            <a:r>
              <a:rPr lang="ja-JP" altLang="en-US" sz="1200" b="0" i="0" dirty="0">
                <a:solidFill>
                  <a:srgbClr val="333333"/>
                </a:solidFill>
                <a:effectLst/>
                <a:latin typeface="Noto Sans JP"/>
              </a:rPr>
              <a:t>外国企業からシンガポールに還流された配当金は、その企業が所在する国の最高法人税率が</a:t>
            </a:r>
            <a:r>
              <a:rPr lang="en-US" altLang="ja-JP" sz="1200" b="0" i="0" dirty="0">
                <a:solidFill>
                  <a:srgbClr val="333333"/>
                </a:solidFill>
                <a:effectLst/>
                <a:latin typeface="Noto Sans JP"/>
              </a:rPr>
              <a:t>15</a:t>
            </a:r>
            <a:r>
              <a:rPr lang="ja-JP" altLang="en-US" sz="1200" b="0" i="0" dirty="0">
                <a:solidFill>
                  <a:srgbClr val="333333"/>
                </a:solidFill>
                <a:effectLst/>
                <a:latin typeface="Noto Sans JP"/>
              </a:rPr>
              <a:t>％以上の場合、その国で課税されていることを条件に、非課税</a:t>
            </a:r>
            <a:endParaRPr lang="en-US" altLang="ja-JP" sz="1200" b="0" i="0" dirty="0">
              <a:solidFill>
                <a:srgbClr val="333333"/>
              </a:solidFill>
              <a:effectLst/>
              <a:latin typeface="Noto Sans JP"/>
            </a:endParaRPr>
          </a:p>
          <a:p>
            <a:pPr marL="171450" indent="-171450">
              <a:buFont typeface="Arial" panose="020B0604020202020204" pitchFamily="34" charset="0"/>
              <a:buChar char="•"/>
            </a:pPr>
            <a:r>
              <a:rPr lang="ja-JP" altLang="en-US" sz="1200" dirty="0"/>
              <a:t>ワン・ティア・システムのもと、本国への配当が非課税</a:t>
            </a:r>
          </a:p>
          <a:p>
            <a:pPr marL="171450" indent="-171450">
              <a:buFont typeface="Arial" panose="020B0604020202020204" pitchFamily="34" charset="0"/>
              <a:buChar char="•"/>
            </a:pPr>
            <a:r>
              <a:rPr lang="ja-JP" altLang="en-US" sz="1200" dirty="0"/>
              <a:t>タックスヘイブン税制や過少資本税制はなし</a:t>
            </a:r>
          </a:p>
          <a:p>
            <a:pPr marL="171450" indent="-171450">
              <a:buFont typeface="Arial" panose="020B0604020202020204" pitchFamily="34" charset="0"/>
              <a:buChar char="•"/>
            </a:pPr>
            <a:r>
              <a:rPr lang="ja-JP" altLang="en-US" sz="1200" dirty="0"/>
              <a:t>さらに、経済開発庁（</a:t>
            </a:r>
            <a:r>
              <a:rPr lang="en-US" altLang="ja-JP" sz="1200" dirty="0"/>
              <a:t>EDB</a:t>
            </a:r>
            <a:r>
              <a:rPr lang="ja-JP" altLang="en-US" sz="1200" dirty="0"/>
              <a:t>）などの政府機関によって、認定を受けた企業に関しては、法人税率の軽減税率適用などの優遇措置を受けることができる</a:t>
            </a:r>
          </a:p>
          <a:p>
            <a:endParaRPr lang="en-US" sz="1200" dirty="0"/>
          </a:p>
        </p:txBody>
      </p:sp>
      <p:sp>
        <p:nvSpPr>
          <p:cNvPr id="21" name="TextBox 20">
            <a:extLst>
              <a:ext uri="{FF2B5EF4-FFF2-40B4-BE49-F238E27FC236}">
                <a16:creationId xmlns:a16="http://schemas.microsoft.com/office/drawing/2014/main" id="{A835B458-51CC-4A1C-894B-AAD9FCEB3A9B}"/>
              </a:ext>
            </a:extLst>
          </p:cNvPr>
          <p:cNvSpPr txBox="1"/>
          <p:nvPr/>
        </p:nvSpPr>
        <p:spPr>
          <a:xfrm>
            <a:off x="2300326" y="4169905"/>
            <a:ext cx="6973152" cy="646331"/>
          </a:xfrm>
          <a:prstGeom prst="rect">
            <a:avLst/>
          </a:prstGeom>
          <a:noFill/>
        </p:spPr>
        <p:txBody>
          <a:bodyPr wrap="square">
            <a:spAutoFit/>
          </a:bodyPr>
          <a:lstStyle/>
          <a:p>
            <a:pPr marL="171450" indent="-171450">
              <a:buFont typeface="Arial" panose="020B0604020202020204" pitchFamily="34" charset="0"/>
              <a:buChar char="•"/>
            </a:pPr>
            <a:r>
              <a:rPr lang="ja-JP" altLang="en-US" sz="1200" b="0" i="0" dirty="0">
                <a:solidFill>
                  <a:srgbClr val="333333"/>
                </a:solidFill>
                <a:effectLst/>
                <a:latin typeface="Noto Sans JP"/>
              </a:rPr>
              <a:t>経済開発庁がシンガポールへの投資を支援しており、在日本大使館内に日本事務所がある</a:t>
            </a:r>
            <a:endParaRPr lang="en-US" altLang="ja-JP" sz="1200" b="0" i="0" dirty="0">
              <a:solidFill>
                <a:srgbClr val="333333"/>
              </a:solidFill>
              <a:effectLst/>
              <a:latin typeface="Noto Sans JP"/>
            </a:endParaRPr>
          </a:p>
          <a:p>
            <a:pPr marL="171450" indent="-171450">
              <a:buFont typeface="Arial" panose="020B0604020202020204" pitchFamily="34" charset="0"/>
              <a:buChar char="•"/>
            </a:pPr>
            <a:r>
              <a:rPr lang="ja-JP" altLang="en-US" sz="1200" b="0" i="0" dirty="0">
                <a:solidFill>
                  <a:srgbClr val="333333"/>
                </a:solidFill>
                <a:effectLst/>
                <a:latin typeface="Noto Sans JP"/>
              </a:rPr>
              <a:t>優れた事業実績と起業経験を持ち、シンガポールからビジネスと投資を推進しようとするグローバル投資家にはシンガポールへの永住権を付与</a:t>
            </a:r>
            <a:endParaRPr lang="en-US" sz="1200" dirty="0"/>
          </a:p>
        </p:txBody>
      </p:sp>
      <p:sp>
        <p:nvSpPr>
          <p:cNvPr id="22" name="Rectangle 6">
            <a:extLst>
              <a:ext uri="{FF2B5EF4-FFF2-40B4-BE49-F238E27FC236}">
                <a16:creationId xmlns:a16="http://schemas.microsoft.com/office/drawing/2014/main" id="{20AB3F09-CA44-4FAD-B584-ED41D3C8C900}"/>
              </a:ext>
            </a:extLst>
          </p:cNvPr>
          <p:cNvSpPr>
            <a:spLocks noChangeArrowheads="1"/>
          </p:cNvSpPr>
          <p:nvPr/>
        </p:nvSpPr>
        <p:spPr bwMode="auto">
          <a:xfrm>
            <a:off x="451536" y="4448854"/>
            <a:ext cx="1368152" cy="276998"/>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からの投資奨励</a:t>
            </a:r>
          </a:p>
        </p:txBody>
      </p:sp>
    </p:spTree>
    <p:extLst>
      <p:ext uri="{BB962C8B-B14F-4D97-AF65-F5344CB8AC3E}">
        <p14:creationId xmlns:p14="http://schemas.microsoft.com/office/powerpoint/2010/main" val="33103569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latin typeface="HGP創英角ｺﾞｼｯｸUB" panose="020B0A00000000000000" pitchFamily="34" charset="-128"/>
              </a:rPr>
              <a:t>医療関連</a:t>
            </a:r>
            <a:endParaRPr kumimoji="1"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5257748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A50E58B-268E-4E5A-BC9C-1736FD5FE6D5}"/>
              </a:ext>
            </a:extLst>
          </p:cNvPr>
          <p:cNvGraphicFramePr>
            <a:graphicFrameLocks noChangeAspect="1"/>
          </p:cNvGraphicFramePr>
          <p:nvPr>
            <p:custDataLst>
              <p:tags r:id="rId2"/>
            </p:custDataLst>
            <p:extLst>
              <p:ext uri="{D42A27DB-BD31-4B8C-83A1-F6EECF244321}">
                <p14:modId xmlns:p14="http://schemas.microsoft.com/office/powerpoint/2010/main" val="3640415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EA50E58B-268E-4E5A-BC9C-1736FD5FE6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77.4</a:t>
            </a:r>
            <a:r>
              <a:rPr lang="ja-JP" altLang="en-US" dirty="0"/>
              <a:t>歳、健康寿命は</a:t>
            </a:r>
            <a:r>
              <a:rPr lang="en-US" altLang="ja-JP" dirty="0"/>
              <a:t>68.5</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704528" y="630932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での最新データ</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1322263617"/>
              </p:ext>
            </p:extLst>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4.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0.5</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7.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7.2</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0.0</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8.5</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あ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9</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あ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9</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8%</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1.3%</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6.3%</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7.4%</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4.9%</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3%</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18289314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180" imgW="270" imgH="270" progId="TCLayout.ActiveDocument.1">
                  <p:embed/>
                </p:oleObj>
              </mc:Choice>
              <mc:Fallback>
                <p:oleObj name="think-cell Slide" r:id="rId180" imgW="270" imgH="270" progId="TCLayout.ActiveDocument.1">
                  <p:embed/>
                  <p:pic>
                    <p:nvPicPr>
                      <p:cNvPr id="8" name="オブジェクト 7" hidden="1"/>
                      <p:cNvPicPr>
                        <a:picLocks noChangeAspect="1" noChangeArrowheads="1"/>
                      </p:cNvPicPr>
                      <p:nvPr/>
                    </p:nvPicPr>
                    <p:blipFill>
                      <a:blip r:embed="rId18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graphicFrame>
        <p:nvGraphicFramePr>
          <p:cNvPr id="168" name="Chart 167">
            <a:extLst>
              <a:ext uri="{FF2B5EF4-FFF2-40B4-BE49-F238E27FC236}">
                <a16:creationId xmlns:a16="http://schemas.microsoft.com/office/drawing/2014/main" id="{972D0BE6-6369-4C8B-8555-C338D842965F}"/>
              </a:ext>
            </a:extLst>
          </p:cNvPr>
          <p:cNvGraphicFramePr/>
          <p:nvPr>
            <p:custDataLst>
              <p:tags r:id="rId4"/>
            </p:custDataLst>
          </p:nvPr>
        </p:nvGraphicFramePr>
        <p:xfrm>
          <a:off x="1092200" y="1935163"/>
          <a:ext cx="6735763" cy="1647825"/>
        </p:xfrm>
        <a:graphic>
          <a:graphicData uri="http://schemas.openxmlformats.org/drawingml/2006/chart">
            <c:chart xmlns:c="http://schemas.openxmlformats.org/drawingml/2006/chart" xmlns:r="http://schemas.openxmlformats.org/officeDocument/2006/relationships" r:id="rId182"/>
          </a:graphicData>
        </a:graphic>
      </p:graphicFrame>
      <p:graphicFrame>
        <p:nvGraphicFramePr>
          <p:cNvPr id="211" name="Chart 210">
            <a:extLst>
              <a:ext uri="{FF2B5EF4-FFF2-40B4-BE49-F238E27FC236}">
                <a16:creationId xmlns:a16="http://schemas.microsoft.com/office/drawing/2014/main" id="{1791E613-7A2B-40CC-B542-C1137EFC812D}"/>
              </a:ext>
            </a:extLst>
          </p:cNvPr>
          <p:cNvGraphicFramePr/>
          <p:nvPr>
            <p:custDataLst>
              <p:tags r:id="rId5"/>
            </p:custDataLst>
          </p:nvPr>
        </p:nvGraphicFramePr>
        <p:xfrm>
          <a:off x="603250" y="2195513"/>
          <a:ext cx="7392988" cy="1463675"/>
        </p:xfrm>
        <a:graphic>
          <a:graphicData uri="http://schemas.openxmlformats.org/drawingml/2006/chart">
            <c:chart xmlns:c="http://schemas.openxmlformats.org/drawingml/2006/chart" xmlns:r="http://schemas.openxmlformats.org/officeDocument/2006/relationships" r:id="rId183"/>
          </a:graphicData>
        </a:graphic>
      </p:graphicFrame>
      <p:cxnSp>
        <p:nvCxnSpPr>
          <p:cNvPr id="282" name="直線コネクタ 281"/>
          <p:cNvCxnSpPr/>
          <p:nvPr>
            <p:custDataLst>
              <p:tags r:id="rId6"/>
            </p:custDataLst>
          </p:nvPr>
        </p:nvCxnSpPr>
        <p:spPr bwMode="gray">
          <a:xfrm flipV="1">
            <a:off x="1709738" y="3421063"/>
            <a:ext cx="0" cy="6350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4" name="直線コネクタ 283"/>
          <p:cNvCxnSpPr/>
          <p:nvPr>
            <p:custDataLst>
              <p:tags r:id="rId7"/>
            </p:custDataLst>
          </p:nvPr>
        </p:nvCxnSpPr>
        <p:spPr bwMode="gray">
          <a:xfrm flipV="1">
            <a:off x="2381250" y="3397250"/>
            <a:ext cx="0" cy="87313"/>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1" name="直線コネクタ 280"/>
          <p:cNvCxnSpPr/>
          <p:nvPr>
            <p:custDataLst>
              <p:tags r:id="rId8"/>
            </p:custDataLst>
          </p:nvPr>
        </p:nvCxnSpPr>
        <p:spPr bwMode="gray">
          <a:xfrm flipV="1">
            <a:off x="1374775" y="3406774"/>
            <a:ext cx="0" cy="77788"/>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直線コネクタ 11"/>
          <p:cNvCxnSpPr/>
          <p:nvPr>
            <p:custDataLst>
              <p:tags r:id="rId9"/>
            </p:custDataLst>
          </p:nvPr>
        </p:nvCxnSpPr>
        <p:spPr bwMode="gray">
          <a:xfrm flipV="1">
            <a:off x="3386138" y="3398838"/>
            <a:ext cx="0" cy="85725"/>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3" name="直線コネクタ 282"/>
          <p:cNvCxnSpPr/>
          <p:nvPr>
            <p:custDataLst>
              <p:tags r:id="rId10"/>
            </p:custDataLst>
          </p:nvPr>
        </p:nvCxnSpPr>
        <p:spPr bwMode="gray">
          <a:xfrm flipV="1">
            <a:off x="2044700" y="3411538"/>
            <a:ext cx="0" cy="73025"/>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直線コネクタ 71"/>
          <p:cNvCxnSpPr/>
          <p:nvPr>
            <p:custDataLst>
              <p:tags r:id="rId11"/>
            </p:custDataLst>
          </p:nvPr>
        </p:nvCxnSpPr>
        <p:spPr bwMode="gray">
          <a:xfrm flipV="1">
            <a:off x="3721100" y="3397250"/>
            <a:ext cx="0" cy="87313"/>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5" name="直線コネクタ 284"/>
          <p:cNvCxnSpPr/>
          <p:nvPr>
            <p:custDataLst>
              <p:tags r:id="rId12"/>
            </p:custDataLst>
          </p:nvPr>
        </p:nvCxnSpPr>
        <p:spPr bwMode="gray">
          <a:xfrm flipV="1">
            <a:off x="2716213" y="3406774"/>
            <a:ext cx="0" cy="77788"/>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6" name="直線コネクタ 285"/>
          <p:cNvCxnSpPr/>
          <p:nvPr>
            <p:custDataLst>
              <p:tags r:id="rId13"/>
            </p:custDataLst>
          </p:nvPr>
        </p:nvCxnSpPr>
        <p:spPr bwMode="gray">
          <a:xfrm flipV="1">
            <a:off x="3051175" y="3403600"/>
            <a:ext cx="0" cy="80963"/>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テキスト プレースホルダ 9"/>
          <p:cNvSpPr>
            <a:spLocks noGrp="1"/>
          </p:cNvSpPr>
          <p:nvPr>
            <p:custDataLst>
              <p:tags r:id="rId14"/>
            </p:custDataLst>
          </p:nvPr>
        </p:nvSpPr>
        <p:spPr bwMode="auto">
          <a:xfrm>
            <a:off x="2640013" y="3679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633D8D-DBEF-40C9-9ECF-F09E4D362BB6}" type="datetime'''''''''0''''''''4'''''''">
              <a:rPr lang="ja-JP" altLang="en-US" sz="1000"/>
              <a:pPr marL="0" indent="0" algn="ctr">
                <a:spcBef>
                  <a:spcPct val="0"/>
                </a:spcBef>
                <a:buNone/>
              </a:pPr>
              <a:t>04</a:t>
            </a:fld>
            <a:endParaRPr kumimoji="0" lang="ja-JP" altLang="en-US" sz="1000" dirty="0">
              <a:sym typeface="+mn-lt"/>
            </a:endParaRPr>
          </a:p>
        </p:txBody>
      </p:sp>
      <p:sp>
        <p:nvSpPr>
          <p:cNvPr id="228" name="テキスト プレースホルダ 9">
            <a:extLst>
              <a:ext uri="{FF2B5EF4-FFF2-40B4-BE49-F238E27FC236}">
                <a16:creationId xmlns:a16="http://schemas.microsoft.com/office/drawing/2014/main" id="{9AB4EA49-5A57-4007-AB8B-E04ACE4FC580}"/>
              </a:ext>
            </a:extLst>
          </p:cNvPr>
          <p:cNvSpPr>
            <a:spLocks noGrp="1"/>
          </p:cNvSpPr>
          <p:nvPr>
            <p:custDataLst>
              <p:tags r:id="rId15"/>
            </p:custDataLst>
          </p:nvPr>
        </p:nvSpPr>
        <p:spPr bwMode="gray">
          <a:xfrm>
            <a:off x="5559425" y="2913063"/>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F92AAD-8182-4E62-B6F0-C9327648D6B4}" type="datetime'''''''''''''''6'',63''''''''4'''''''''''''''''''''''''''''">
              <a:rPr kumimoji="0" lang="ja-JP" altLang="en-US" sz="1000" smtClean="0">
                <a:effectLst/>
              </a:rPr>
              <a:pPr/>
              <a:t>6,634</a:t>
            </a:fld>
            <a:endParaRPr kumimoji="0" lang="ja-JP" altLang="en-US" sz="1000" dirty="0">
              <a:sym typeface="+mn-lt"/>
            </a:endParaRPr>
          </a:p>
        </p:txBody>
      </p:sp>
      <p:sp>
        <p:nvSpPr>
          <p:cNvPr id="113" name="テキスト プレースホルダ 9"/>
          <p:cNvSpPr>
            <a:spLocks noGrp="1"/>
          </p:cNvSpPr>
          <p:nvPr>
            <p:custDataLst>
              <p:tags r:id="rId16"/>
            </p:custDataLst>
          </p:nvPr>
        </p:nvSpPr>
        <p:spPr bwMode="gray">
          <a:xfrm>
            <a:off x="5222875" y="2709863"/>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E820BD3-C625-45E3-9A9E-9181399A9D7A}" type="datetime'''''''''''''9,''''8''0''1'''">
              <a:rPr lang="ja-JP" altLang="en-US" sz="1000" smtClean="0"/>
              <a:pPr/>
              <a:t>9,801</a:t>
            </a:fld>
            <a:endParaRPr kumimoji="0" lang="ja-JP" altLang="en-US" sz="1000" dirty="0">
              <a:sym typeface="+mn-lt"/>
            </a:endParaRPr>
          </a:p>
        </p:txBody>
      </p:sp>
      <p:sp>
        <p:nvSpPr>
          <p:cNvPr id="42" name="テキスト プレースホルダ 9"/>
          <p:cNvSpPr>
            <a:spLocks noGrp="1"/>
          </p:cNvSpPr>
          <p:nvPr>
            <p:custDataLst>
              <p:tags r:id="rId17"/>
            </p:custDataLst>
          </p:nvPr>
        </p:nvSpPr>
        <p:spPr bwMode="auto">
          <a:xfrm>
            <a:off x="3309938" y="3679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C24A94-F5EC-4122-9200-3341C3CDAB4E}" type="datetime'''''0''''6'''''''''''''''''''''''''">
              <a:rPr lang="ja-JP" altLang="en-US" sz="1000"/>
              <a:pPr marL="0" indent="0" algn="ctr">
                <a:spcBef>
                  <a:spcPct val="0"/>
                </a:spcBef>
                <a:buNone/>
              </a:pPr>
              <a:t>06</a:t>
            </a:fld>
            <a:endParaRPr kumimoji="0" lang="ja-JP" altLang="en-US" sz="1000" dirty="0">
              <a:sym typeface="+mn-lt"/>
            </a:endParaRPr>
          </a:p>
        </p:txBody>
      </p:sp>
      <p:sp>
        <p:nvSpPr>
          <p:cNvPr id="143" name="テキスト プレースホルダ 9">
            <a:extLst>
              <a:ext uri="{FF2B5EF4-FFF2-40B4-BE49-F238E27FC236}">
                <a16:creationId xmlns:a16="http://schemas.microsoft.com/office/drawing/2014/main" id="{BE7AE7A6-30D4-4D21-B96D-B97D2E5AD4D4}"/>
              </a:ext>
            </a:extLst>
          </p:cNvPr>
          <p:cNvSpPr>
            <a:spLocks noGrp="1"/>
          </p:cNvSpPr>
          <p:nvPr>
            <p:custDataLst>
              <p:tags r:id="rId18"/>
            </p:custDataLst>
          </p:nvPr>
        </p:nvSpPr>
        <p:spPr bwMode="auto">
          <a:xfrm>
            <a:off x="6662738" y="3679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39DE66-FAFF-4907-BA2B-7C58CB18204B}" type="datetime'1''''''''''''''''''''''''''''''''''''6'''">
              <a:rPr kumimoji="0" lang="ja-JP" altLang="en-US" sz="1000" smtClean="0"/>
              <a:pPr/>
              <a:t>16</a:t>
            </a:fld>
            <a:endParaRPr kumimoji="0" lang="ja-JP" altLang="en-US" sz="1000" dirty="0">
              <a:sym typeface="+mn-lt"/>
            </a:endParaRPr>
          </a:p>
        </p:txBody>
      </p:sp>
      <p:sp>
        <p:nvSpPr>
          <p:cNvPr id="102" name="テキスト プレースホルダ 9"/>
          <p:cNvSpPr>
            <a:spLocks noGrp="1"/>
          </p:cNvSpPr>
          <p:nvPr>
            <p:custDataLst>
              <p:tags r:id="rId19"/>
            </p:custDataLst>
          </p:nvPr>
        </p:nvSpPr>
        <p:spPr bwMode="gray">
          <a:xfrm>
            <a:off x="1200149" y="2987675"/>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139060-F837-4AC0-887A-4834F331CEEE}" type="datetime'''5'''''''',''''''''''0''4''''''''''''0'''''''''''''''''">
              <a:rPr lang="ja-JP" altLang="en-US" sz="1000" smtClean="0"/>
              <a:pPr/>
              <a:t>5,040</a:t>
            </a:fld>
            <a:endParaRPr kumimoji="0" lang="ja-JP" altLang="en-US" sz="1000" dirty="0">
              <a:sym typeface="+mn-lt"/>
            </a:endParaRPr>
          </a:p>
        </p:txBody>
      </p:sp>
      <p:sp>
        <p:nvSpPr>
          <p:cNvPr id="237" name="テキスト プレースホルダ 9">
            <a:extLst>
              <a:ext uri="{FF2B5EF4-FFF2-40B4-BE49-F238E27FC236}">
                <a16:creationId xmlns:a16="http://schemas.microsoft.com/office/drawing/2014/main" id="{CB93019C-7973-41EA-837A-5C1D7C2EFA6B}"/>
              </a:ext>
            </a:extLst>
          </p:cNvPr>
          <p:cNvSpPr>
            <a:spLocks noGrp="1"/>
          </p:cNvSpPr>
          <p:nvPr>
            <p:custDataLst>
              <p:tags r:id="rId20"/>
            </p:custDataLst>
          </p:nvPr>
        </p:nvSpPr>
        <p:spPr bwMode="gray">
          <a:xfrm>
            <a:off x="4887913" y="3027363"/>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A335A9B-6B23-4E49-8272-CE93397B5ECD}" type="datetime'''''''''''5,''''''''''''''''''''''''''5''''''''9''8'''''''''">
              <a:rPr kumimoji="0" lang="ja-JP" altLang="en-US" sz="1000" smtClean="0">
                <a:effectLst/>
              </a:rPr>
              <a:pPr/>
              <a:t>5,598</a:t>
            </a:fld>
            <a:endParaRPr kumimoji="0" lang="ja-JP" altLang="en-US" sz="1000" dirty="0">
              <a:sym typeface="+mn-lt"/>
            </a:endParaRPr>
          </a:p>
        </p:txBody>
      </p:sp>
      <p:sp>
        <p:nvSpPr>
          <p:cNvPr id="180" name="テキスト プレースホルダ 9">
            <a:extLst>
              <a:ext uri="{FF2B5EF4-FFF2-40B4-BE49-F238E27FC236}">
                <a16:creationId xmlns:a16="http://schemas.microsoft.com/office/drawing/2014/main" id="{38AE372A-2642-4829-B5E6-056610C314B2}"/>
              </a:ext>
            </a:extLst>
          </p:cNvPr>
          <p:cNvSpPr>
            <a:spLocks noGrp="1"/>
          </p:cNvSpPr>
          <p:nvPr>
            <p:custDataLst>
              <p:tags r:id="rId21"/>
            </p:custDataLst>
          </p:nvPr>
        </p:nvSpPr>
        <p:spPr bwMode="gray">
          <a:xfrm>
            <a:off x="2876550" y="3157538"/>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4D11F8E-D37E-41FA-9F7F-8359BD8A5BC7}" type="datetime'''''3'''''''''''',8''''''''''''''8''''''''''''3'''''''">
              <a:rPr lang="ja-JP" altLang="en-US" sz="1000" smtClean="0">
                <a:effectLst/>
                <a:sym typeface="+mn-lt"/>
              </a:rPr>
              <a:pPr marL="0" indent="0" algn="ctr">
                <a:spcBef>
                  <a:spcPct val="0"/>
                </a:spcBef>
                <a:buNone/>
              </a:pPr>
              <a:t>3,883</a:t>
            </a:fld>
            <a:endParaRPr lang="ja-JP" altLang="en-US" sz="1000" dirty="0">
              <a:sym typeface="+mn-lt"/>
            </a:endParaRPr>
          </a:p>
        </p:txBody>
      </p:sp>
      <p:sp>
        <p:nvSpPr>
          <p:cNvPr id="26" name="テキスト プレースホルダ 9"/>
          <p:cNvSpPr>
            <a:spLocks noGrp="1"/>
          </p:cNvSpPr>
          <p:nvPr>
            <p:custDataLst>
              <p:tags r:id="rId22"/>
            </p:custDataLst>
          </p:nvPr>
        </p:nvSpPr>
        <p:spPr bwMode="auto">
          <a:xfrm>
            <a:off x="1633538" y="3679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F2313EC-3850-4BB6-AF3B-F2408E6DA89B}" type="datetime'0''''''''''''''''''''''1'''''''''''''''''''''''''''''">
              <a:rPr lang="ja-JP" altLang="en-US" sz="1000"/>
              <a:pPr marL="0" indent="0" algn="ctr">
                <a:spcBef>
                  <a:spcPct val="0"/>
                </a:spcBef>
                <a:buNone/>
              </a:pPr>
              <a:t>01</a:t>
            </a:fld>
            <a:endParaRPr kumimoji="0" lang="ja-JP" altLang="en-US" sz="1000" dirty="0">
              <a:sym typeface="+mn-lt"/>
            </a:endParaRPr>
          </a:p>
        </p:txBody>
      </p:sp>
      <p:sp>
        <p:nvSpPr>
          <p:cNvPr id="46" name="テキスト プレースホルダ 9"/>
          <p:cNvSpPr>
            <a:spLocks noGrp="1"/>
          </p:cNvSpPr>
          <p:nvPr>
            <p:custDataLst>
              <p:tags r:id="rId23"/>
            </p:custDataLst>
          </p:nvPr>
        </p:nvSpPr>
        <p:spPr bwMode="auto">
          <a:xfrm>
            <a:off x="4651375" y="3679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44FA2D4-2FCA-45C1-921A-F1A6669CBDAB}" type="datetime'10'''''">
              <a:rPr lang="ja-JP" altLang="en-US" sz="1000"/>
              <a:pPr marL="0" indent="0" algn="ctr">
                <a:spcBef>
                  <a:spcPct val="0"/>
                </a:spcBef>
                <a:buNone/>
              </a:pPr>
              <a:t>10</a:t>
            </a:fld>
            <a:endParaRPr kumimoji="0" lang="ja-JP" altLang="en-US" sz="1000" dirty="0">
              <a:sym typeface="+mn-lt"/>
            </a:endParaRPr>
          </a:p>
        </p:txBody>
      </p:sp>
      <p:sp>
        <p:nvSpPr>
          <p:cNvPr id="44" name="テキスト プレースホルダ 9"/>
          <p:cNvSpPr>
            <a:spLocks noGrp="1"/>
          </p:cNvSpPr>
          <p:nvPr>
            <p:custDataLst>
              <p:tags r:id="rId24"/>
            </p:custDataLst>
          </p:nvPr>
        </p:nvSpPr>
        <p:spPr bwMode="auto">
          <a:xfrm>
            <a:off x="3981450" y="3679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C2F5E7-AFB0-42A0-8CFD-B9FF76CE8928}" type="datetime'''0''''''''''''''''''''''''''''''8'''''''''">
              <a:rPr lang="ja-JP" altLang="en-US" sz="1000"/>
              <a:pPr marL="0" indent="0" algn="ctr">
                <a:spcBef>
                  <a:spcPct val="0"/>
                </a:spcBef>
                <a:buNone/>
              </a:pPr>
              <a:t>08</a:t>
            </a:fld>
            <a:endParaRPr kumimoji="0" lang="ja-JP" altLang="en-US" sz="1000" dirty="0">
              <a:sym typeface="+mn-lt"/>
            </a:endParaRPr>
          </a:p>
        </p:txBody>
      </p:sp>
      <p:sp>
        <p:nvSpPr>
          <p:cNvPr id="25" name="テキスト プレースホルダ 9"/>
          <p:cNvSpPr>
            <a:spLocks noGrp="1"/>
          </p:cNvSpPr>
          <p:nvPr>
            <p:custDataLst>
              <p:tags r:id="rId25"/>
            </p:custDataLst>
          </p:nvPr>
        </p:nvSpPr>
        <p:spPr bwMode="auto">
          <a:xfrm>
            <a:off x="1228725" y="3679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365AD7-38AB-408D-A40C-E2CD269B220C}" type="datetime'''''20''''''''''''''''''''''0''''''''''''''''''''0'">
              <a:rPr lang="ja-JP" altLang="en-US" sz="1000"/>
              <a:pPr marL="0" indent="0" algn="ctr">
                <a:spcBef>
                  <a:spcPct val="0"/>
                </a:spcBef>
                <a:buNone/>
              </a:pPr>
              <a:t>2000</a:t>
            </a:fld>
            <a:endParaRPr kumimoji="0" lang="ja-JP" altLang="en-US" sz="1000" dirty="0">
              <a:sym typeface="+mn-lt"/>
            </a:endParaRPr>
          </a:p>
        </p:txBody>
      </p:sp>
      <p:sp>
        <p:nvSpPr>
          <p:cNvPr id="249" name="テキスト プレースホルダ 9">
            <a:extLst>
              <a:ext uri="{FF2B5EF4-FFF2-40B4-BE49-F238E27FC236}">
                <a16:creationId xmlns:a16="http://schemas.microsoft.com/office/drawing/2014/main" id="{CCEA4DA4-6C47-45AE-8B05-6D0CC8DF9A31}"/>
              </a:ext>
            </a:extLst>
          </p:cNvPr>
          <p:cNvSpPr>
            <a:spLocks noGrp="1"/>
          </p:cNvSpPr>
          <p:nvPr>
            <p:custDataLst>
              <p:tags r:id="rId26"/>
            </p:custDataLst>
          </p:nvPr>
        </p:nvSpPr>
        <p:spPr bwMode="gray">
          <a:xfrm>
            <a:off x="6958013" y="2249488"/>
            <a:ext cx="419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C311517-A3AC-4884-89C3-B051D8EE4CD5}" type="datetime'''''''''''''15'',''''5''78'''''''''''">
              <a:rPr lang="ja-JP" altLang="en-US" sz="1000" smtClean="0"/>
              <a:pPr/>
              <a:t>15,578</a:t>
            </a:fld>
            <a:endParaRPr lang="ja-JP" altLang="en-US" sz="1000" dirty="0">
              <a:sym typeface="+mn-lt"/>
            </a:endParaRPr>
          </a:p>
        </p:txBody>
      </p:sp>
      <p:sp>
        <p:nvSpPr>
          <p:cNvPr id="41" name="テキスト プレースホルダ 9"/>
          <p:cNvSpPr>
            <a:spLocks noGrp="1"/>
          </p:cNvSpPr>
          <p:nvPr>
            <p:custDataLst>
              <p:tags r:id="rId27"/>
            </p:custDataLst>
          </p:nvPr>
        </p:nvSpPr>
        <p:spPr bwMode="auto">
          <a:xfrm>
            <a:off x="2974975" y="3679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2A2B14-4199-451B-818E-10D9EA204EC2}" type="datetime'''''''''''''''''''0''''''''''5'''">
              <a:rPr lang="ja-JP" altLang="en-US" sz="1000"/>
              <a:pPr marL="0" indent="0" algn="ctr">
                <a:spcBef>
                  <a:spcPct val="0"/>
                </a:spcBef>
                <a:buNone/>
              </a:pPr>
              <a:t>05</a:t>
            </a:fld>
            <a:endParaRPr kumimoji="0" lang="ja-JP" altLang="en-US" sz="1000" dirty="0">
              <a:sym typeface="+mn-lt"/>
            </a:endParaRPr>
          </a:p>
        </p:txBody>
      </p:sp>
      <p:sp>
        <p:nvSpPr>
          <p:cNvPr id="27" name="テキスト プレースホルダ 9"/>
          <p:cNvSpPr>
            <a:spLocks noGrp="1"/>
          </p:cNvSpPr>
          <p:nvPr>
            <p:custDataLst>
              <p:tags r:id="rId28"/>
            </p:custDataLst>
          </p:nvPr>
        </p:nvSpPr>
        <p:spPr bwMode="auto">
          <a:xfrm>
            <a:off x="1968500" y="3679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A3BCD0-CE16-4625-971F-374D09824AA5}" type="datetime'''''''''''''''''0''''''''''''''''''''''''''''''''''''2'''''">
              <a:rPr lang="ja-JP" altLang="en-US" sz="1000"/>
              <a:pPr marL="0" indent="0" algn="ctr">
                <a:spcBef>
                  <a:spcPct val="0"/>
                </a:spcBef>
                <a:buNone/>
              </a:pPr>
              <a:t>02</a:t>
            </a:fld>
            <a:endParaRPr kumimoji="0" lang="ja-JP" altLang="en-US" sz="1000" dirty="0">
              <a:sym typeface="+mn-lt"/>
            </a:endParaRPr>
          </a:p>
        </p:txBody>
      </p:sp>
      <p:sp>
        <p:nvSpPr>
          <p:cNvPr id="238" name="テキスト プレースホルダ 9">
            <a:extLst>
              <a:ext uri="{FF2B5EF4-FFF2-40B4-BE49-F238E27FC236}">
                <a16:creationId xmlns:a16="http://schemas.microsoft.com/office/drawing/2014/main" id="{B4ABA051-9D05-4948-8A19-6664702C170C}"/>
              </a:ext>
            </a:extLst>
          </p:cNvPr>
          <p:cNvSpPr>
            <a:spLocks noGrp="1"/>
          </p:cNvSpPr>
          <p:nvPr>
            <p:custDataLst>
              <p:tags r:id="rId29"/>
            </p:custDataLst>
          </p:nvPr>
        </p:nvSpPr>
        <p:spPr bwMode="gray">
          <a:xfrm>
            <a:off x="4887913" y="3286125"/>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41C9A4F-472B-4B80-9AB6-7A3DF03165CA}" type="datetime'''''''''''''''''3'''''''',''''''''''''''''3''''''0''''''5'">
              <a:rPr kumimoji="0" lang="ja-JP" altLang="en-US" sz="1000" smtClean="0">
                <a:effectLst/>
              </a:rPr>
              <a:pPr/>
              <a:t>3,305</a:t>
            </a:fld>
            <a:endParaRPr kumimoji="0" lang="ja-JP" altLang="en-US" sz="1000" dirty="0">
              <a:sym typeface="+mn-lt"/>
            </a:endParaRPr>
          </a:p>
        </p:txBody>
      </p:sp>
      <p:sp>
        <p:nvSpPr>
          <p:cNvPr id="103" name="テキスト プレースホルダ 9"/>
          <p:cNvSpPr>
            <a:spLocks noGrp="1"/>
          </p:cNvSpPr>
          <p:nvPr>
            <p:custDataLst>
              <p:tags r:id="rId30"/>
            </p:custDataLst>
          </p:nvPr>
        </p:nvSpPr>
        <p:spPr bwMode="gray">
          <a:xfrm>
            <a:off x="1535112" y="3006725"/>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1F759AE-193D-47F8-A21D-A226F63737CB}" type="datetime'''''''4'',''''''''''''''''''''''71''''''''''7'''''''''''">
              <a:rPr lang="ja-JP" altLang="en-US" sz="1000" smtClean="0"/>
              <a:pPr/>
              <a:t>4,717</a:t>
            </a:fld>
            <a:endParaRPr kumimoji="0" lang="ja-JP" altLang="en-US" sz="1000" dirty="0">
              <a:sym typeface="+mn-lt"/>
            </a:endParaRPr>
          </a:p>
        </p:txBody>
      </p:sp>
      <p:sp>
        <p:nvSpPr>
          <p:cNvPr id="39" name="テキスト プレースホルダ 9"/>
          <p:cNvSpPr>
            <a:spLocks noGrp="1"/>
          </p:cNvSpPr>
          <p:nvPr>
            <p:custDataLst>
              <p:tags r:id="rId31"/>
            </p:custDataLst>
          </p:nvPr>
        </p:nvSpPr>
        <p:spPr bwMode="auto">
          <a:xfrm>
            <a:off x="2305050" y="3679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F18DAC7-D6C1-4AEC-9EB1-A42A3819F5F6}" type="datetime'''''0''''''''''''''''''''''''3'''''''">
              <a:rPr lang="ja-JP" altLang="en-US" sz="1000"/>
              <a:pPr marL="0" indent="0" algn="ctr">
                <a:spcBef>
                  <a:spcPct val="0"/>
                </a:spcBef>
                <a:buNone/>
              </a:pPr>
              <a:t>03</a:t>
            </a:fld>
            <a:endParaRPr kumimoji="0" lang="ja-JP" altLang="en-US" sz="1000" dirty="0">
              <a:sym typeface="+mn-lt"/>
            </a:endParaRPr>
          </a:p>
        </p:txBody>
      </p:sp>
      <p:sp>
        <p:nvSpPr>
          <p:cNvPr id="149" name="テキスト プレースホルダ 9"/>
          <p:cNvSpPr>
            <a:spLocks noGrp="1"/>
          </p:cNvSpPr>
          <p:nvPr>
            <p:custDataLst>
              <p:tags r:id="rId32"/>
            </p:custDataLst>
          </p:nvPr>
        </p:nvSpPr>
        <p:spPr bwMode="gray">
          <a:xfrm>
            <a:off x="5894388" y="3219450"/>
            <a:ext cx="349250"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1D15B50-ECF5-4310-8B39-8CEFF1A71524}" type="datetime'''5'''''''''''''''''''''''''''''''''',59''''''''6'''''''''">
              <a:rPr kumimoji="0" lang="ja-JP" altLang="en-US" sz="1000" smtClean="0">
                <a:effectLst/>
              </a:rPr>
              <a:pPr/>
              <a:t>5,596</a:t>
            </a:fld>
            <a:endParaRPr kumimoji="0" lang="ja-JP" altLang="en-US" sz="1000" dirty="0">
              <a:sym typeface="+mn-lt"/>
            </a:endParaRPr>
          </a:p>
        </p:txBody>
      </p:sp>
      <p:sp>
        <p:nvSpPr>
          <p:cNvPr id="210" name="テキスト プレースホルダ 9">
            <a:extLst>
              <a:ext uri="{FF2B5EF4-FFF2-40B4-BE49-F238E27FC236}">
                <a16:creationId xmlns:a16="http://schemas.microsoft.com/office/drawing/2014/main" id="{3FBE92B4-FF62-4532-BBCC-5A9F6F0E4602}"/>
              </a:ext>
            </a:extLst>
          </p:cNvPr>
          <p:cNvSpPr>
            <a:spLocks noGrp="1"/>
          </p:cNvSpPr>
          <p:nvPr>
            <p:custDataLst>
              <p:tags r:id="rId33"/>
            </p:custDataLst>
          </p:nvPr>
        </p:nvSpPr>
        <p:spPr bwMode="gray">
          <a:xfrm>
            <a:off x="3883025" y="3302000"/>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784647F-8B2C-41AD-A5D3-0D651BA495BA}" type="datetime'''''''''''''''''''''''2'',''''''''''''''''''''7''''5''''6'''''">
              <a:rPr lang="ja-JP" altLang="en-US" sz="1000" smtClean="0">
                <a:effectLst/>
                <a:sym typeface="+mn-lt"/>
              </a:rPr>
              <a:pPr marL="0" indent="0" algn="ctr">
                <a:spcBef>
                  <a:spcPct val="0"/>
                </a:spcBef>
                <a:buNone/>
              </a:pPr>
              <a:t>2,756</a:t>
            </a:fld>
            <a:endParaRPr lang="ja-JP" altLang="en-US" sz="1000" dirty="0">
              <a:sym typeface="+mn-lt"/>
            </a:endParaRPr>
          </a:p>
        </p:txBody>
      </p:sp>
      <p:sp>
        <p:nvSpPr>
          <p:cNvPr id="43" name="テキスト プレースホルダ 9"/>
          <p:cNvSpPr>
            <a:spLocks noGrp="1"/>
          </p:cNvSpPr>
          <p:nvPr>
            <p:custDataLst>
              <p:tags r:id="rId34"/>
            </p:custDataLst>
          </p:nvPr>
        </p:nvSpPr>
        <p:spPr bwMode="auto">
          <a:xfrm>
            <a:off x="3644900" y="3679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6E82E6C-193A-455C-8D84-DDCEAFC6AAAC}" type="datetime'''''''''''''0''7'''''''''''''''">
              <a:rPr lang="ja-JP" altLang="en-US" sz="1000"/>
              <a:pPr marL="0" indent="0" algn="ctr">
                <a:spcBef>
                  <a:spcPct val="0"/>
                </a:spcBef>
                <a:buNone/>
              </a:pPr>
              <a:t>07</a:t>
            </a:fld>
            <a:endParaRPr kumimoji="0" lang="ja-JP" altLang="en-US" sz="1000" dirty="0">
              <a:sym typeface="+mn-lt"/>
            </a:endParaRPr>
          </a:p>
        </p:txBody>
      </p:sp>
      <p:sp>
        <p:nvSpPr>
          <p:cNvPr id="47" name="テキスト プレースホルダ 9"/>
          <p:cNvSpPr>
            <a:spLocks noGrp="1"/>
          </p:cNvSpPr>
          <p:nvPr>
            <p:custDataLst>
              <p:tags r:id="rId35"/>
            </p:custDataLst>
          </p:nvPr>
        </p:nvSpPr>
        <p:spPr bwMode="auto">
          <a:xfrm>
            <a:off x="4986338" y="3679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00301BB-01FE-4BBF-8E91-16AE4A00D962}" type="datetime'''''''''''''''''''''''''''''''''1''''''''''''1'''''''">
              <a:rPr lang="ja-JP" altLang="en-US" sz="1000"/>
              <a:pPr marL="0" indent="0" algn="ctr">
                <a:spcBef>
                  <a:spcPct val="0"/>
                </a:spcBef>
                <a:buNone/>
              </a:pPr>
              <a:t>11</a:t>
            </a:fld>
            <a:endParaRPr kumimoji="0" lang="ja-JP" altLang="en-US" sz="1000" dirty="0">
              <a:sym typeface="+mn-lt"/>
            </a:endParaRPr>
          </a:p>
        </p:txBody>
      </p:sp>
      <p:sp>
        <p:nvSpPr>
          <p:cNvPr id="45" name="テキスト プレースホルダ 9"/>
          <p:cNvSpPr>
            <a:spLocks noGrp="1"/>
          </p:cNvSpPr>
          <p:nvPr>
            <p:custDataLst>
              <p:tags r:id="rId36"/>
            </p:custDataLst>
          </p:nvPr>
        </p:nvSpPr>
        <p:spPr bwMode="auto">
          <a:xfrm>
            <a:off x="4316413" y="3679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FB3E2E3-311F-426D-B4B5-EC69C25E219A}" type="datetime'''''''''''''''''''''''''0''''''''9'''''''''''''''''''">
              <a:rPr lang="ja-JP" altLang="en-US" sz="1000"/>
              <a:pPr marL="0" indent="0" algn="ctr">
                <a:spcBef>
                  <a:spcPct val="0"/>
                </a:spcBef>
                <a:buNone/>
              </a:pPr>
              <a:t>09</a:t>
            </a:fld>
            <a:endParaRPr kumimoji="0" lang="ja-JP" altLang="en-US" sz="1000" dirty="0">
              <a:sym typeface="+mn-lt"/>
            </a:endParaRPr>
          </a:p>
        </p:txBody>
      </p:sp>
      <p:sp>
        <p:nvSpPr>
          <p:cNvPr id="207" name="テキスト プレースホルダ 9"/>
          <p:cNvSpPr>
            <a:spLocks noGrp="1"/>
          </p:cNvSpPr>
          <p:nvPr>
            <p:custDataLst>
              <p:tags r:id="rId37"/>
            </p:custDataLst>
          </p:nvPr>
        </p:nvSpPr>
        <p:spPr bwMode="gray">
          <a:xfrm>
            <a:off x="6229350" y="2790825"/>
            <a:ext cx="34925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CA6469E-C561-4E18-8E48-9C55D55D7085}" type="datetime'''7'''''',''''''''3''''''''''''1''''''''2'''">
              <a:rPr kumimoji="0" lang="ja-JP" altLang="en-US" sz="1000" smtClean="0">
                <a:effectLst/>
              </a:rPr>
              <a:pPr/>
              <a:t>7,312</a:t>
            </a:fld>
            <a:endParaRPr kumimoji="0" lang="ja-JP" altLang="en-US" sz="1000" dirty="0">
              <a:sym typeface="+mn-lt"/>
            </a:endParaRPr>
          </a:p>
        </p:txBody>
      </p:sp>
      <p:sp>
        <p:nvSpPr>
          <p:cNvPr id="226" name="テキスト プレースホルダ 9">
            <a:extLst>
              <a:ext uri="{FF2B5EF4-FFF2-40B4-BE49-F238E27FC236}">
                <a16:creationId xmlns:a16="http://schemas.microsoft.com/office/drawing/2014/main" id="{A6DC2AA4-3B4F-4A58-9CE3-857C4193E27B}"/>
              </a:ext>
            </a:extLst>
          </p:cNvPr>
          <p:cNvSpPr>
            <a:spLocks noGrp="1"/>
          </p:cNvSpPr>
          <p:nvPr>
            <p:custDataLst>
              <p:tags r:id="rId38"/>
            </p:custDataLst>
          </p:nvPr>
        </p:nvSpPr>
        <p:spPr bwMode="gray">
          <a:xfrm>
            <a:off x="5222875" y="2984500"/>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AF3CEAA-B872-43E6-9E97-88157766074D}" type="datetime'''''''''5'''''',''''''''''''9''''''''''4''''''''''9'''''''''">
              <a:rPr kumimoji="0" lang="ja-JP" altLang="en-US" sz="1000" smtClean="0">
                <a:effectLst/>
              </a:rPr>
              <a:pPr/>
              <a:t>5,949</a:t>
            </a:fld>
            <a:endParaRPr kumimoji="0" lang="ja-JP" altLang="en-US" sz="1000" dirty="0">
              <a:sym typeface="+mn-lt"/>
            </a:endParaRPr>
          </a:p>
        </p:txBody>
      </p:sp>
      <p:sp>
        <p:nvSpPr>
          <p:cNvPr id="227" name="テキスト プレースホルダ 9">
            <a:extLst>
              <a:ext uri="{FF2B5EF4-FFF2-40B4-BE49-F238E27FC236}">
                <a16:creationId xmlns:a16="http://schemas.microsoft.com/office/drawing/2014/main" id="{761FA4EE-3F52-4EF1-8AD7-F8D7C4D0225D}"/>
              </a:ext>
            </a:extLst>
          </p:cNvPr>
          <p:cNvSpPr>
            <a:spLocks noGrp="1"/>
          </p:cNvSpPr>
          <p:nvPr>
            <p:custDataLst>
              <p:tags r:id="rId39"/>
            </p:custDataLst>
          </p:nvPr>
        </p:nvSpPr>
        <p:spPr bwMode="gray">
          <a:xfrm>
            <a:off x="5222875" y="3270250"/>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BAB7165-8BAB-46F5-A1AD-178BFA8B1FE2}" type="datetime'''''''3'''''',''''''''''''''''''''''''8''''''5''''2'">
              <a:rPr kumimoji="0" lang="ja-JP" altLang="en-US" sz="1000" smtClean="0">
                <a:effectLst/>
              </a:rPr>
              <a:pPr/>
              <a:t>3,852</a:t>
            </a:fld>
            <a:endParaRPr kumimoji="0" lang="ja-JP" altLang="en-US" sz="1000" dirty="0">
              <a:sym typeface="+mn-lt"/>
            </a:endParaRPr>
          </a:p>
        </p:txBody>
      </p:sp>
      <p:sp>
        <p:nvSpPr>
          <p:cNvPr id="48" name="テキスト プレースホルダ 9"/>
          <p:cNvSpPr>
            <a:spLocks noGrp="1"/>
          </p:cNvSpPr>
          <p:nvPr>
            <p:custDataLst>
              <p:tags r:id="rId40"/>
            </p:custDataLst>
          </p:nvPr>
        </p:nvSpPr>
        <p:spPr bwMode="auto">
          <a:xfrm>
            <a:off x="5321300" y="3679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C796E4-2432-4BCF-9732-A38404E63CA6}" type="datetime'''''''''''''''1''''''''''''''''''''''''2'''''''''''">
              <a:rPr lang="ja-JP" altLang="en-US" sz="1000"/>
              <a:pPr marL="0" indent="0" algn="ctr">
                <a:spcBef>
                  <a:spcPct val="0"/>
                </a:spcBef>
                <a:buNone/>
              </a:pPr>
              <a:t>12</a:t>
            </a:fld>
            <a:endParaRPr kumimoji="0" lang="ja-JP" altLang="en-US" sz="1000" dirty="0">
              <a:sym typeface="+mn-lt"/>
            </a:endParaRPr>
          </a:p>
        </p:txBody>
      </p:sp>
      <p:sp>
        <p:nvSpPr>
          <p:cNvPr id="245" name="テキスト プレースホルダ 9">
            <a:extLst>
              <a:ext uri="{FF2B5EF4-FFF2-40B4-BE49-F238E27FC236}">
                <a16:creationId xmlns:a16="http://schemas.microsoft.com/office/drawing/2014/main" id="{E44EAC56-B00E-4381-974D-F496A17BE762}"/>
              </a:ext>
            </a:extLst>
          </p:cNvPr>
          <p:cNvSpPr>
            <a:spLocks noGrp="1"/>
          </p:cNvSpPr>
          <p:nvPr>
            <p:custDataLst>
              <p:tags r:id="rId41"/>
            </p:custDataLst>
          </p:nvPr>
        </p:nvSpPr>
        <p:spPr bwMode="gray">
          <a:xfrm>
            <a:off x="6899275" y="2709863"/>
            <a:ext cx="34925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52C9F97-5682-4AD3-8468-8C75680BCBB0}" type="datetime'''''8'''''',''''0''''''''''''59'''''''''''">
              <a:rPr kumimoji="0" lang="ja-JP" altLang="en-US" sz="1000" smtClean="0">
                <a:effectLst/>
              </a:rPr>
              <a:pPr/>
              <a:t>8,059</a:t>
            </a:fld>
            <a:endParaRPr kumimoji="0" lang="ja-JP" altLang="en-US" sz="1000" dirty="0">
              <a:sym typeface="+mn-lt"/>
            </a:endParaRPr>
          </a:p>
        </p:txBody>
      </p:sp>
      <p:sp>
        <p:nvSpPr>
          <p:cNvPr id="229" name="テキスト プレースホルダ 9">
            <a:extLst>
              <a:ext uri="{FF2B5EF4-FFF2-40B4-BE49-F238E27FC236}">
                <a16:creationId xmlns:a16="http://schemas.microsoft.com/office/drawing/2014/main" id="{EA01AD25-5864-4E76-9031-D7D32E8ED6E6}"/>
              </a:ext>
            </a:extLst>
          </p:cNvPr>
          <p:cNvSpPr>
            <a:spLocks noGrp="1"/>
          </p:cNvSpPr>
          <p:nvPr>
            <p:custDataLst>
              <p:tags r:id="rId42"/>
            </p:custDataLst>
          </p:nvPr>
        </p:nvSpPr>
        <p:spPr bwMode="gray">
          <a:xfrm>
            <a:off x="5559425" y="3244850"/>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F58FA7B-744F-4ACF-A7A7-FABD18099DFC}" type="datetime'''''''''''''''''''''''''''''4'''''''''''',7''4''''''''''5'">
              <a:rPr kumimoji="0" lang="ja-JP" altLang="en-US" sz="1000" smtClean="0">
                <a:effectLst/>
              </a:rPr>
              <a:pPr/>
              <a:t>4,745</a:t>
            </a:fld>
            <a:endParaRPr kumimoji="0" lang="ja-JP" altLang="en-US" sz="1000" dirty="0">
              <a:sym typeface="+mn-lt"/>
            </a:endParaRPr>
          </a:p>
        </p:txBody>
      </p:sp>
      <p:sp>
        <p:nvSpPr>
          <p:cNvPr id="49" name="テキスト プレースホルダ 9"/>
          <p:cNvSpPr>
            <a:spLocks noGrp="1"/>
          </p:cNvSpPr>
          <p:nvPr>
            <p:custDataLst>
              <p:tags r:id="rId43"/>
            </p:custDataLst>
          </p:nvPr>
        </p:nvSpPr>
        <p:spPr bwMode="auto">
          <a:xfrm>
            <a:off x="5657850" y="3679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79528D-8021-4B73-8EEE-4EE17AFBB89B}" type="datetime'''''''''''''''''''''''''''''''1''''''3'''''''''''''''''''''''">
              <a:rPr lang="ja-JP" altLang="en-US" sz="1000"/>
              <a:pPr marL="0" indent="0" algn="ctr">
                <a:spcBef>
                  <a:spcPct val="0"/>
                </a:spcBef>
                <a:buNone/>
              </a:pPr>
              <a:t>13</a:t>
            </a:fld>
            <a:endParaRPr kumimoji="0" lang="ja-JP" altLang="en-US" sz="1000" dirty="0">
              <a:sym typeface="+mn-lt"/>
            </a:endParaRPr>
          </a:p>
        </p:txBody>
      </p:sp>
      <p:sp>
        <p:nvSpPr>
          <p:cNvPr id="152" name="テキスト プレースホルダ 9"/>
          <p:cNvSpPr>
            <a:spLocks noGrp="1"/>
          </p:cNvSpPr>
          <p:nvPr>
            <p:custDataLst>
              <p:tags r:id="rId44"/>
            </p:custDataLst>
          </p:nvPr>
        </p:nvSpPr>
        <p:spPr bwMode="gray">
          <a:xfrm>
            <a:off x="5894388" y="2857500"/>
            <a:ext cx="34925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B4659DC-E8B4-4AEB-8F3C-F9E5F037B5A7}" type="datetime'''''''''''6'''''''''''''''',8''''''''''29'">
              <a:rPr kumimoji="0" lang="ja-JP" altLang="en-US" sz="1000" smtClean="0">
                <a:effectLst/>
              </a:rPr>
              <a:pPr/>
              <a:t>6,829</a:t>
            </a:fld>
            <a:endParaRPr kumimoji="0" lang="ja-JP" altLang="en-US" sz="1000" dirty="0">
              <a:sym typeface="+mn-lt"/>
            </a:endParaRPr>
          </a:p>
        </p:txBody>
      </p:sp>
      <p:sp>
        <p:nvSpPr>
          <p:cNvPr id="50" name="テキスト プレースホルダ 9"/>
          <p:cNvSpPr>
            <a:spLocks noGrp="1"/>
          </p:cNvSpPr>
          <p:nvPr>
            <p:custDataLst>
              <p:tags r:id="rId45"/>
            </p:custDataLst>
          </p:nvPr>
        </p:nvSpPr>
        <p:spPr bwMode="auto">
          <a:xfrm>
            <a:off x="5992813" y="3679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1364D4-AECD-4208-818B-E1018752E322}" type="datetime'''''1''''4'''''''''''''''''''''''''''">
              <a:rPr lang="ja-JP" altLang="en-US" sz="1000"/>
              <a:pPr marL="0" indent="0" algn="ctr">
                <a:spcBef>
                  <a:spcPct val="0"/>
                </a:spcBef>
                <a:buNone/>
              </a:pPr>
              <a:t>14</a:t>
            </a:fld>
            <a:endParaRPr kumimoji="0" lang="ja-JP" altLang="en-US" sz="1000" dirty="0">
              <a:sym typeface="+mn-lt"/>
            </a:endParaRPr>
          </a:p>
        </p:txBody>
      </p:sp>
      <p:sp>
        <p:nvSpPr>
          <p:cNvPr id="153" name="テキスト プレースホルダ 9"/>
          <p:cNvSpPr>
            <a:spLocks noGrp="1"/>
          </p:cNvSpPr>
          <p:nvPr>
            <p:custDataLst>
              <p:tags r:id="rId46"/>
            </p:custDataLst>
          </p:nvPr>
        </p:nvSpPr>
        <p:spPr bwMode="gray">
          <a:xfrm>
            <a:off x="6229350" y="3192463"/>
            <a:ext cx="349250"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576C1E7-8550-4F88-BF3C-83CCAA9342AE}" type="datetime'''''''''''''''''''''''''''''''''''''''6'''''''''''',5''05'''''">
              <a:rPr kumimoji="0" lang="ja-JP" altLang="en-US" sz="1000" smtClean="0">
                <a:effectLst/>
              </a:rPr>
              <a:pPr/>
              <a:t>6,505</a:t>
            </a:fld>
            <a:endParaRPr kumimoji="0" lang="ja-JP" altLang="en-US" sz="1000" dirty="0">
              <a:sym typeface="+mn-lt"/>
            </a:endParaRPr>
          </a:p>
        </p:txBody>
      </p:sp>
      <p:sp>
        <p:nvSpPr>
          <p:cNvPr id="51" name="テキスト プレースホルダ 9"/>
          <p:cNvSpPr>
            <a:spLocks noGrp="1"/>
          </p:cNvSpPr>
          <p:nvPr>
            <p:custDataLst>
              <p:tags r:id="rId47"/>
            </p:custDataLst>
          </p:nvPr>
        </p:nvSpPr>
        <p:spPr bwMode="auto">
          <a:xfrm>
            <a:off x="6327775" y="3679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FF816B-DF2B-4467-B4D6-E236002F0422}" type="datetime'''''''''''''''''''1''''''''''''''''''''''''''''''''''''5'">
              <a:rPr lang="ja-JP" altLang="en-US" sz="1000"/>
              <a:pPr marL="0" indent="0" algn="ctr">
                <a:spcBef>
                  <a:spcPct val="0"/>
                </a:spcBef>
                <a:buNone/>
              </a:pPr>
              <a:t>15</a:t>
            </a:fld>
            <a:endParaRPr kumimoji="0" lang="ja-JP" altLang="en-US" sz="1000" dirty="0">
              <a:sym typeface="+mn-lt"/>
            </a:endParaRPr>
          </a:p>
        </p:txBody>
      </p:sp>
      <p:sp>
        <p:nvSpPr>
          <p:cNvPr id="243" name="テキスト プレースホルダ 9">
            <a:extLst>
              <a:ext uri="{FF2B5EF4-FFF2-40B4-BE49-F238E27FC236}">
                <a16:creationId xmlns:a16="http://schemas.microsoft.com/office/drawing/2014/main" id="{7CA8D518-6A3E-4078-8104-DDAD4DE163C0}"/>
              </a:ext>
            </a:extLst>
          </p:cNvPr>
          <p:cNvSpPr>
            <a:spLocks noGrp="1"/>
          </p:cNvSpPr>
          <p:nvPr>
            <p:custDataLst>
              <p:tags r:id="rId48"/>
            </p:custDataLst>
          </p:nvPr>
        </p:nvSpPr>
        <p:spPr bwMode="gray">
          <a:xfrm>
            <a:off x="6564313" y="2738438"/>
            <a:ext cx="34925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87E9C7A-9DA7-4AEF-A8F4-F2F7DADCD489}" type="datetime'''''''''''''''''7'''''''''''''''''''''',''8''9''''''8'''''">
              <a:rPr kumimoji="0" lang="ja-JP" altLang="en-US" sz="1000" smtClean="0">
                <a:effectLst/>
              </a:rPr>
              <a:pPr/>
              <a:t>7,898</a:t>
            </a:fld>
            <a:endParaRPr kumimoji="0" lang="ja-JP" altLang="en-US" sz="1000" dirty="0">
              <a:sym typeface="+mn-lt"/>
            </a:endParaRPr>
          </a:p>
        </p:txBody>
      </p:sp>
      <p:sp>
        <p:nvSpPr>
          <p:cNvPr id="246" name="テキスト プレースホルダ 9">
            <a:extLst>
              <a:ext uri="{FF2B5EF4-FFF2-40B4-BE49-F238E27FC236}">
                <a16:creationId xmlns:a16="http://schemas.microsoft.com/office/drawing/2014/main" id="{B2EE828E-3CCE-420E-96AD-84D1A9A88D0F}"/>
              </a:ext>
            </a:extLst>
          </p:cNvPr>
          <p:cNvSpPr>
            <a:spLocks noGrp="1"/>
          </p:cNvSpPr>
          <p:nvPr>
            <p:custDataLst>
              <p:tags r:id="rId49"/>
            </p:custDataLst>
          </p:nvPr>
        </p:nvSpPr>
        <p:spPr bwMode="gray">
          <a:xfrm>
            <a:off x="7235825" y="3162300"/>
            <a:ext cx="349250"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396A0D4-ED3C-4E5E-8597-F73DC967B200}" type="datetime'''''''7'''''''''''''''''',''''''''54''''''''''''''''''7'''''">
              <a:rPr kumimoji="0" lang="ja-JP" altLang="en-US" sz="1000" smtClean="0">
                <a:effectLst/>
              </a:rPr>
              <a:pPr/>
              <a:t>7,547</a:t>
            </a:fld>
            <a:endParaRPr kumimoji="0" lang="ja-JP" altLang="en-US" sz="1000" dirty="0">
              <a:sym typeface="+mn-lt"/>
            </a:endParaRPr>
          </a:p>
        </p:txBody>
      </p:sp>
      <p:sp>
        <p:nvSpPr>
          <p:cNvPr id="242" name="テキスト プレースホルダ 9">
            <a:extLst>
              <a:ext uri="{FF2B5EF4-FFF2-40B4-BE49-F238E27FC236}">
                <a16:creationId xmlns:a16="http://schemas.microsoft.com/office/drawing/2014/main" id="{B8D32226-9CF3-4A89-8E21-51C1E9BAF2E2}"/>
              </a:ext>
            </a:extLst>
          </p:cNvPr>
          <p:cNvSpPr>
            <a:spLocks noGrp="1"/>
          </p:cNvSpPr>
          <p:nvPr>
            <p:custDataLst>
              <p:tags r:id="rId50"/>
            </p:custDataLst>
          </p:nvPr>
        </p:nvSpPr>
        <p:spPr bwMode="gray">
          <a:xfrm>
            <a:off x="6564313" y="3175000"/>
            <a:ext cx="349250"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8796DB8-1052-4F6A-88D3-8A42ACE40A3B}" type="datetime'''''''''''''''''''''''7'''''''',''''1''''0''1'''''''">
              <a:rPr kumimoji="0" lang="ja-JP" altLang="en-US" sz="1000" smtClean="0">
                <a:effectLst/>
              </a:rPr>
              <a:pPr/>
              <a:t>7,101</a:t>
            </a:fld>
            <a:endParaRPr kumimoji="0" lang="ja-JP" altLang="en-US" sz="1000" dirty="0">
              <a:sym typeface="+mn-lt"/>
            </a:endParaRPr>
          </a:p>
        </p:txBody>
      </p:sp>
      <p:sp>
        <p:nvSpPr>
          <p:cNvPr id="209" name="テキスト プレースホルダ 9">
            <a:extLst>
              <a:ext uri="{FF2B5EF4-FFF2-40B4-BE49-F238E27FC236}">
                <a16:creationId xmlns:a16="http://schemas.microsoft.com/office/drawing/2014/main" id="{6088DAC3-1046-483C-8ADB-A69914F97BBE}"/>
              </a:ext>
            </a:extLst>
          </p:cNvPr>
          <p:cNvSpPr>
            <a:spLocks noGrp="1"/>
          </p:cNvSpPr>
          <p:nvPr>
            <p:custDataLst>
              <p:tags r:id="rId51"/>
            </p:custDataLst>
          </p:nvPr>
        </p:nvSpPr>
        <p:spPr bwMode="gray">
          <a:xfrm>
            <a:off x="3883025" y="3087688"/>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6101AB2-2B7C-4A07-BE69-CDEC4F6FFD8B}" type="datetime'''''''4'''''',''''''''''''''''''''''''''''6''3''1'''''''''''">
              <a:rPr lang="ja-JP" altLang="en-US" sz="1000" smtClean="0">
                <a:effectLst/>
                <a:sym typeface="+mn-lt"/>
              </a:rPr>
              <a:pPr marL="0" indent="0" algn="ctr">
                <a:spcBef>
                  <a:spcPct val="0"/>
                </a:spcBef>
                <a:buNone/>
              </a:pPr>
              <a:t>4,631</a:t>
            </a:fld>
            <a:endParaRPr lang="ja-JP" altLang="en-US" sz="1000" dirty="0">
              <a:sym typeface="+mn-lt"/>
            </a:endParaRPr>
          </a:p>
        </p:txBody>
      </p:sp>
      <p:sp>
        <p:nvSpPr>
          <p:cNvPr id="104" name="テキスト プレースホルダ 9"/>
          <p:cNvSpPr>
            <a:spLocks noGrp="1"/>
          </p:cNvSpPr>
          <p:nvPr>
            <p:custDataLst>
              <p:tags r:id="rId52"/>
            </p:custDataLst>
          </p:nvPr>
        </p:nvSpPr>
        <p:spPr bwMode="gray">
          <a:xfrm>
            <a:off x="2206624" y="2941638"/>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72F8580-1370-43AD-9F80-F0540FC76F4D}" type="datetime'''''''''5,''8''''''''''''4''3'''''''''''''''''''''''">
              <a:rPr lang="ja-JP" altLang="en-US" sz="1000" smtClean="0"/>
              <a:pPr/>
              <a:t>5,843</a:t>
            </a:fld>
            <a:endParaRPr kumimoji="0" lang="ja-JP" altLang="en-US" sz="1000" dirty="0">
              <a:sym typeface="+mn-lt"/>
            </a:endParaRPr>
          </a:p>
        </p:txBody>
      </p:sp>
      <p:sp>
        <p:nvSpPr>
          <p:cNvPr id="181" name="テキスト プレースホルダ 9">
            <a:extLst>
              <a:ext uri="{FF2B5EF4-FFF2-40B4-BE49-F238E27FC236}">
                <a16:creationId xmlns:a16="http://schemas.microsoft.com/office/drawing/2014/main" id="{D009BDB0-51B4-4791-AD99-0180C6CCE8F6}"/>
              </a:ext>
            </a:extLst>
          </p:cNvPr>
          <p:cNvSpPr>
            <a:spLocks noGrp="1"/>
          </p:cNvSpPr>
          <p:nvPr>
            <p:custDataLst>
              <p:tags r:id="rId53"/>
            </p:custDataLst>
          </p:nvPr>
        </p:nvSpPr>
        <p:spPr bwMode="gray">
          <a:xfrm>
            <a:off x="3211513" y="3144838"/>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8E45B50-DB32-4CA6-AB62-0C6E18123B10}" type="datetime'''''''''''''''''''''4,0''3''''''''''''''7'''">
              <a:rPr lang="ja-JP" altLang="en-US" sz="1000" smtClean="0">
                <a:effectLst/>
                <a:sym typeface="+mn-lt"/>
              </a:rPr>
              <a:pPr marL="0" indent="0" algn="ctr">
                <a:spcBef>
                  <a:spcPct val="0"/>
                </a:spcBef>
                <a:buNone/>
              </a:pPr>
              <a:t>4,037</a:t>
            </a:fld>
            <a:endParaRPr lang="ja-JP" altLang="en-US" sz="1000" dirty="0">
              <a:sym typeface="+mn-lt"/>
            </a:endParaRPr>
          </a:p>
        </p:txBody>
      </p:sp>
      <p:sp>
        <p:nvSpPr>
          <p:cNvPr id="111" name="テキスト プレースホルダ 9"/>
          <p:cNvSpPr>
            <a:spLocks noGrp="1"/>
          </p:cNvSpPr>
          <p:nvPr>
            <p:custDataLst>
              <p:tags r:id="rId54"/>
            </p:custDataLst>
          </p:nvPr>
        </p:nvSpPr>
        <p:spPr bwMode="gray">
          <a:xfrm>
            <a:off x="1870074" y="2978150"/>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E7CCFA8-A6E6-4A13-8D3D-13882D5833EB}" type="datetime'5'',20''''''''''5'''''''''''''''''''''">
              <a:rPr lang="ja-JP" altLang="en-US" sz="1000" smtClean="0"/>
              <a:pPr/>
              <a:t>5,205</a:t>
            </a:fld>
            <a:endParaRPr kumimoji="0" lang="ja-JP" altLang="en-US" sz="1000" dirty="0">
              <a:sym typeface="+mn-lt"/>
            </a:endParaRPr>
          </a:p>
        </p:txBody>
      </p:sp>
      <p:sp>
        <p:nvSpPr>
          <p:cNvPr id="244" name="テキスト プレースホルダ 9">
            <a:extLst>
              <a:ext uri="{FF2B5EF4-FFF2-40B4-BE49-F238E27FC236}">
                <a16:creationId xmlns:a16="http://schemas.microsoft.com/office/drawing/2014/main" id="{0AB8DFC5-B918-4298-8DC5-0204E08642C6}"/>
              </a:ext>
            </a:extLst>
          </p:cNvPr>
          <p:cNvSpPr>
            <a:spLocks noGrp="1"/>
          </p:cNvSpPr>
          <p:nvPr>
            <p:custDataLst>
              <p:tags r:id="rId55"/>
            </p:custDataLst>
          </p:nvPr>
        </p:nvSpPr>
        <p:spPr bwMode="gray">
          <a:xfrm>
            <a:off x="6899275" y="3163888"/>
            <a:ext cx="349250"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3A7B693-89E5-4AA3-83FC-344B0F5E76B9}" type="datetime'7'''''',''''''''''''''''5''''''''''''1''''''''''''''9'">
              <a:rPr kumimoji="0" lang="ja-JP" altLang="en-US" sz="1000" smtClean="0">
                <a:effectLst/>
              </a:rPr>
              <a:pPr/>
              <a:t>7,519</a:t>
            </a:fld>
            <a:endParaRPr kumimoji="0" lang="ja-JP" altLang="en-US" sz="1000" dirty="0">
              <a:sym typeface="+mn-lt"/>
            </a:endParaRPr>
          </a:p>
        </p:txBody>
      </p:sp>
      <p:sp>
        <p:nvSpPr>
          <p:cNvPr id="151" name="テキスト プレースホルダ 9">
            <a:extLst>
              <a:ext uri="{FF2B5EF4-FFF2-40B4-BE49-F238E27FC236}">
                <a16:creationId xmlns:a16="http://schemas.microsoft.com/office/drawing/2014/main" id="{7F95BCE0-1B00-49D3-B2FD-2DE9FBAF46BD}"/>
              </a:ext>
            </a:extLst>
          </p:cNvPr>
          <p:cNvSpPr>
            <a:spLocks noGrp="1"/>
          </p:cNvSpPr>
          <p:nvPr>
            <p:custDataLst>
              <p:tags r:id="rId56"/>
            </p:custDataLst>
          </p:nvPr>
        </p:nvSpPr>
        <p:spPr bwMode="auto">
          <a:xfrm>
            <a:off x="7334250" y="3679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BAEA316-9F55-4665-9C8B-238AD42A9D7F}" type="datetime'''''''''''''''''''1''''''''''''''''''''''''''''''''8'''''''''">
              <a:rPr kumimoji="0" lang="ja-JP" altLang="en-US" sz="1000" smtClean="0"/>
              <a:pPr/>
              <a:t>18</a:t>
            </a:fld>
            <a:endParaRPr kumimoji="0" lang="ja-JP" altLang="en-US" sz="1000" dirty="0">
              <a:sym typeface="+mn-lt"/>
            </a:endParaRPr>
          </a:p>
        </p:txBody>
      </p:sp>
      <p:sp>
        <p:nvSpPr>
          <p:cNvPr id="150" name="テキスト プレースホルダ 9">
            <a:extLst>
              <a:ext uri="{FF2B5EF4-FFF2-40B4-BE49-F238E27FC236}">
                <a16:creationId xmlns:a16="http://schemas.microsoft.com/office/drawing/2014/main" id="{88660221-B7E5-428A-BAA6-044448B84826}"/>
              </a:ext>
            </a:extLst>
          </p:cNvPr>
          <p:cNvSpPr>
            <a:spLocks noGrp="1"/>
          </p:cNvSpPr>
          <p:nvPr>
            <p:custDataLst>
              <p:tags r:id="rId57"/>
            </p:custDataLst>
          </p:nvPr>
        </p:nvSpPr>
        <p:spPr bwMode="auto">
          <a:xfrm>
            <a:off x="6997700" y="3679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474FF42-0C06-4D62-9266-3AA8272CD9C7}" type="datetime'''''''''''''''''''''''17'''''''''''''''''''''">
              <a:rPr kumimoji="0" lang="ja-JP" altLang="en-US" sz="1000" smtClean="0"/>
              <a:pPr/>
              <a:t>17</a:t>
            </a:fld>
            <a:endParaRPr kumimoji="0" lang="ja-JP" altLang="en-US" sz="1000" dirty="0">
              <a:sym typeface="+mn-lt"/>
            </a:endParaRPr>
          </a:p>
        </p:txBody>
      </p:sp>
      <p:sp>
        <p:nvSpPr>
          <p:cNvPr id="247" name="テキスト プレースホルダ 9">
            <a:extLst>
              <a:ext uri="{FF2B5EF4-FFF2-40B4-BE49-F238E27FC236}">
                <a16:creationId xmlns:a16="http://schemas.microsoft.com/office/drawing/2014/main" id="{6BCDC032-6212-4EC7-9115-801A2A48057C}"/>
              </a:ext>
            </a:extLst>
          </p:cNvPr>
          <p:cNvSpPr>
            <a:spLocks noGrp="1"/>
          </p:cNvSpPr>
          <p:nvPr>
            <p:custDataLst>
              <p:tags r:id="rId58"/>
            </p:custDataLst>
          </p:nvPr>
        </p:nvSpPr>
        <p:spPr bwMode="gray">
          <a:xfrm>
            <a:off x="7235825" y="2722563"/>
            <a:ext cx="34925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1E8A25-6E11-4ECB-8F8B-B93D3E03D545}" type="datetime'''''''''''''''''''''''''''''7'',5''4''''''''''''''''''5'">
              <a:rPr kumimoji="0" lang="ja-JP" altLang="en-US" sz="1000" smtClean="0">
                <a:effectLst/>
              </a:rPr>
              <a:pPr/>
              <a:t>7,545</a:t>
            </a:fld>
            <a:endParaRPr kumimoji="0" lang="ja-JP" altLang="en-US" sz="1000" dirty="0">
              <a:sym typeface="+mn-lt"/>
            </a:endParaRPr>
          </a:p>
        </p:txBody>
      </p:sp>
      <p:sp>
        <p:nvSpPr>
          <p:cNvPr id="105" name="テキスト プレースホルダ 9"/>
          <p:cNvSpPr>
            <a:spLocks noGrp="1"/>
          </p:cNvSpPr>
          <p:nvPr>
            <p:custDataLst>
              <p:tags r:id="rId59"/>
            </p:custDataLst>
          </p:nvPr>
        </p:nvSpPr>
        <p:spPr bwMode="gray">
          <a:xfrm>
            <a:off x="2541587" y="2954338"/>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429EFCB-4C4E-448A-BFE5-54CF54B096E4}" type="datetime'''''''5'''''',''''''''6''''''''0''4'''''''">
              <a:rPr lang="ja-JP" altLang="en-US" sz="1000" smtClean="0"/>
              <a:pPr/>
              <a:t>5,604</a:t>
            </a:fld>
            <a:endParaRPr kumimoji="0" lang="ja-JP" altLang="en-US" sz="1000" dirty="0">
              <a:sym typeface="+mn-lt"/>
            </a:endParaRPr>
          </a:p>
        </p:txBody>
      </p:sp>
      <p:sp>
        <p:nvSpPr>
          <p:cNvPr id="106" name="テキスト プレースホルダ 9"/>
          <p:cNvSpPr>
            <a:spLocks noGrp="1"/>
          </p:cNvSpPr>
          <p:nvPr>
            <p:custDataLst>
              <p:tags r:id="rId60"/>
            </p:custDataLst>
          </p:nvPr>
        </p:nvSpPr>
        <p:spPr bwMode="gray">
          <a:xfrm>
            <a:off x="2876549" y="2943225"/>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206D08-1E60-4ED3-B503-120A6C90BA0C}" type="datetime'''''''5'',''''''''''''''''''7''''9''''''''''''4'''''''">
              <a:rPr lang="ja-JP" altLang="en-US" sz="1000" smtClean="0"/>
              <a:pPr/>
              <a:t>5,794</a:t>
            </a:fld>
            <a:endParaRPr kumimoji="0" lang="ja-JP" altLang="en-US" sz="1000" dirty="0">
              <a:sym typeface="+mn-lt"/>
            </a:endParaRPr>
          </a:p>
        </p:txBody>
      </p:sp>
      <p:sp>
        <p:nvSpPr>
          <p:cNvPr id="107" name="テキスト プレースホルダ 9"/>
          <p:cNvSpPr>
            <a:spLocks noGrp="1"/>
          </p:cNvSpPr>
          <p:nvPr>
            <p:custDataLst>
              <p:tags r:id="rId61"/>
            </p:custDataLst>
          </p:nvPr>
        </p:nvSpPr>
        <p:spPr bwMode="gray">
          <a:xfrm>
            <a:off x="3211513" y="2925763"/>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A69E717-CD78-40ED-B593-3DA8F5359E03}" type="datetime'''''''''''''''''''''''''''''''''''6,''''''''1''''''''''10'''">
              <a:rPr lang="ja-JP" altLang="en-US" sz="1000" smtClean="0"/>
              <a:pPr/>
              <a:t>6,110</a:t>
            </a:fld>
            <a:endParaRPr kumimoji="0" lang="ja-JP" altLang="en-US" sz="1000" dirty="0">
              <a:sym typeface="+mn-lt"/>
            </a:endParaRPr>
          </a:p>
        </p:txBody>
      </p:sp>
      <p:sp>
        <p:nvSpPr>
          <p:cNvPr id="108" name="テキスト プレースホルダ 9"/>
          <p:cNvSpPr>
            <a:spLocks noGrp="1"/>
          </p:cNvSpPr>
          <p:nvPr>
            <p:custDataLst>
              <p:tags r:id="rId62"/>
            </p:custDataLst>
          </p:nvPr>
        </p:nvSpPr>
        <p:spPr bwMode="gray">
          <a:xfrm>
            <a:off x="3546475" y="2906713"/>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DB4197-F3D6-4ED9-B44F-57866514970A}" type="datetime'''''''''''''''''''6'''''''''''',''''4''''''''''''4''''''''''0'">
              <a:rPr lang="ja-JP" altLang="en-US" sz="1000" smtClean="0"/>
              <a:pPr/>
              <a:t>6,440</a:t>
            </a:fld>
            <a:endParaRPr kumimoji="0" lang="ja-JP" altLang="en-US" sz="1000" dirty="0">
              <a:sym typeface="+mn-lt"/>
            </a:endParaRPr>
          </a:p>
        </p:txBody>
      </p:sp>
      <p:sp>
        <p:nvSpPr>
          <p:cNvPr id="109" name="テキスト プレースホルダ 9"/>
          <p:cNvSpPr>
            <a:spLocks noGrp="1"/>
          </p:cNvSpPr>
          <p:nvPr>
            <p:custDataLst>
              <p:tags r:id="rId63"/>
            </p:custDataLst>
          </p:nvPr>
        </p:nvSpPr>
        <p:spPr bwMode="gray">
          <a:xfrm>
            <a:off x="3883025" y="2851150"/>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070985B-C741-4ADF-AB22-6AC9B172690C}" type="datetime'''''''''''''''''7'''',''''''''''3''''''''''8''''''''7'''''''">
              <a:rPr lang="ja-JP" altLang="en-US" sz="1000" smtClean="0"/>
              <a:pPr/>
              <a:t>7,387</a:t>
            </a:fld>
            <a:endParaRPr kumimoji="0" lang="ja-JP" altLang="en-US" sz="1000" dirty="0">
              <a:sym typeface="+mn-lt"/>
            </a:endParaRPr>
          </a:p>
        </p:txBody>
      </p:sp>
      <p:sp>
        <p:nvSpPr>
          <p:cNvPr id="110" name="テキスト プレースホルダ 9"/>
          <p:cNvSpPr>
            <a:spLocks noGrp="1"/>
          </p:cNvSpPr>
          <p:nvPr>
            <p:custDataLst>
              <p:tags r:id="rId64"/>
            </p:custDataLst>
          </p:nvPr>
        </p:nvSpPr>
        <p:spPr bwMode="gray">
          <a:xfrm>
            <a:off x="4217988" y="2822575"/>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E911CA3-BCF4-4A22-9260-136CE4B05CD8}" type="datetime'''''7'''''''',8''''''''''6''''''''''''''''''''''8'">
              <a:rPr lang="ja-JP" altLang="en-US" sz="1000" smtClean="0"/>
              <a:pPr/>
              <a:t>7,868</a:t>
            </a:fld>
            <a:endParaRPr kumimoji="0" lang="ja-JP" altLang="en-US" sz="1000" dirty="0">
              <a:sym typeface="+mn-lt"/>
            </a:endParaRPr>
          </a:p>
        </p:txBody>
      </p:sp>
      <p:sp>
        <p:nvSpPr>
          <p:cNvPr id="117" name="テキスト プレースホルダ 9"/>
          <p:cNvSpPr>
            <a:spLocks noGrp="1"/>
          </p:cNvSpPr>
          <p:nvPr>
            <p:custDataLst>
              <p:tags r:id="rId65"/>
            </p:custDataLst>
          </p:nvPr>
        </p:nvSpPr>
        <p:spPr bwMode="gray">
          <a:xfrm>
            <a:off x="4552950" y="2787650"/>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41B5669-AA52-436F-9AC7-5D9318B5A152}" type="datetime'''''''8'',''''''''''''''''4''''''9''''1'''''''''''''''''''">
              <a:rPr lang="ja-JP" altLang="en-US" sz="1000" smtClean="0"/>
              <a:pPr/>
              <a:t>8,491</a:t>
            </a:fld>
            <a:endParaRPr kumimoji="0" lang="ja-JP" altLang="en-US" sz="1000" dirty="0">
              <a:sym typeface="+mn-lt"/>
            </a:endParaRPr>
          </a:p>
        </p:txBody>
      </p:sp>
      <p:sp>
        <p:nvSpPr>
          <p:cNvPr id="177" name="テキスト プレースホルダ 9">
            <a:extLst>
              <a:ext uri="{FF2B5EF4-FFF2-40B4-BE49-F238E27FC236}">
                <a16:creationId xmlns:a16="http://schemas.microsoft.com/office/drawing/2014/main" id="{1D06E1EF-397E-47F3-9670-47E3D9A6C9FC}"/>
              </a:ext>
            </a:extLst>
          </p:cNvPr>
          <p:cNvSpPr>
            <a:spLocks noGrp="1"/>
          </p:cNvSpPr>
          <p:nvPr>
            <p:custDataLst>
              <p:tags r:id="rId66"/>
            </p:custDataLst>
          </p:nvPr>
        </p:nvSpPr>
        <p:spPr bwMode="gray">
          <a:xfrm>
            <a:off x="1870075" y="3182938"/>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430725-CF1E-48B0-A8C4-DC84086E7560}" type="datetime'''''''''3'''''''''''',''''''''5''''''''''''74'''''''''''''''">
              <a:rPr lang="ja-JP" altLang="en-US" sz="1000" smtClean="0">
                <a:effectLst/>
                <a:sym typeface="+mn-lt"/>
              </a:rPr>
              <a:pPr marL="0" indent="0" algn="ctr">
                <a:spcBef>
                  <a:spcPct val="0"/>
                </a:spcBef>
                <a:buNone/>
              </a:pPr>
              <a:t>3,574</a:t>
            </a:fld>
            <a:endParaRPr lang="ja-JP" altLang="en-US" sz="1000" dirty="0">
              <a:sym typeface="+mn-lt"/>
            </a:endParaRPr>
          </a:p>
        </p:txBody>
      </p:sp>
      <p:sp>
        <p:nvSpPr>
          <p:cNvPr id="112" name="テキスト プレースホルダ 9"/>
          <p:cNvSpPr>
            <a:spLocks noGrp="1"/>
          </p:cNvSpPr>
          <p:nvPr>
            <p:custDataLst>
              <p:tags r:id="rId67"/>
            </p:custDataLst>
          </p:nvPr>
        </p:nvSpPr>
        <p:spPr bwMode="gray">
          <a:xfrm>
            <a:off x="4887913" y="2762250"/>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8AB6C12-93FC-46F1-98B9-BC71295A215E}" type="datetime'''''''''''''''''''''8'''''''',''9''''''0''''3'''''">
              <a:rPr lang="ja-JP" altLang="en-US" sz="1000" smtClean="0"/>
              <a:pPr/>
              <a:t>8,903</a:t>
            </a:fld>
            <a:endParaRPr kumimoji="0" lang="ja-JP" altLang="en-US" sz="1000" dirty="0">
              <a:sym typeface="+mn-lt"/>
            </a:endParaRPr>
          </a:p>
        </p:txBody>
      </p:sp>
      <p:sp>
        <p:nvSpPr>
          <p:cNvPr id="114" name="テキスト プレースホルダ 9"/>
          <p:cNvSpPr>
            <a:spLocks noGrp="1"/>
          </p:cNvSpPr>
          <p:nvPr>
            <p:custDataLst>
              <p:tags r:id="rId68"/>
            </p:custDataLst>
          </p:nvPr>
        </p:nvSpPr>
        <p:spPr bwMode="gray">
          <a:xfrm>
            <a:off x="5559425" y="2619375"/>
            <a:ext cx="419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6F6098E-02C8-4862-9ABC-D1B32D558CE8}" type="datetime'''11'''''''',''3''7''''''''''''''''''''''''''9'''''''''''">
              <a:rPr lang="ja-JP" altLang="en-US" sz="1000" smtClean="0"/>
              <a:pPr/>
              <a:t>11,379</a:t>
            </a:fld>
            <a:endParaRPr kumimoji="0" lang="ja-JP" altLang="en-US" sz="1000" dirty="0">
              <a:sym typeface="+mn-lt"/>
            </a:endParaRPr>
          </a:p>
        </p:txBody>
      </p:sp>
      <p:sp>
        <p:nvSpPr>
          <p:cNvPr id="115" name="テキスト プレースホルダ 9"/>
          <p:cNvSpPr>
            <a:spLocks noGrp="1"/>
          </p:cNvSpPr>
          <p:nvPr>
            <p:custDataLst>
              <p:tags r:id="rId69"/>
            </p:custDataLst>
          </p:nvPr>
        </p:nvSpPr>
        <p:spPr bwMode="gray">
          <a:xfrm>
            <a:off x="5765800" y="2466975"/>
            <a:ext cx="419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AF76DE2-8E8D-4E4C-98CE-DE97598128BE}" type="datetime'12'''''''''''',''4''''''''''''''''''2''''''4'''''''''''''">
              <a:rPr lang="ja-JP" altLang="en-US" sz="1000" smtClean="0"/>
              <a:pPr/>
              <a:t>12,424</a:t>
            </a:fld>
            <a:endParaRPr kumimoji="0" lang="ja-JP" altLang="en-US" sz="1000" dirty="0">
              <a:sym typeface="+mn-lt"/>
            </a:endParaRPr>
          </a:p>
        </p:txBody>
      </p:sp>
      <p:sp>
        <p:nvSpPr>
          <p:cNvPr id="116" name="テキスト プレースホルダ 9"/>
          <p:cNvSpPr>
            <a:spLocks noGrp="1"/>
          </p:cNvSpPr>
          <p:nvPr>
            <p:custDataLst>
              <p:tags r:id="rId70"/>
            </p:custDataLst>
          </p:nvPr>
        </p:nvSpPr>
        <p:spPr bwMode="gray">
          <a:xfrm>
            <a:off x="6194425" y="2476500"/>
            <a:ext cx="419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750046-02D8-476D-8666-8A433E21B105}" type="datetime'''''''''''''''1''3'''''',8''1''''7'''''">
              <a:rPr lang="ja-JP" altLang="en-US" sz="1000" smtClean="0"/>
              <a:pPr/>
              <a:t>13,817</a:t>
            </a:fld>
            <a:endParaRPr kumimoji="0" lang="ja-JP" altLang="en-US" sz="1000" dirty="0">
              <a:sym typeface="+mn-lt"/>
            </a:endParaRPr>
          </a:p>
        </p:txBody>
      </p:sp>
      <p:sp>
        <p:nvSpPr>
          <p:cNvPr id="248" name="テキスト プレースホルダ 9">
            <a:extLst>
              <a:ext uri="{FF2B5EF4-FFF2-40B4-BE49-F238E27FC236}">
                <a16:creationId xmlns:a16="http://schemas.microsoft.com/office/drawing/2014/main" id="{4C73C909-3EAF-424B-B882-9D26C162A649}"/>
              </a:ext>
            </a:extLst>
          </p:cNvPr>
          <p:cNvSpPr>
            <a:spLocks noGrp="1"/>
          </p:cNvSpPr>
          <p:nvPr>
            <p:custDataLst>
              <p:tags r:id="rId71"/>
            </p:custDataLst>
          </p:nvPr>
        </p:nvSpPr>
        <p:spPr bwMode="gray">
          <a:xfrm>
            <a:off x="6529388" y="2324100"/>
            <a:ext cx="419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38E7BF-C245-42BB-A228-EECD70E249DA}" type="datetime'1''4'''''''''''''''''''''',''''''9''''''''9''9'''">
              <a:rPr lang="ja-JP" altLang="en-US" sz="1000" smtClean="0"/>
              <a:pPr/>
              <a:t>14,999</a:t>
            </a:fld>
            <a:endParaRPr lang="ja-JP" altLang="en-US" sz="1000" dirty="0">
              <a:sym typeface="+mn-lt"/>
            </a:endParaRPr>
          </a:p>
        </p:txBody>
      </p:sp>
      <p:sp>
        <p:nvSpPr>
          <p:cNvPr id="250" name="テキスト プレースホルダ 9">
            <a:extLst>
              <a:ext uri="{FF2B5EF4-FFF2-40B4-BE49-F238E27FC236}">
                <a16:creationId xmlns:a16="http://schemas.microsoft.com/office/drawing/2014/main" id="{CA261CE4-AE02-4E78-9735-B73D07ED4B32}"/>
              </a:ext>
            </a:extLst>
          </p:cNvPr>
          <p:cNvSpPr>
            <a:spLocks noGrp="1"/>
          </p:cNvSpPr>
          <p:nvPr>
            <p:custDataLst>
              <p:tags r:id="rId72"/>
            </p:custDataLst>
          </p:nvPr>
        </p:nvSpPr>
        <p:spPr bwMode="gray">
          <a:xfrm>
            <a:off x="7200900" y="2401888"/>
            <a:ext cx="419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2BC0BD1-504B-4FF6-ACB5-3F285F5A569E}" type="datetime'''''''15'''''''''''''''',''''''0''92'''''''''''''''''''''''''">
              <a:rPr lang="ja-JP" altLang="en-US" sz="1000" smtClean="0"/>
              <a:pPr/>
              <a:t>15,092</a:t>
            </a:fld>
            <a:endParaRPr lang="ja-JP" altLang="en-US" sz="1000" dirty="0">
              <a:sym typeface="+mn-lt"/>
            </a:endParaRPr>
          </a:p>
        </p:txBody>
      </p:sp>
      <p:sp>
        <p:nvSpPr>
          <p:cNvPr id="169" name="テキスト プレースホルダ 9">
            <a:extLst>
              <a:ext uri="{FF2B5EF4-FFF2-40B4-BE49-F238E27FC236}">
                <a16:creationId xmlns:a16="http://schemas.microsoft.com/office/drawing/2014/main" id="{99DBD5DC-44C0-45A6-B3CF-CC9A15F208A3}"/>
              </a:ext>
            </a:extLst>
          </p:cNvPr>
          <p:cNvSpPr>
            <a:spLocks noGrp="1"/>
          </p:cNvSpPr>
          <p:nvPr>
            <p:custDataLst>
              <p:tags r:id="rId73"/>
            </p:custDataLst>
          </p:nvPr>
        </p:nvSpPr>
        <p:spPr bwMode="auto">
          <a:xfrm>
            <a:off x="7669213" y="3679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31520A4-7C08-4E23-9733-97109863ADD1}" type="datetime'''1''''''9'''''''''''''''''''''''''''''''''''''''''''">
              <a:rPr kumimoji="0" lang="ja-JP" altLang="en-US" sz="1000" smtClean="0"/>
              <a:pPr/>
              <a:t>19</a:t>
            </a:fld>
            <a:endParaRPr kumimoji="0" lang="ja-JP" altLang="en-US" sz="1000" dirty="0">
              <a:sym typeface="+mn-lt"/>
            </a:endParaRPr>
          </a:p>
        </p:txBody>
      </p:sp>
      <p:sp>
        <p:nvSpPr>
          <p:cNvPr id="172" name="テキスト プレースホルダ 9">
            <a:extLst>
              <a:ext uri="{FF2B5EF4-FFF2-40B4-BE49-F238E27FC236}">
                <a16:creationId xmlns:a16="http://schemas.microsoft.com/office/drawing/2014/main" id="{56A5F3B1-35F7-4B8D-A1BE-BAE9BB14C1C2}"/>
              </a:ext>
            </a:extLst>
          </p:cNvPr>
          <p:cNvSpPr>
            <a:spLocks noGrp="1"/>
          </p:cNvSpPr>
          <p:nvPr>
            <p:custDataLst>
              <p:tags r:id="rId74"/>
            </p:custDataLst>
          </p:nvPr>
        </p:nvSpPr>
        <p:spPr bwMode="gray">
          <a:xfrm>
            <a:off x="1200150" y="3182938"/>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D80F1C2-0A56-4AAF-BE46-E85D615C1EBE}" type="datetime'''''''''''''''3'''''''''''''''''''',''2''0''''9'">
              <a:rPr lang="ja-JP" altLang="en-US" sz="1000" smtClean="0">
                <a:effectLst/>
                <a:sym typeface="+mn-lt"/>
              </a:rPr>
              <a:pPr marL="0" indent="0" algn="ctr">
                <a:spcBef>
                  <a:spcPct val="0"/>
                </a:spcBef>
                <a:buNone/>
              </a:pPr>
              <a:t>3,209</a:t>
            </a:fld>
            <a:endParaRPr lang="ja-JP" altLang="en-US" sz="1000" dirty="0">
              <a:sym typeface="+mn-lt"/>
            </a:endParaRPr>
          </a:p>
        </p:txBody>
      </p:sp>
      <p:sp>
        <p:nvSpPr>
          <p:cNvPr id="174" name="テキスト プレースホルダ 9">
            <a:extLst>
              <a:ext uri="{FF2B5EF4-FFF2-40B4-BE49-F238E27FC236}">
                <a16:creationId xmlns:a16="http://schemas.microsoft.com/office/drawing/2014/main" id="{A1763346-786F-4AAA-BCB0-AF508537427F}"/>
              </a:ext>
            </a:extLst>
          </p:cNvPr>
          <p:cNvSpPr>
            <a:spLocks noGrp="1"/>
          </p:cNvSpPr>
          <p:nvPr>
            <p:custDataLst>
              <p:tags r:id="rId75"/>
            </p:custDataLst>
          </p:nvPr>
        </p:nvSpPr>
        <p:spPr bwMode="gray">
          <a:xfrm>
            <a:off x="1535113" y="3206750"/>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956C26-3D78-4138-A1B1-4E8C78AD6FFC}" type="datetime'''''''''''''''''''''3'''''''''''',4''''0''''''''2'''">
              <a:rPr lang="ja-JP" altLang="en-US" sz="1000" smtClean="0">
                <a:effectLst/>
                <a:sym typeface="+mn-lt"/>
              </a:rPr>
              <a:pPr marL="0" indent="0" algn="ctr">
                <a:spcBef>
                  <a:spcPct val="0"/>
                </a:spcBef>
                <a:buNone/>
              </a:pPr>
              <a:t>3,402</a:t>
            </a:fld>
            <a:endParaRPr lang="ja-JP" altLang="en-US" sz="1000" dirty="0">
              <a:sym typeface="+mn-lt"/>
            </a:endParaRPr>
          </a:p>
        </p:txBody>
      </p:sp>
      <p:sp>
        <p:nvSpPr>
          <p:cNvPr id="178" name="テキスト プレースホルダ 9">
            <a:extLst>
              <a:ext uri="{FF2B5EF4-FFF2-40B4-BE49-F238E27FC236}">
                <a16:creationId xmlns:a16="http://schemas.microsoft.com/office/drawing/2014/main" id="{40243D54-34B2-4A0A-BEDC-96FC29F4DF11}"/>
              </a:ext>
            </a:extLst>
          </p:cNvPr>
          <p:cNvSpPr>
            <a:spLocks noGrp="1"/>
          </p:cNvSpPr>
          <p:nvPr>
            <p:custDataLst>
              <p:tags r:id="rId76"/>
            </p:custDataLst>
          </p:nvPr>
        </p:nvSpPr>
        <p:spPr bwMode="gray">
          <a:xfrm>
            <a:off x="2206625" y="3149600"/>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EBBF6FE-470B-4B66-8A43-F2C24B625F69}" type="datetime'''''''''''''3'',''''''''''''''''''''''''6''''''77'">
              <a:rPr lang="ja-JP" altLang="en-US" sz="1000" smtClean="0">
                <a:effectLst/>
                <a:sym typeface="+mn-lt"/>
              </a:rPr>
              <a:pPr marL="0" indent="0" algn="ctr">
                <a:spcBef>
                  <a:spcPct val="0"/>
                </a:spcBef>
                <a:buNone/>
              </a:pPr>
              <a:t>3,677</a:t>
            </a:fld>
            <a:endParaRPr lang="ja-JP" altLang="en-US" sz="1000" dirty="0">
              <a:sym typeface="+mn-lt"/>
            </a:endParaRPr>
          </a:p>
        </p:txBody>
      </p:sp>
      <p:sp>
        <p:nvSpPr>
          <p:cNvPr id="179" name="テキスト プレースホルダ 9">
            <a:extLst>
              <a:ext uri="{FF2B5EF4-FFF2-40B4-BE49-F238E27FC236}">
                <a16:creationId xmlns:a16="http://schemas.microsoft.com/office/drawing/2014/main" id="{FEEFE20F-E097-4DF9-9E1D-BB62EA0C2DCD}"/>
              </a:ext>
            </a:extLst>
          </p:cNvPr>
          <p:cNvSpPr>
            <a:spLocks noGrp="1"/>
          </p:cNvSpPr>
          <p:nvPr>
            <p:custDataLst>
              <p:tags r:id="rId77"/>
            </p:custDataLst>
          </p:nvPr>
        </p:nvSpPr>
        <p:spPr bwMode="gray">
          <a:xfrm>
            <a:off x="2541588" y="3165475"/>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9C10840-932E-4875-9D81-AB9A6667359A}" type="datetime'''3'''''''''''''''''''',''7''''''8''''''''''''''''''5'">
              <a:rPr lang="ja-JP" altLang="en-US" sz="1000" smtClean="0">
                <a:effectLst/>
                <a:sym typeface="+mn-lt"/>
              </a:rPr>
              <a:pPr marL="0" indent="0" algn="ctr">
                <a:spcBef>
                  <a:spcPct val="0"/>
                </a:spcBef>
                <a:buNone/>
              </a:pPr>
              <a:t>3,785</a:t>
            </a:fld>
            <a:endParaRPr lang="ja-JP" altLang="en-US" sz="1000" dirty="0">
              <a:sym typeface="+mn-lt"/>
            </a:endParaRPr>
          </a:p>
        </p:txBody>
      </p:sp>
      <p:sp>
        <p:nvSpPr>
          <p:cNvPr id="183" name="テキスト プレースホルダ 9">
            <a:extLst>
              <a:ext uri="{FF2B5EF4-FFF2-40B4-BE49-F238E27FC236}">
                <a16:creationId xmlns:a16="http://schemas.microsoft.com/office/drawing/2014/main" id="{B3BCB758-168D-41C5-B72C-291AA771D341}"/>
              </a:ext>
            </a:extLst>
          </p:cNvPr>
          <p:cNvSpPr>
            <a:spLocks noGrp="1"/>
          </p:cNvSpPr>
          <p:nvPr>
            <p:custDataLst>
              <p:tags r:id="rId78"/>
            </p:custDataLst>
          </p:nvPr>
        </p:nvSpPr>
        <p:spPr bwMode="gray">
          <a:xfrm>
            <a:off x="3546475" y="3132138"/>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603CF4C-36DD-470A-A2B8-B725DC94EAE7}" type="datetime'''''''''''4'''''''''''''''''',''2''''''''''8''3'''">
              <a:rPr lang="ja-JP" altLang="en-US" sz="1000" smtClean="0">
                <a:effectLst/>
                <a:sym typeface="+mn-lt"/>
              </a:rPr>
              <a:pPr marL="0" indent="0" algn="ctr">
                <a:spcBef>
                  <a:spcPct val="0"/>
                </a:spcBef>
                <a:buNone/>
              </a:pPr>
              <a:t>4,283</a:t>
            </a:fld>
            <a:endParaRPr lang="ja-JP" altLang="en-US" sz="1000" dirty="0">
              <a:sym typeface="+mn-lt"/>
            </a:endParaRPr>
          </a:p>
        </p:txBody>
      </p:sp>
      <p:sp>
        <p:nvSpPr>
          <p:cNvPr id="185" name="テキスト プレースホルダ 9">
            <a:extLst>
              <a:ext uri="{FF2B5EF4-FFF2-40B4-BE49-F238E27FC236}">
                <a16:creationId xmlns:a16="http://schemas.microsoft.com/office/drawing/2014/main" id="{43E75C89-1940-4BC8-B772-61CFEFC30A94}"/>
              </a:ext>
            </a:extLst>
          </p:cNvPr>
          <p:cNvSpPr>
            <a:spLocks noGrp="1"/>
          </p:cNvSpPr>
          <p:nvPr>
            <p:custDataLst>
              <p:tags r:id="rId79"/>
            </p:custDataLst>
          </p:nvPr>
        </p:nvSpPr>
        <p:spPr bwMode="gray">
          <a:xfrm>
            <a:off x="7570788" y="3159125"/>
            <a:ext cx="349250"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539E430-76A2-4A92-9C45-96EF6E1D516A}" type="datetime'''''''''7,''''''6''''7''''''''''''''''''''''''1'''''''''">
              <a:rPr kumimoji="0" lang="ja-JP" altLang="en-US" sz="1000" smtClean="0">
                <a:effectLst/>
                <a:sym typeface="+mn-lt"/>
              </a:rPr>
              <a:pPr/>
              <a:t>7,671</a:t>
            </a:fld>
            <a:endParaRPr kumimoji="0" lang="ja-JP" altLang="en-US" sz="1000" dirty="0">
              <a:sym typeface="+mn-lt"/>
            </a:endParaRPr>
          </a:p>
        </p:txBody>
      </p:sp>
      <p:sp>
        <p:nvSpPr>
          <p:cNvPr id="187" name="テキスト プレースホルダ 9">
            <a:extLst>
              <a:ext uri="{FF2B5EF4-FFF2-40B4-BE49-F238E27FC236}">
                <a16:creationId xmlns:a16="http://schemas.microsoft.com/office/drawing/2014/main" id="{9CF97651-4FDA-4DCD-AC17-A0FA4B3A258E}"/>
              </a:ext>
            </a:extLst>
          </p:cNvPr>
          <p:cNvSpPr>
            <a:spLocks noGrp="1"/>
          </p:cNvSpPr>
          <p:nvPr>
            <p:custDataLst>
              <p:tags r:id="rId80"/>
            </p:custDataLst>
          </p:nvPr>
        </p:nvSpPr>
        <p:spPr bwMode="gray">
          <a:xfrm>
            <a:off x="7570788" y="2714625"/>
            <a:ext cx="34925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342DE1-2B3F-490F-B287-5DCFD311E62B}" type="datetime'''''7'''''',''''''''''''''''6''1''''''''''''0'''''''''''''''''">
              <a:rPr kumimoji="0" lang="ja-JP" altLang="en-US" sz="1000" smtClean="0">
                <a:effectLst/>
                <a:sym typeface="+mn-lt"/>
              </a:rPr>
              <a:pPr/>
              <a:t>7,610</a:t>
            </a:fld>
            <a:endParaRPr kumimoji="0" lang="ja-JP" altLang="en-US" sz="1000" dirty="0">
              <a:sym typeface="+mn-lt"/>
            </a:endParaRPr>
          </a:p>
        </p:txBody>
      </p:sp>
      <p:sp>
        <p:nvSpPr>
          <p:cNvPr id="188" name="テキスト プレースホルダ 9">
            <a:extLst>
              <a:ext uri="{FF2B5EF4-FFF2-40B4-BE49-F238E27FC236}">
                <a16:creationId xmlns:a16="http://schemas.microsoft.com/office/drawing/2014/main" id="{BF3E7B7B-96D8-452F-B6BA-2E99E5030BF5}"/>
              </a:ext>
            </a:extLst>
          </p:cNvPr>
          <p:cNvSpPr>
            <a:spLocks noGrp="1"/>
          </p:cNvSpPr>
          <p:nvPr>
            <p:custDataLst>
              <p:tags r:id="rId81"/>
            </p:custDataLst>
          </p:nvPr>
        </p:nvSpPr>
        <p:spPr bwMode="gray">
          <a:xfrm>
            <a:off x="4552950" y="3046413"/>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C5AEDCD-0803-4A0A-9143-0226E85B5788}" type="datetime'''''''''''''''''''5'''''',''4''''''''''''''''''''''4''4'">
              <a:rPr kumimoji="0" lang="ja-JP" altLang="en-US" sz="1000" smtClean="0">
                <a:effectLst/>
                <a:sym typeface="+mn-lt"/>
              </a:rPr>
              <a:pPr marL="0" indent="0" algn="ctr">
                <a:spcBef>
                  <a:spcPct val="0"/>
                </a:spcBef>
                <a:buNone/>
              </a:pPr>
              <a:t>5,444</a:t>
            </a:fld>
            <a:endParaRPr kumimoji="0" lang="ja-JP" altLang="en-US" sz="1000" dirty="0">
              <a:sym typeface="+mn-lt"/>
            </a:endParaRPr>
          </a:p>
        </p:txBody>
      </p:sp>
      <p:sp>
        <p:nvSpPr>
          <p:cNvPr id="189" name="テキスト プレースホルダ 9">
            <a:extLst>
              <a:ext uri="{FF2B5EF4-FFF2-40B4-BE49-F238E27FC236}">
                <a16:creationId xmlns:a16="http://schemas.microsoft.com/office/drawing/2014/main" id="{01F69B79-807C-4FA3-8A1A-39FC32917E34}"/>
              </a:ext>
            </a:extLst>
          </p:cNvPr>
          <p:cNvSpPr>
            <a:spLocks noGrp="1"/>
          </p:cNvSpPr>
          <p:nvPr>
            <p:custDataLst>
              <p:tags r:id="rId82"/>
            </p:custDataLst>
          </p:nvPr>
        </p:nvSpPr>
        <p:spPr bwMode="gray">
          <a:xfrm>
            <a:off x="4552950" y="3294063"/>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CACF739-5755-4780-8798-95758AF8938D}" type="datetime'3'',''0''''''4''''''7'''''''''''''''''''''''''''">
              <a:rPr kumimoji="0" lang="ja-JP" altLang="en-US" sz="1000" smtClean="0">
                <a:effectLst/>
                <a:sym typeface="+mn-lt"/>
              </a:rPr>
              <a:pPr marL="0" indent="0" algn="ctr">
                <a:spcBef>
                  <a:spcPct val="0"/>
                </a:spcBef>
                <a:buNone/>
              </a:pPr>
              <a:t>3,047</a:t>
            </a:fld>
            <a:endParaRPr kumimoji="0" lang="ja-JP" altLang="en-US" sz="1000" dirty="0">
              <a:sym typeface="+mn-lt"/>
            </a:endParaRPr>
          </a:p>
        </p:txBody>
      </p:sp>
      <p:sp>
        <p:nvSpPr>
          <p:cNvPr id="190" name="テキスト プレースホルダ 9">
            <a:extLst>
              <a:ext uri="{FF2B5EF4-FFF2-40B4-BE49-F238E27FC236}">
                <a16:creationId xmlns:a16="http://schemas.microsoft.com/office/drawing/2014/main" id="{3ADAD8A9-260F-4BE0-8658-6362CCA7A072}"/>
              </a:ext>
            </a:extLst>
          </p:cNvPr>
          <p:cNvSpPr>
            <a:spLocks noGrp="1"/>
          </p:cNvSpPr>
          <p:nvPr>
            <p:custDataLst>
              <p:tags r:id="rId83"/>
            </p:custDataLst>
          </p:nvPr>
        </p:nvSpPr>
        <p:spPr bwMode="gray">
          <a:xfrm>
            <a:off x="7629525" y="2390775"/>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EBBA20-54C7-45E0-8EC7-0599E250B491}" type="datetime'1''''''''''''''''''''''5'''''',''2''''''''''''8''1'''''''">
              <a:rPr lang="ja-JP" altLang="en-US" sz="1000" smtClean="0">
                <a:effectLst/>
                <a:sym typeface="+mn-lt"/>
              </a:rPr>
              <a:pPr marL="0" indent="0" algn="ctr">
                <a:spcBef>
                  <a:spcPct val="0"/>
                </a:spcBef>
                <a:buNone/>
              </a:pPr>
              <a:t>15,281</a:t>
            </a:fld>
            <a:endParaRPr lang="ja-JP" altLang="en-US" sz="1000" dirty="0">
              <a:sym typeface="+mn-lt"/>
            </a:endParaRPr>
          </a:p>
        </p:txBody>
      </p:sp>
      <p:sp>
        <p:nvSpPr>
          <p:cNvPr id="200" name="テキスト プレースホルダ 9">
            <a:extLst>
              <a:ext uri="{FF2B5EF4-FFF2-40B4-BE49-F238E27FC236}">
                <a16:creationId xmlns:a16="http://schemas.microsoft.com/office/drawing/2014/main" id="{3CF6C741-D681-459D-841B-03D368E7DBE9}"/>
              </a:ext>
            </a:extLst>
          </p:cNvPr>
          <p:cNvSpPr>
            <a:spLocks noGrp="1"/>
          </p:cNvSpPr>
          <p:nvPr>
            <p:custDataLst>
              <p:tags r:id="rId84"/>
            </p:custDataLst>
          </p:nvPr>
        </p:nvSpPr>
        <p:spPr bwMode="gray">
          <a:xfrm>
            <a:off x="4217988" y="3073400"/>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C020868-F544-49E9-AC08-FE73E9A3E19C}" type="datetime'5'',''''''''''''''''''''''''1''''''''''''2''3'''''''''''">
              <a:rPr kumimoji="0" lang="ja-JP" altLang="en-US" sz="1000" smtClean="0">
                <a:effectLst/>
                <a:sym typeface="+mn-lt"/>
              </a:rPr>
              <a:pPr marL="0" indent="0" algn="ctr">
                <a:spcBef>
                  <a:spcPct val="0"/>
                </a:spcBef>
                <a:buNone/>
              </a:pPr>
              <a:t>5,123</a:t>
            </a:fld>
            <a:endParaRPr kumimoji="0" lang="ja-JP" altLang="en-US" sz="1000" dirty="0">
              <a:sym typeface="+mn-lt"/>
            </a:endParaRPr>
          </a:p>
        </p:txBody>
      </p:sp>
      <p:sp>
        <p:nvSpPr>
          <p:cNvPr id="206" name="テキスト プレースホルダ 9">
            <a:extLst>
              <a:ext uri="{FF2B5EF4-FFF2-40B4-BE49-F238E27FC236}">
                <a16:creationId xmlns:a16="http://schemas.microsoft.com/office/drawing/2014/main" id="{A6C12B4B-45CE-420F-AA45-B2F616C9B05D}"/>
              </a:ext>
            </a:extLst>
          </p:cNvPr>
          <p:cNvSpPr>
            <a:spLocks noGrp="1"/>
          </p:cNvSpPr>
          <p:nvPr>
            <p:custDataLst>
              <p:tags r:id="rId85"/>
            </p:custDataLst>
          </p:nvPr>
        </p:nvSpPr>
        <p:spPr bwMode="gray">
          <a:xfrm>
            <a:off x="4217988" y="3302000"/>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05579AC-9637-4719-9724-3541CC6DE4F5}" type="datetime'''''''''''''''''2,''''''''''''''''7''''''''''''''''''''44'''">
              <a:rPr kumimoji="0" lang="ja-JP" altLang="en-US" sz="1000" smtClean="0">
                <a:effectLst/>
                <a:sym typeface="+mn-lt"/>
              </a:rPr>
              <a:pPr marL="0" indent="0" algn="ctr">
                <a:spcBef>
                  <a:spcPct val="0"/>
                </a:spcBef>
                <a:buNone/>
              </a:pPr>
              <a:t>2,744</a:t>
            </a:fld>
            <a:endParaRPr kumimoji="0" lang="ja-JP" altLang="en-US" sz="1000" dirty="0">
              <a:sym typeface="+mn-lt"/>
            </a:endParaRPr>
          </a:p>
        </p:txBody>
      </p:sp>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公衆衛生</a:t>
            </a:r>
            <a:endParaRPr kumimoji="1" lang="ja-JP" altLang="en-US" dirty="0"/>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費支出額</a:t>
            </a:r>
          </a:p>
        </p:txBody>
      </p:sp>
      <p:sp>
        <p:nvSpPr>
          <p:cNvPr id="16" name="テキスト ボックス 15"/>
          <p:cNvSpPr txBox="1"/>
          <p:nvPr/>
        </p:nvSpPr>
        <p:spPr>
          <a:xfrm>
            <a:off x="848543" y="1939925"/>
            <a:ext cx="828032"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3" name="テキスト ボックス 32"/>
          <p:cNvSpPr txBox="1"/>
          <p:nvPr/>
        </p:nvSpPr>
        <p:spPr>
          <a:xfrm>
            <a:off x="848543" y="4437112"/>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32520" y="1556792"/>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3933825"/>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一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4" name="テキスト ボックス 23"/>
          <p:cNvSpPr txBox="1"/>
          <p:nvPr/>
        </p:nvSpPr>
        <p:spPr>
          <a:xfrm>
            <a:off x="7833320" y="1939925"/>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18"/>
          <p:cNvSpPr txBox="1"/>
          <p:nvPr/>
        </p:nvSpPr>
        <p:spPr>
          <a:xfrm>
            <a:off x="200025"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00" name="Chart 299">
            <a:extLst>
              <a:ext uri="{FF2B5EF4-FFF2-40B4-BE49-F238E27FC236}">
                <a16:creationId xmlns:a16="http://schemas.microsoft.com/office/drawing/2014/main" id="{E0BEF74C-30A6-4C76-8EB0-C0956375E875}"/>
              </a:ext>
            </a:extLst>
          </p:cNvPr>
          <p:cNvGraphicFramePr/>
          <p:nvPr>
            <p:custDataLst>
              <p:tags r:id="rId86"/>
            </p:custDataLst>
          </p:nvPr>
        </p:nvGraphicFramePr>
        <p:xfrm>
          <a:off x="619125" y="4524375"/>
          <a:ext cx="7466013" cy="1493838"/>
        </p:xfrm>
        <a:graphic>
          <a:graphicData uri="http://schemas.openxmlformats.org/drawingml/2006/chart">
            <c:chart xmlns:c="http://schemas.openxmlformats.org/drawingml/2006/chart" xmlns:r="http://schemas.openxmlformats.org/officeDocument/2006/relationships" r:id="rId184"/>
          </a:graphicData>
        </a:graphic>
      </p:graphicFrame>
      <p:sp>
        <p:nvSpPr>
          <p:cNvPr id="193" name="テキスト プレースホルダ 9"/>
          <p:cNvSpPr>
            <a:spLocks noGrp="1"/>
          </p:cNvSpPr>
          <p:nvPr>
            <p:custDataLst>
              <p:tags r:id="rId87"/>
            </p:custDataLst>
          </p:nvPr>
        </p:nvSpPr>
        <p:spPr bwMode="gray">
          <a:xfrm>
            <a:off x="2176462" y="5130800"/>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8546F1F-D129-4F8E-8738-D502D56B214E}" type="datetime'''''''''''1'',''''''''''''''''''''''''4''''''''''''1''''5'''''">
              <a:rPr lang="ja-JP" altLang="en-US" sz="1000" smtClean="0"/>
              <a:pPr/>
              <a:t>1,415</a:t>
            </a:fld>
            <a:endParaRPr kumimoji="0" lang="ja-JP" altLang="en-US" sz="1000" dirty="0">
              <a:sym typeface="+mn-lt"/>
            </a:endParaRPr>
          </a:p>
        </p:txBody>
      </p:sp>
      <p:sp>
        <p:nvSpPr>
          <p:cNvPr id="90" name="テキスト プレースホルダ 9"/>
          <p:cNvSpPr>
            <a:spLocks noGrp="1"/>
          </p:cNvSpPr>
          <p:nvPr>
            <p:custDataLst>
              <p:tags r:id="rId88"/>
            </p:custDataLst>
          </p:nvPr>
        </p:nvSpPr>
        <p:spPr bwMode="auto">
          <a:xfrm>
            <a:off x="1177925" y="60055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88C386-80B1-4A79-B61D-930D41CF5481}" type="datetime'''''''''''2''''''0''''''''''''''0''''''''''''''''''0'''''''">
              <a:rPr lang="ja-JP" altLang="en-US" sz="1000"/>
              <a:pPr marL="0" indent="0" algn="ctr">
                <a:spcBef>
                  <a:spcPct val="0"/>
                </a:spcBef>
                <a:buNone/>
              </a:pPr>
              <a:t>2000</a:t>
            </a:fld>
            <a:endParaRPr kumimoji="0" lang="ja-JP" altLang="en-US" sz="1000" dirty="0">
              <a:sym typeface="+mn-lt"/>
            </a:endParaRPr>
          </a:p>
        </p:txBody>
      </p:sp>
      <p:sp>
        <p:nvSpPr>
          <p:cNvPr id="100" name="テキスト プレースホルダ 9"/>
          <p:cNvSpPr>
            <a:spLocks noGrp="1"/>
          </p:cNvSpPr>
          <p:nvPr>
            <p:custDataLst>
              <p:tags r:id="rId89"/>
            </p:custDataLst>
          </p:nvPr>
        </p:nvSpPr>
        <p:spPr bwMode="auto">
          <a:xfrm>
            <a:off x="638492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E66029-312C-4C49-B25B-0633025F961C}" type="datetime'''''''''''''''''''''''''''''1''''''''''''''''''5'''''">
              <a:rPr lang="ja-JP" altLang="en-US" sz="1000"/>
              <a:pPr marL="0" indent="0" algn="ctr">
                <a:spcBef>
                  <a:spcPct val="0"/>
                </a:spcBef>
                <a:buNone/>
              </a:pPr>
              <a:t>15</a:t>
            </a:fld>
            <a:endParaRPr kumimoji="0" lang="ja-JP" altLang="en-US" sz="1000" dirty="0">
              <a:sym typeface="+mn-lt"/>
            </a:endParaRPr>
          </a:p>
        </p:txBody>
      </p:sp>
      <p:sp>
        <p:nvSpPr>
          <p:cNvPr id="346" name="テキスト プレースホルダ 9">
            <a:extLst>
              <a:ext uri="{FF2B5EF4-FFF2-40B4-BE49-F238E27FC236}">
                <a16:creationId xmlns:a16="http://schemas.microsoft.com/office/drawing/2014/main" id="{9B0FBBE6-F51B-40B4-9DF7-874CF2D4D6C6}"/>
              </a:ext>
            </a:extLst>
          </p:cNvPr>
          <p:cNvSpPr>
            <a:spLocks noGrp="1"/>
          </p:cNvSpPr>
          <p:nvPr>
            <p:custDataLst>
              <p:tags r:id="rId90"/>
            </p:custDataLst>
          </p:nvPr>
        </p:nvSpPr>
        <p:spPr bwMode="gray">
          <a:xfrm>
            <a:off x="6627812" y="4595813"/>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2D73D4A-CDFD-4F3C-ABE3-3298063E8655}" type="datetime'''''''2'''''',6''''''''''5''''''''''''''''3'''''''''''">
              <a:rPr lang="ja-JP" altLang="en-US" sz="1000" smtClean="0"/>
              <a:pPr/>
              <a:t>2,653</a:t>
            </a:fld>
            <a:endParaRPr lang="ja-JP" altLang="en-US" sz="1000" dirty="0">
              <a:sym typeface="+mn-lt"/>
            </a:endParaRPr>
          </a:p>
        </p:txBody>
      </p:sp>
      <p:sp>
        <p:nvSpPr>
          <p:cNvPr id="89" name="テキスト プレースホルダ 9"/>
          <p:cNvSpPr>
            <a:spLocks noGrp="1"/>
          </p:cNvSpPr>
          <p:nvPr>
            <p:custDataLst>
              <p:tags r:id="rId91"/>
            </p:custDataLst>
          </p:nvPr>
        </p:nvSpPr>
        <p:spPr bwMode="auto">
          <a:xfrm>
            <a:off x="159067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99CE58-0BA5-462B-9671-C72ADFAA86B7}" type="datetime'''''''''''''''''''''''''''''''01'''''''''''''''''''''''">
              <a:rPr lang="ja-JP" altLang="en-US" sz="1000"/>
              <a:pPr marL="0" indent="0" algn="ctr">
                <a:spcBef>
                  <a:spcPct val="0"/>
                </a:spcBef>
                <a:buNone/>
              </a:pPr>
              <a:t>01</a:t>
            </a:fld>
            <a:endParaRPr kumimoji="0" lang="ja-JP" altLang="en-US" sz="1000" dirty="0">
              <a:sym typeface="+mn-lt"/>
            </a:endParaRPr>
          </a:p>
        </p:txBody>
      </p:sp>
      <p:sp>
        <p:nvSpPr>
          <p:cNvPr id="196" name="テキスト プレースホルダ 9"/>
          <p:cNvSpPr>
            <a:spLocks noGrp="1"/>
          </p:cNvSpPr>
          <p:nvPr>
            <p:custDataLst>
              <p:tags r:id="rId92"/>
            </p:custDataLst>
          </p:nvPr>
        </p:nvSpPr>
        <p:spPr bwMode="gray">
          <a:xfrm>
            <a:off x="3203574" y="5141913"/>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B9D1849-8A0B-457D-8A40-29C566801BAD}" type="datetime'''''1'''''''''''''',3''''''''''''''8''''''''8'''''''''''''''">
              <a:rPr lang="ja-JP" altLang="en-US" sz="1000" smtClean="0"/>
              <a:pPr/>
              <a:t>1,388</a:t>
            </a:fld>
            <a:endParaRPr kumimoji="0" lang="ja-JP" altLang="en-US" sz="1000" dirty="0">
              <a:sym typeface="+mn-lt"/>
            </a:endParaRPr>
          </a:p>
        </p:txBody>
      </p:sp>
      <p:sp>
        <p:nvSpPr>
          <p:cNvPr id="234" name="テキスト プレースホルダ 9">
            <a:extLst>
              <a:ext uri="{FF2B5EF4-FFF2-40B4-BE49-F238E27FC236}">
                <a16:creationId xmlns:a16="http://schemas.microsoft.com/office/drawing/2014/main" id="{5D64E5FB-2D39-4646-8883-973310E9977A}"/>
              </a:ext>
            </a:extLst>
          </p:cNvPr>
          <p:cNvSpPr>
            <a:spLocks noGrp="1"/>
          </p:cNvSpPr>
          <p:nvPr>
            <p:custDataLst>
              <p:tags r:id="rId93"/>
            </p:custDataLst>
          </p:nvPr>
        </p:nvSpPr>
        <p:spPr bwMode="gray">
          <a:xfrm>
            <a:off x="6970712" y="5557838"/>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ACA4BAD-35AC-46FE-B38B-402C5BDDB0F0}" type="datetime'''''''''''''1'',''3''''''''1''''''''''''7'''''''''''''''">
              <a:rPr lang="ja-JP" altLang="en-US" sz="1000" smtClean="0">
                <a:effectLst/>
              </a:rPr>
              <a:pPr/>
              <a:t>1,317</a:t>
            </a:fld>
            <a:endParaRPr lang="ja-JP" altLang="en-US" sz="1000" dirty="0">
              <a:sym typeface="+mn-lt"/>
            </a:endParaRPr>
          </a:p>
        </p:txBody>
      </p:sp>
      <p:sp>
        <p:nvSpPr>
          <p:cNvPr id="373" name="テキスト プレースホルダ 9">
            <a:extLst>
              <a:ext uri="{FF2B5EF4-FFF2-40B4-BE49-F238E27FC236}">
                <a16:creationId xmlns:a16="http://schemas.microsoft.com/office/drawing/2014/main" id="{B3949728-904F-4105-ADFD-D3528C5FBC9B}"/>
              </a:ext>
            </a:extLst>
          </p:cNvPr>
          <p:cNvSpPr>
            <a:spLocks noGrp="1"/>
          </p:cNvSpPr>
          <p:nvPr>
            <p:custDataLst>
              <p:tags r:id="rId94"/>
            </p:custDataLst>
          </p:nvPr>
        </p:nvSpPr>
        <p:spPr bwMode="gray">
          <a:xfrm>
            <a:off x="3941763" y="538480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8B3931-957D-4DE3-8D2F-292A02525BDC}" type="datetime'''''''''''''''''''''''''''9''''''''''''''''''''''''''7''''0'''">
              <a:rPr lang="ja-JP" altLang="en-US" sz="1000" smtClean="0">
                <a:effectLst/>
              </a:rPr>
              <a:pPr/>
              <a:t>970</a:t>
            </a:fld>
            <a:endParaRPr lang="ja-JP" altLang="en-US" sz="1000" dirty="0">
              <a:sym typeface="+mn-lt"/>
            </a:endParaRPr>
          </a:p>
        </p:txBody>
      </p:sp>
      <p:sp>
        <p:nvSpPr>
          <p:cNvPr id="372" name="テキスト プレースホルダ 9">
            <a:extLst>
              <a:ext uri="{FF2B5EF4-FFF2-40B4-BE49-F238E27FC236}">
                <a16:creationId xmlns:a16="http://schemas.microsoft.com/office/drawing/2014/main" id="{12EEB5FA-7B37-4238-9D69-575D620C717F}"/>
              </a:ext>
            </a:extLst>
          </p:cNvPr>
          <p:cNvSpPr>
            <a:spLocks noGrp="1"/>
          </p:cNvSpPr>
          <p:nvPr>
            <p:custDataLst>
              <p:tags r:id="rId95"/>
            </p:custDataLst>
          </p:nvPr>
        </p:nvSpPr>
        <p:spPr bwMode="gray">
          <a:xfrm>
            <a:off x="1201738" y="574516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7092E51-A172-44BA-8D31-F60D5E950330}" type="datetime'''''''''''''''''''''4''''''''''''54'''''''''''''''''''''''">
              <a:rPr kumimoji="0" lang="ja-JP" altLang="en-US" sz="1000" smtClean="0">
                <a:effectLst/>
              </a:rPr>
              <a:pPr/>
              <a:t>454</a:t>
            </a:fld>
            <a:endParaRPr kumimoji="0" lang="ja-JP" altLang="en-US" sz="1000" dirty="0">
              <a:sym typeface="+mn-lt"/>
            </a:endParaRPr>
          </a:p>
        </p:txBody>
      </p:sp>
      <p:sp>
        <p:nvSpPr>
          <p:cNvPr id="123" name="テキスト プレースホルダ 9"/>
          <p:cNvSpPr>
            <a:spLocks noGrp="1"/>
          </p:cNvSpPr>
          <p:nvPr>
            <p:custDataLst>
              <p:tags r:id="rId96"/>
            </p:custDataLst>
          </p:nvPr>
        </p:nvSpPr>
        <p:spPr bwMode="gray">
          <a:xfrm>
            <a:off x="1149349" y="5200650"/>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65A58F-80AF-41B8-953B-DD662664F60C}" type="datetime'''''''1'',''''''2''''''5''''''''''''''''''''''''1'''''''''''">
              <a:rPr lang="ja-JP" altLang="en-US" sz="1000" smtClean="0"/>
              <a:pPr/>
              <a:t>1,251</a:t>
            </a:fld>
            <a:endParaRPr kumimoji="0" lang="ja-JP" altLang="en-US" sz="1000" dirty="0">
              <a:sym typeface="+mn-lt"/>
            </a:endParaRPr>
          </a:p>
        </p:txBody>
      </p:sp>
      <p:sp>
        <p:nvSpPr>
          <p:cNvPr id="212" name="テキスト プレースホルダ 9"/>
          <p:cNvSpPr>
            <a:spLocks noGrp="1"/>
          </p:cNvSpPr>
          <p:nvPr>
            <p:custDataLst>
              <p:tags r:id="rId97"/>
            </p:custDataLst>
          </p:nvPr>
        </p:nvSpPr>
        <p:spPr bwMode="gray">
          <a:xfrm>
            <a:off x="1544638" y="5773738"/>
            <a:ext cx="244475"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AE4F0AA-708F-4DF8-A054-CA5F219AD603}" type="datetime'''''''''''''''''''''''3''''''''''2''''3'''''">
              <a:rPr kumimoji="0" lang="ja-JP" altLang="en-US" sz="1000" smtClean="0">
                <a:effectLst/>
              </a:rPr>
              <a:pPr/>
              <a:t>323</a:t>
            </a:fld>
            <a:endParaRPr kumimoji="0" lang="ja-JP" altLang="en-US" sz="1000" dirty="0">
              <a:sym typeface="+mn-lt"/>
            </a:endParaRPr>
          </a:p>
        </p:txBody>
      </p:sp>
      <p:sp>
        <p:nvSpPr>
          <p:cNvPr id="91" name="テキスト プレースホルダ 9"/>
          <p:cNvSpPr>
            <a:spLocks noGrp="1"/>
          </p:cNvSpPr>
          <p:nvPr>
            <p:custDataLst>
              <p:tags r:id="rId98"/>
            </p:custDataLst>
          </p:nvPr>
        </p:nvSpPr>
        <p:spPr bwMode="auto">
          <a:xfrm>
            <a:off x="19319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A17E89-F6A6-47DA-833F-3985BA58770C}" type="datetime'''''''''''''0''''''''''''''''''''''''''''''''''''2'''''''''''">
              <a:rPr lang="ja-JP" altLang="en-US" sz="1000"/>
              <a:pPr marL="0" indent="0" algn="ctr">
                <a:spcBef>
                  <a:spcPct val="0"/>
                </a:spcBef>
                <a:buNone/>
              </a:pPr>
              <a:t>02</a:t>
            </a:fld>
            <a:endParaRPr kumimoji="0" lang="ja-JP" altLang="en-US" sz="1000" dirty="0">
              <a:sym typeface="+mn-lt"/>
            </a:endParaRPr>
          </a:p>
        </p:txBody>
      </p:sp>
      <p:sp>
        <p:nvSpPr>
          <p:cNvPr id="214" name="テキスト プレースホルダ 9"/>
          <p:cNvSpPr>
            <a:spLocks noGrp="1"/>
          </p:cNvSpPr>
          <p:nvPr>
            <p:custDataLst>
              <p:tags r:id="rId99"/>
            </p:custDataLst>
          </p:nvPr>
        </p:nvSpPr>
        <p:spPr bwMode="gray">
          <a:xfrm>
            <a:off x="2228850" y="5729288"/>
            <a:ext cx="244475"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EB47450-D358-4875-B5D5-8B32D7502A82}" type="datetime'''''''''''''''''5''''''''''''''''''''25'">
              <a:rPr kumimoji="0" lang="ja-JP" altLang="en-US" sz="1000" smtClean="0">
                <a:effectLst/>
              </a:rPr>
              <a:pPr/>
              <a:t>525</a:t>
            </a:fld>
            <a:endParaRPr kumimoji="0" lang="ja-JP" altLang="en-US" sz="1000" dirty="0">
              <a:sym typeface="+mn-lt"/>
            </a:endParaRPr>
          </a:p>
        </p:txBody>
      </p:sp>
      <p:sp>
        <p:nvSpPr>
          <p:cNvPr id="349" name="テキスト プレースホルダ 9">
            <a:extLst>
              <a:ext uri="{FF2B5EF4-FFF2-40B4-BE49-F238E27FC236}">
                <a16:creationId xmlns:a16="http://schemas.microsoft.com/office/drawing/2014/main" id="{7CA39873-F34A-4E7D-9C1C-8B15BA369567}"/>
              </a:ext>
            </a:extLst>
          </p:cNvPr>
          <p:cNvSpPr>
            <a:spLocks noGrp="1"/>
          </p:cNvSpPr>
          <p:nvPr>
            <p:custDataLst>
              <p:tags r:id="rId100"/>
            </p:custDataLst>
          </p:nvPr>
        </p:nvSpPr>
        <p:spPr bwMode="gray">
          <a:xfrm>
            <a:off x="7313612" y="4608513"/>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068742-AF2D-463E-8B27-40DDB9A2DEB2}" type="datetime'''''''''''2'''''',''6''''''''''''''''2''''''''1'''">
              <a:rPr lang="ja-JP" altLang="en-US" sz="1000" smtClean="0"/>
              <a:pPr/>
              <a:t>2,621</a:t>
            </a:fld>
            <a:endParaRPr lang="ja-JP" altLang="en-US" sz="1000" dirty="0">
              <a:sym typeface="+mn-lt"/>
            </a:endParaRPr>
          </a:p>
        </p:txBody>
      </p:sp>
      <p:sp>
        <p:nvSpPr>
          <p:cNvPr id="92" name="テキスト プレースホルダ 9"/>
          <p:cNvSpPr>
            <a:spLocks noGrp="1"/>
          </p:cNvSpPr>
          <p:nvPr>
            <p:custDataLst>
              <p:tags r:id="rId101"/>
            </p:custDataLst>
          </p:nvPr>
        </p:nvSpPr>
        <p:spPr bwMode="auto">
          <a:xfrm>
            <a:off x="22748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4348F8-BE3A-4103-8B94-07A4865D2599}" type="datetime'''''''0''''''''''''''''''''3'''''''''''''''''''''''''''''">
              <a:rPr lang="ja-JP" altLang="en-US" sz="1000"/>
              <a:pPr marL="0" indent="0" algn="ctr">
                <a:spcBef>
                  <a:spcPct val="0"/>
                </a:spcBef>
                <a:buNone/>
              </a:pPr>
              <a:t>03</a:t>
            </a:fld>
            <a:endParaRPr kumimoji="0" lang="ja-JP" altLang="en-US" sz="1000" dirty="0">
              <a:sym typeface="+mn-lt"/>
            </a:endParaRPr>
          </a:p>
        </p:txBody>
      </p:sp>
      <p:sp>
        <p:nvSpPr>
          <p:cNvPr id="124" name="テキスト プレースホルダ 9"/>
          <p:cNvSpPr>
            <a:spLocks noGrp="1"/>
          </p:cNvSpPr>
          <p:nvPr>
            <p:custDataLst>
              <p:tags r:id="rId102"/>
            </p:custDataLst>
          </p:nvPr>
        </p:nvSpPr>
        <p:spPr bwMode="gray">
          <a:xfrm>
            <a:off x="1492249" y="5241925"/>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6CEA18-85AB-4C3D-B7C8-51800BF4E080}" type="datetime'1'''''''''''',''''''''''''''1''''''''''5''''''''''''''7'">
              <a:rPr lang="ja-JP" altLang="en-US" sz="1000" smtClean="0"/>
              <a:pPr/>
              <a:t>1,157</a:t>
            </a:fld>
            <a:endParaRPr kumimoji="0" lang="ja-JP" altLang="en-US" sz="1000" dirty="0">
              <a:sym typeface="+mn-lt"/>
            </a:endParaRPr>
          </a:p>
        </p:txBody>
      </p:sp>
      <p:sp>
        <p:nvSpPr>
          <p:cNvPr id="194" name="テキスト プレースホルダ 9"/>
          <p:cNvSpPr>
            <a:spLocks noGrp="1"/>
          </p:cNvSpPr>
          <p:nvPr>
            <p:custDataLst>
              <p:tags r:id="rId103"/>
            </p:custDataLst>
          </p:nvPr>
        </p:nvSpPr>
        <p:spPr bwMode="gray">
          <a:xfrm>
            <a:off x="2519362" y="5162550"/>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06D0C0-8737-47E7-98A6-6C03CEE332FE}" type="datetime'''1'''''''''',''''''''''''''''''''34''''''''2'''''''''''''''''">
              <a:rPr lang="ja-JP" altLang="en-US" sz="1000" smtClean="0"/>
              <a:pPr/>
              <a:t>1,342</a:t>
            </a:fld>
            <a:endParaRPr kumimoji="0" lang="ja-JP" altLang="en-US" sz="1000" dirty="0">
              <a:sym typeface="+mn-lt"/>
            </a:endParaRPr>
          </a:p>
        </p:txBody>
      </p:sp>
      <p:sp>
        <p:nvSpPr>
          <p:cNvPr id="215" name="テキスト プレースホルダ 9"/>
          <p:cNvSpPr>
            <a:spLocks noGrp="1"/>
          </p:cNvSpPr>
          <p:nvPr>
            <p:custDataLst>
              <p:tags r:id="rId104"/>
            </p:custDataLst>
          </p:nvPr>
        </p:nvSpPr>
        <p:spPr bwMode="gray">
          <a:xfrm>
            <a:off x="2571750" y="5748338"/>
            <a:ext cx="244475"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447AF4-1AC3-41C5-AF7F-37306DEE5875}" type="datetime'''''''''4''''''''''''''''''''''''''''3''6'">
              <a:rPr kumimoji="0" lang="ja-JP" altLang="en-US" sz="1000" smtClean="0">
                <a:effectLst/>
              </a:rPr>
              <a:pPr/>
              <a:t>436</a:t>
            </a:fld>
            <a:endParaRPr kumimoji="0" lang="ja-JP" altLang="en-US" sz="1000" dirty="0">
              <a:sym typeface="+mn-lt"/>
            </a:endParaRPr>
          </a:p>
        </p:txBody>
      </p:sp>
      <p:sp>
        <p:nvSpPr>
          <p:cNvPr id="85" name="テキスト プレースホルダ 9"/>
          <p:cNvSpPr>
            <a:spLocks noGrp="1"/>
          </p:cNvSpPr>
          <p:nvPr>
            <p:custDataLst>
              <p:tags r:id="rId105"/>
            </p:custDataLst>
          </p:nvPr>
        </p:nvSpPr>
        <p:spPr bwMode="auto">
          <a:xfrm>
            <a:off x="26177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C05E45-09DC-43FC-96BF-E7D76860E459}" type="datetime'''''''''0''''''''''''''''''''''''''''''''''''''''4'''''">
              <a:rPr lang="ja-JP" altLang="en-US" sz="1000"/>
              <a:pPr marL="0" indent="0" algn="ctr">
                <a:spcBef>
                  <a:spcPct val="0"/>
                </a:spcBef>
                <a:buNone/>
              </a:pPr>
              <a:t>04</a:t>
            </a:fld>
            <a:endParaRPr kumimoji="0" lang="ja-JP" altLang="en-US" sz="1000" dirty="0">
              <a:sym typeface="+mn-lt"/>
            </a:endParaRPr>
          </a:p>
        </p:txBody>
      </p:sp>
      <p:sp>
        <p:nvSpPr>
          <p:cNvPr id="99" name="テキスト プレースホルダ 9"/>
          <p:cNvSpPr>
            <a:spLocks noGrp="1"/>
          </p:cNvSpPr>
          <p:nvPr>
            <p:custDataLst>
              <p:tags r:id="rId106"/>
            </p:custDataLst>
          </p:nvPr>
        </p:nvSpPr>
        <p:spPr bwMode="auto">
          <a:xfrm>
            <a:off x="604202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4B9A16-1555-4E91-85A8-C3E9519758CD}" type="datetime'''''''''''1''''''''''''''''''''4'''''''''">
              <a:rPr lang="ja-JP" altLang="en-US" sz="1000"/>
              <a:pPr marL="0" indent="0" algn="ctr">
                <a:spcBef>
                  <a:spcPct val="0"/>
                </a:spcBef>
                <a:buNone/>
              </a:pPr>
              <a:t>14</a:t>
            </a:fld>
            <a:endParaRPr kumimoji="0" lang="ja-JP" altLang="en-US" sz="1000" dirty="0">
              <a:sym typeface="+mn-lt"/>
            </a:endParaRPr>
          </a:p>
        </p:txBody>
      </p:sp>
      <p:sp>
        <p:nvSpPr>
          <p:cNvPr id="95" name="テキスト プレースホルダ 9"/>
          <p:cNvSpPr>
            <a:spLocks noGrp="1"/>
          </p:cNvSpPr>
          <p:nvPr>
            <p:custDataLst>
              <p:tags r:id="rId107"/>
            </p:custDataLst>
          </p:nvPr>
        </p:nvSpPr>
        <p:spPr bwMode="auto">
          <a:xfrm>
            <a:off x="398780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03C149-8541-49C6-93E3-049E709EAF58}" type="datetime'''''''''''''''0''''''8'''''''''''">
              <a:rPr lang="ja-JP" altLang="en-US" sz="1000"/>
              <a:pPr marL="0" indent="0" algn="ctr">
                <a:spcBef>
                  <a:spcPct val="0"/>
                </a:spcBef>
                <a:buNone/>
              </a:pPr>
              <a:t>08</a:t>
            </a:fld>
            <a:endParaRPr kumimoji="0" lang="ja-JP" altLang="en-US" sz="1000" dirty="0">
              <a:sym typeface="+mn-lt"/>
            </a:endParaRPr>
          </a:p>
        </p:txBody>
      </p:sp>
      <p:sp>
        <p:nvSpPr>
          <p:cNvPr id="343" name="テキスト プレースホルダ 9">
            <a:extLst>
              <a:ext uri="{FF2B5EF4-FFF2-40B4-BE49-F238E27FC236}">
                <a16:creationId xmlns:a16="http://schemas.microsoft.com/office/drawing/2014/main" id="{4516AC40-6E8C-40FC-9922-24015B4CF2CD}"/>
              </a:ext>
            </a:extLst>
          </p:cNvPr>
          <p:cNvSpPr>
            <a:spLocks noGrp="1"/>
          </p:cNvSpPr>
          <p:nvPr>
            <p:custDataLst>
              <p:tags r:id="rId108"/>
            </p:custDataLst>
          </p:nvPr>
        </p:nvSpPr>
        <p:spPr bwMode="gray">
          <a:xfrm>
            <a:off x="2914650" y="574675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BF6B826-6784-4FDA-A4B0-A8C9F5BEB14B}" type="datetime'''''4''''''''4''''''''''''''''''''''''''''''8'''''''''">
              <a:rPr kumimoji="0" lang="ja-JP" altLang="en-US" sz="1000" smtClean="0">
                <a:effectLst/>
              </a:rPr>
              <a:pPr/>
              <a:t>448</a:t>
            </a:fld>
            <a:endParaRPr kumimoji="0" lang="ja-JP" altLang="en-US" sz="1000" dirty="0">
              <a:sym typeface="+mn-lt"/>
            </a:endParaRPr>
          </a:p>
        </p:txBody>
      </p:sp>
      <p:sp>
        <p:nvSpPr>
          <p:cNvPr id="199" name="テキスト プレースホルダ 9"/>
          <p:cNvSpPr>
            <a:spLocks noGrp="1"/>
          </p:cNvSpPr>
          <p:nvPr>
            <p:custDataLst>
              <p:tags r:id="rId109"/>
            </p:custDataLst>
          </p:nvPr>
        </p:nvSpPr>
        <p:spPr bwMode="gray">
          <a:xfrm>
            <a:off x="4230687" y="5057775"/>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90C4FF5-7EBE-4F47-89CA-3FC87CA016D8}" type="datetime'''''1'''''''''''''''',''''''''''''''''''5''''''84'''''''''''''">
              <a:rPr lang="ja-JP" altLang="en-US" sz="1000" smtClean="0"/>
              <a:pPr/>
              <a:t>1,584</a:t>
            </a:fld>
            <a:endParaRPr kumimoji="0" lang="ja-JP" altLang="en-US" sz="1000" dirty="0">
              <a:sym typeface="+mn-lt"/>
            </a:endParaRPr>
          </a:p>
        </p:txBody>
      </p:sp>
      <p:sp>
        <p:nvSpPr>
          <p:cNvPr id="93" name="テキスト プレースホルダ 9"/>
          <p:cNvSpPr>
            <a:spLocks noGrp="1"/>
          </p:cNvSpPr>
          <p:nvPr>
            <p:custDataLst>
              <p:tags r:id="rId110"/>
            </p:custDataLst>
          </p:nvPr>
        </p:nvSpPr>
        <p:spPr bwMode="auto">
          <a:xfrm>
            <a:off x="29606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BE9CF2-538F-4281-8DBD-B941D3F05FB9}" type="datetime'05'''">
              <a:rPr lang="ja-JP" altLang="en-US" sz="1000"/>
              <a:pPr marL="0" indent="0" algn="ctr">
                <a:spcBef>
                  <a:spcPct val="0"/>
                </a:spcBef>
                <a:buNone/>
              </a:pPr>
              <a:t>05</a:t>
            </a:fld>
            <a:endParaRPr kumimoji="0" lang="ja-JP" altLang="en-US" sz="1000" dirty="0">
              <a:sym typeface="+mn-lt"/>
            </a:endParaRPr>
          </a:p>
        </p:txBody>
      </p:sp>
      <p:sp>
        <p:nvSpPr>
          <p:cNvPr id="205" name="テキスト プレースホルダ 9"/>
          <p:cNvSpPr>
            <a:spLocks noGrp="1"/>
          </p:cNvSpPr>
          <p:nvPr>
            <p:custDataLst>
              <p:tags r:id="rId111"/>
            </p:custDataLst>
          </p:nvPr>
        </p:nvSpPr>
        <p:spPr bwMode="gray">
          <a:xfrm>
            <a:off x="6286499" y="4673600"/>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7A3F57E-814F-41BC-AB2F-4EE7B119C40B}" type="datetime'2,4''''''7''''''''''1'''''''''''''''''''''''''''''''''''''''">
              <a:rPr lang="ja-JP" altLang="en-US" sz="1000" smtClean="0"/>
              <a:pPr/>
              <a:t>2,471</a:t>
            </a:fld>
            <a:endParaRPr kumimoji="0" lang="ja-JP" altLang="en-US" sz="1000" dirty="0">
              <a:sym typeface="+mn-lt"/>
            </a:endParaRPr>
          </a:p>
        </p:txBody>
      </p:sp>
      <p:sp>
        <p:nvSpPr>
          <p:cNvPr id="289" name="テキスト プレースホルダ 9">
            <a:extLst>
              <a:ext uri="{FF2B5EF4-FFF2-40B4-BE49-F238E27FC236}">
                <a16:creationId xmlns:a16="http://schemas.microsoft.com/office/drawing/2014/main" id="{4356B855-EA18-42A9-BFC9-20413D59BC51}"/>
              </a:ext>
            </a:extLst>
          </p:cNvPr>
          <p:cNvSpPr>
            <a:spLocks noGrp="1"/>
          </p:cNvSpPr>
          <p:nvPr>
            <p:custDataLst>
              <p:tags r:id="rId112"/>
            </p:custDataLst>
          </p:nvPr>
        </p:nvSpPr>
        <p:spPr bwMode="gray">
          <a:xfrm>
            <a:off x="7654925" y="4987925"/>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CDEC22-3B1D-4D2E-9EB4-4860C88204D1}" type="datetime'''1'''''''''''''''',3''''''''''''''''''''''11'''''''''''''''''">
              <a:rPr lang="ja-JP" altLang="en-US" sz="1000" smtClean="0">
                <a:effectLst/>
                <a:sym typeface="+mn-lt"/>
              </a:rPr>
              <a:pPr/>
              <a:t>1,311</a:t>
            </a:fld>
            <a:endParaRPr lang="ja-JP" altLang="en-US" sz="1000" dirty="0">
              <a:sym typeface="+mn-lt"/>
            </a:endParaRPr>
          </a:p>
        </p:txBody>
      </p:sp>
      <p:sp>
        <p:nvSpPr>
          <p:cNvPr id="312" name="テキスト プレースホルダ 9">
            <a:extLst>
              <a:ext uri="{FF2B5EF4-FFF2-40B4-BE49-F238E27FC236}">
                <a16:creationId xmlns:a16="http://schemas.microsoft.com/office/drawing/2014/main" id="{57392BD4-5CDF-40F3-A04F-B0A334B8093C}"/>
              </a:ext>
            </a:extLst>
          </p:cNvPr>
          <p:cNvSpPr>
            <a:spLocks noGrp="1"/>
          </p:cNvSpPr>
          <p:nvPr>
            <p:custDataLst>
              <p:tags r:id="rId113"/>
            </p:custDataLst>
          </p:nvPr>
        </p:nvSpPr>
        <p:spPr bwMode="auto">
          <a:xfrm>
            <a:off x="672623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DEE1342-5971-456C-B370-67316F95A7B8}" type="datetime'''1''''''''''''''6'''''''''">
              <a:rPr kumimoji="0" lang="ja-JP" altLang="en-US" sz="1000" smtClean="0"/>
              <a:pPr/>
              <a:t>16</a:t>
            </a:fld>
            <a:endParaRPr kumimoji="0" lang="ja-JP" altLang="en-US" sz="1000" dirty="0">
              <a:sym typeface="+mn-lt"/>
            </a:endParaRPr>
          </a:p>
        </p:txBody>
      </p:sp>
      <p:sp>
        <p:nvSpPr>
          <p:cNvPr id="344" name="テキスト プレースホルダ 9">
            <a:extLst>
              <a:ext uri="{FF2B5EF4-FFF2-40B4-BE49-F238E27FC236}">
                <a16:creationId xmlns:a16="http://schemas.microsoft.com/office/drawing/2014/main" id="{29C71B5D-CD2F-4AC8-8553-719D7C868D18}"/>
              </a:ext>
            </a:extLst>
          </p:cNvPr>
          <p:cNvSpPr>
            <a:spLocks noGrp="1"/>
          </p:cNvSpPr>
          <p:nvPr>
            <p:custDataLst>
              <p:tags r:id="rId114"/>
            </p:custDataLst>
          </p:nvPr>
        </p:nvSpPr>
        <p:spPr bwMode="gray">
          <a:xfrm>
            <a:off x="3255963" y="574198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343970F-EB37-4DBF-9AAC-6984E97198A8}" type="datetime'''''4''''''''''''''''''''''''''''''''''''''''7''1'''''''''''''">
              <a:rPr kumimoji="0" lang="ja-JP" altLang="en-US" sz="1000" smtClean="0">
                <a:effectLst/>
              </a:rPr>
              <a:pPr/>
              <a:t>471</a:t>
            </a:fld>
            <a:endParaRPr kumimoji="0" lang="ja-JP" altLang="en-US" sz="1000" dirty="0">
              <a:sym typeface="+mn-lt"/>
            </a:endParaRPr>
          </a:p>
        </p:txBody>
      </p:sp>
      <p:sp>
        <p:nvSpPr>
          <p:cNvPr id="86" name="テキスト プレースホルダ 9"/>
          <p:cNvSpPr>
            <a:spLocks noGrp="1"/>
          </p:cNvSpPr>
          <p:nvPr>
            <p:custDataLst>
              <p:tags r:id="rId115"/>
            </p:custDataLst>
          </p:nvPr>
        </p:nvSpPr>
        <p:spPr bwMode="auto">
          <a:xfrm>
            <a:off x="330200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9B5444-06D9-46EA-A9AB-D82F16194C76}" type="datetime'0''''''''6'''''''''''''''''''''''''''''''''''''''''">
              <a:rPr lang="ja-JP" altLang="en-US" sz="1000"/>
              <a:pPr marL="0" indent="0" algn="ctr">
                <a:spcBef>
                  <a:spcPct val="0"/>
                </a:spcBef>
                <a:buNone/>
              </a:pPr>
              <a:t>06</a:t>
            </a:fld>
            <a:endParaRPr kumimoji="0" lang="ja-JP" altLang="en-US" sz="1000" dirty="0">
              <a:sym typeface="+mn-lt"/>
            </a:endParaRPr>
          </a:p>
        </p:txBody>
      </p:sp>
      <p:sp>
        <p:nvSpPr>
          <p:cNvPr id="127" name="テキスト プレースホルダ 9"/>
          <p:cNvSpPr>
            <a:spLocks noGrp="1"/>
          </p:cNvSpPr>
          <p:nvPr>
            <p:custDataLst>
              <p:tags r:id="rId116"/>
            </p:custDataLst>
          </p:nvPr>
        </p:nvSpPr>
        <p:spPr bwMode="gray">
          <a:xfrm>
            <a:off x="1833562" y="5194300"/>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07F014A-0E24-47EF-89F8-A64256E1AD17}" type="datetime'''''''1'''''''''''''''''''''''''',''26''8'''''''''''''''''">
              <a:rPr lang="ja-JP" altLang="en-US" sz="1000" smtClean="0"/>
              <a:pPr/>
              <a:t>1,268</a:t>
            </a:fld>
            <a:endParaRPr kumimoji="0" lang="ja-JP" altLang="en-US" sz="1000" dirty="0">
              <a:sym typeface="+mn-lt"/>
            </a:endParaRPr>
          </a:p>
        </p:txBody>
      </p:sp>
      <p:sp>
        <p:nvSpPr>
          <p:cNvPr id="345" name="テキスト プレースホルダ 9">
            <a:extLst>
              <a:ext uri="{FF2B5EF4-FFF2-40B4-BE49-F238E27FC236}">
                <a16:creationId xmlns:a16="http://schemas.microsoft.com/office/drawing/2014/main" id="{43F37387-0E1E-4F2E-B0AF-C8295ECE3144}"/>
              </a:ext>
            </a:extLst>
          </p:cNvPr>
          <p:cNvSpPr>
            <a:spLocks noGrp="1"/>
          </p:cNvSpPr>
          <p:nvPr>
            <p:custDataLst>
              <p:tags r:id="rId117"/>
            </p:custDataLst>
          </p:nvPr>
        </p:nvSpPr>
        <p:spPr bwMode="gray">
          <a:xfrm>
            <a:off x="3598863" y="574040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D884394-4813-4817-8919-5D682EEC3F27}" type="datetime'''''''''''''''''''4''''''''''''''''''''''''''''''7''1'''''">
              <a:rPr kumimoji="0" lang="ja-JP" altLang="en-US" sz="1000" smtClean="0">
                <a:effectLst/>
              </a:rPr>
              <a:pPr/>
              <a:t>471</a:t>
            </a:fld>
            <a:endParaRPr kumimoji="0" lang="ja-JP" altLang="en-US" sz="1000" dirty="0">
              <a:sym typeface="+mn-lt"/>
            </a:endParaRPr>
          </a:p>
        </p:txBody>
      </p:sp>
      <p:sp>
        <p:nvSpPr>
          <p:cNvPr id="84" name="テキスト プレースホルダ 9"/>
          <p:cNvSpPr>
            <a:spLocks noGrp="1"/>
          </p:cNvSpPr>
          <p:nvPr>
            <p:custDataLst>
              <p:tags r:id="rId118"/>
            </p:custDataLst>
          </p:nvPr>
        </p:nvSpPr>
        <p:spPr bwMode="auto">
          <a:xfrm>
            <a:off x="364490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9865F4-63DA-4BEF-A9AF-E80F034DF888}" type="datetime'''''''''''''''0''''''''''''''7'''''''''">
              <a:rPr lang="ja-JP" altLang="en-US" sz="1000"/>
              <a:pPr marL="0" indent="0" algn="ctr">
                <a:spcBef>
                  <a:spcPct val="0"/>
                </a:spcBef>
                <a:buNone/>
              </a:pPr>
              <a:t>07</a:t>
            </a:fld>
            <a:endParaRPr kumimoji="0" lang="ja-JP" altLang="en-US" sz="1000" dirty="0">
              <a:sym typeface="+mn-lt"/>
            </a:endParaRPr>
          </a:p>
        </p:txBody>
      </p:sp>
      <p:sp>
        <p:nvSpPr>
          <p:cNvPr id="197" name="テキスト プレースホルダ 9"/>
          <p:cNvSpPr>
            <a:spLocks noGrp="1"/>
          </p:cNvSpPr>
          <p:nvPr>
            <p:custDataLst>
              <p:tags r:id="rId119"/>
            </p:custDataLst>
          </p:nvPr>
        </p:nvSpPr>
        <p:spPr bwMode="gray">
          <a:xfrm>
            <a:off x="3546474" y="5133975"/>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27E2A42-4083-4295-A5EA-57F5F0462A93}" type="datetime'''''''''''''''''''''''''''1'''''''''',''4''''''0''''7'''''">
              <a:rPr lang="ja-JP" altLang="en-US" sz="1000" smtClean="0"/>
              <a:pPr/>
              <a:t>1,407</a:t>
            </a:fld>
            <a:endParaRPr kumimoji="0" lang="ja-JP" altLang="en-US" sz="1000" dirty="0">
              <a:sym typeface="+mn-lt"/>
            </a:endParaRPr>
          </a:p>
        </p:txBody>
      </p:sp>
      <p:sp>
        <p:nvSpPr>
          <p:cNvPr id="96" name="テキスト プレースホルダ 9"/>
          <p:cNvSpPr>
            <a:spLocks noGrp="1"/>
          </p:cNvSpPr>
          <p:nvPr>
            <p:custDataLst>
              <p:tags r:id="rId120"/>
            </p:custDataLst>
          </p:nvPr>
        </p:nvSpPr>
        <p:spPr bwMode="auto">
          <a:xfrm>
            <a:off x="432911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96B0BC-BE4B-4003-A6A6-971EA76BF610}" type="datetime'''''''''''''''''''''''''''0''''''9'''''''">
              <a:rPr lang="ja-JP" altLang="en-US" sz="1000"/>
              <a:pPr marL="0" indent="0" algn="ctr">
                <a:spcBef>
                  <a:spcPct val="0"/>
                </a:spcBef>
                <a:buNone/>
              </a:pPr>
              <a:t>09</a:t>
            </a:fld>
            <a:endParaRPr kumimoji="0" lang="ja-JP" altLang="en-US" sz="1000" dirty="0">
              <a:sym typeface="+mn-lt"/>
            </a:endParaRPr>
          </a:p>
        </p:txBody>
      </p:sp>
      <p:sp>
        <p:nvSpPr>
          <p:cNvPr id="202" name="テキスト プレースホルダ 9"/>
          <p:cNvSpPr>
            <a:spLocks noGrp="1"/>
          </p:cNvSpPr>
          <p:nvPr>
            <p:custDataLst>
              <p:tags r:id="rId121"/>
            </p:custDataLst>
          </p:nvPr>
        </p:nvSpPr>
        <p:spPr bwMode="gray">
          <a:xfrm>
            <a:off x="5257799" y="4953000"/>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65181BA-8EC9-40DB-80C6-15CC717A5828}" type="datetime'''''1'''''''''''''''''''''''''''''',8''''''''''''''2''''''''5'">
              <a:rPr lang="ja-JP" altLang="en-US" sz="1000" smtClean="0"/>
              <a:pPr/>
              <a:t>1,825</a:t>
            </a:fld>
            <a:endParaRPr kumimoji="0" lang="ja-JP" altLang="en-US" sz="1000" dirty="0">
              <a:sym typeface="+mn-lt"/>
            </a:endParaRPr>
          </a:p>
        </p:txBody>
      </p:sp>
      <p:sp>
        <p:nvSpPr>
          <p:cNvPr id="97" name="テキスト プレースホルダ 9"/>
          <p:cNvSpPr>
            <a:spLocks noGrp="1"/>
          </p:cNvSpPr>
          <p:nvPr>
            <p:custDataLst>
              <p:tags r:id="rId122"/>
            </p:custDataLst>
          </p:nvPr>
        </p:nvSpPr>
        <p:spPr bwMode="auto">
          <a:xfrm>
            <a:off x="467201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43AFAA-A7C8-4E7B-B740-70A285AA8F16}" type="datetime'''''''''''''''''10'''''''''''''''''''''''''">
              <a:rPr lang="ja-JP" altLang="en-US" sz="1000"/>
              <a:pPr marL="0" indent="0" algn="ctr">
                <a:spcBef>
                  <a:spcPct val="0"/>
                </a:spcBef>
                <a:buNone/>
              </a:pPr>
              <a:t>10</a:t>
            </a:fld>
            <a:endParaRPr kumimoji="0" lang="ja-JP" altLang="en-US" sz="1000" dirty="0">
              <a:sym typeface="+mn-lt"/>
            </a:endParaRPr>
          </a:p>
        </p:txBody>
      </p:sp>
      <p:sp>
        <p:nvSpPr>
          <p:cNvPr id="269" name="テキスト プレースホルダ 9">
            <a:extLst>
              <a:ext uri="{FF2B5EF4-FFF2-40B4-BE49-F238E27FC236}">
                <a16:creationId xmlns:a16="http://schemas.microsoft.com/office/drawing/2014/main" id="{E2312215-861A-4050-9538-99D17497457D}"/>
              </a:ext>
            </a:extLst>
          </p:cNvPr>
          <p:cNvSpPr>
            <a:spLocks noGrp="1"/>
          </p:cNvSpPr>
          <p:nvPr>
            <p:custDataLst>
              <p:tags r:id="rId123"/>
            </p:custDataLst>
          </p:nvPr>
        </p:nvSpPr>
        <p:spPr bwMode="gray">
          <a:xfrm>
            <a:off x="5257800" y="5292725"/>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540EFA-62B4-4C73-81D9-AF326D129B5B}" type="datetime'1'''''''''',''''''''''''''''''1''''''0''''''''''''8'''''''">
              <a:rPr lang="ja-JP" altLang="en-US" sz="1000" smtClean="0">
                <a:effectLst/>
                <a:sym typeface="+mn-lt"/>
              </a:rPr>
              <a:pPr marL="0" indent="0" algn="ctr">
                <a:spcBef>
                  <a:spcPct val="0"/>
                </a:spcBef>
                <a:buNone/>
              </a:pPr>
              <a:t>1,108</a:t>
            </a:fld>
            <a:endParaRPr lang="ja-JP" altLang="en-US" sz="1000" dirty="0">
              <a:sym typeface="+mn-lt"/>
            </a:endParaRPr>
          </a:p>
        </p:txBody>
      </p:sp>
      <p:sp>
        <p:nvSpPr>
          <p:cNvPr id="98" name="テキスト プレースホルダ 9"/>
          <p:cNvSpPr>
            <a:spLocks noGrp="1"/>
          </p:cNvSpPr>
          <p:nvPr>
            <p:custDataLst>
              <p:tags r:id="rId124"/>
            </p:custDataLst>
          </p:nvPr>
        </p:nvSpPr>
        <p:spPr bwMode="auto">
          <a:xfrm>
            <a:off x="501491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5FC3B3-A18E-43B1-94C4-2B58B50D754B}" type="datetime'''''''''''1''''''''''''''''1'''''''''''''''''''">
              <a:rPr lang="ja-JP" altLang="en-US" sz="1000"/>
              <a:pPr marL="0" indent="0" algn="ctr">
                <a:spcBef>
                  <a:spcPct val="0"/>
                </a:spcBef>
                <a:buNone/>
              </a:pPr>
              <a:t>11</a:t>
            </a:fld>
            <a:endParaRPr kumimoji="0" lang="ja-JP" altLang="en-US" sz="1000" dirty="0">
              <a:sym typeface="+mn-lt"/>
            </a:endParaRPr>
          </a:p>
        </p:txBody>
      </p:sp>
      <p:sp>
        <p:nvSpPr>
          <p:cNvPr id="232" name="テキスト プレースホルダ 9">
            <a:extLst>
              <a:ext uri="{FF2B5EF4-FFF2-40B4-BE49-F238E27FC236}">
                <a16:creationId xmlns:a16="http://schemas.microsoft.com/office/drawing/2014/main" id="{61EA2029-F567-4C60-93FD-8AC582BAE0FB}"/>
              </a:ext>
            </a:extLst>
          </p:cNvPr>
          <p:cNvSpPr>
            <a:spLocks noGrp="1"/>
          </p:cNvSpPr>
          <p:nvPr>
            <p:custDataLst>
              <p:tags r:id="rId125"/>
            </p:custDataLst>
          </p:nvPr>
        </p:nvSpPr>
        <p:spPr bwMode="gray">
          <a:xfrm>
            <a:off x="6627812" y="5572125"/>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C5DBCCD-42B4-4EE0-A201-CA1464ED4951}" type="datetime'''''''1'''''',''''''2''''''''''''''''5''''''''''''''''''6'''''">
              <a:rPr lang="ja-JP" altLang="en-US" sz="1000" smtClean="0">
                <a:effectLst/>
              </a:rPr>
              <a:pPr/>
              <a:t>1,256</a:t>
            </a:fld>
            <a:endParaRPr lang="ja-JP" altLang="en-US" sz="1000" dirty="0">
              <a:sym typeface="+mn-lt"/>
            </a:endParaRPr>
          </a:p>
        </p:txBody>
      </p:sp>
      <p:sp>
        <p:nvSpPr>
          <p:cNvPr id="224" name="テキスト プレースホルダ 9">
            <a:extLst>
              <a:ext uri="{FF2B5EF4-FFF2-40B4-BE49-F238E27FC236}">
                <a16:creationId xmlns:a16="http://schemas.microsoft.com/office/drawing/2014/main" id="{9BF442A9-110E-45FE-ACDE-34893B2C00CE}"/>
              </a:ext>
            </a:extLst>
          </p:cNvPr>
          <p:cNvSpPr>
            <a:spLocks noGrp="1"/>
          </p:cNvSpPr>
          <p:nvPr>
            <p:custDataLst>
              <p:tags r:id="rId126"/>
            </p:custDataLst>
          </p:nvPr>
        </p:nvSpPr>
        <p:spPr bwMode="gray">
          <a:xfrm>
            <a:off x="5943599" y="5624513"/>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33CA5FF-0463-4E50-85A8-28487D3EB960}" type="datetime'''1'''''''''''''''''''''''''''''''''''''''''''',01''3'''''">
              <a:rPr lang="ja-JP" altLang="en-US" sz="1000" smtClean="0">
                <a:effectLst/>
              </a:rPr>
              <a:pPr/>
              <a:t>1,013</a:t>
            </a:fld>
            <a:endParaRPr lang="ja-JP" altLang="en-US" sz="1000" dirty="0">
              <a:sym typeface="+mn-lt"/>
            </a:endParaRPr>
          </a:p>
        </p:txBody>
      </p:sp>
      <p:sp>
        <p:nvSpPr>
          <p:cNvPr id="94" name="テキスト プレースホルダ 9"/>
          <p:cNvSpPr>
            <a:spLocks noGrp="1"/>
          </p:cNvSpPr>
          <p:nvPr>
            <p:custDataLst>
              <p:tags r:id="rId127"/>
            </p:custDataLst>
          </p:nvPr>
        </p:nvSpPr>
        <p:spPr bwMode="auto">
          <a:xfrm>
            <a:off x="535622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612812-30DE-4172-859F-C67FE9E273D9}" type="datetime'''''1''''''2'''''''''''''''''''''''''''''''''''''''''''''''''">
              <a:rPr lang="ja-JP" altLang="en-US" sz="1000"/>
              <a:pPr marL="0" indent="0" algn="ctr">
                <a:spcBef>
                  <a:spcPct val="0"/>
                </a:spcBef>
                <a:buNone/>
              </a:pPr>
              <a:t>12</a:t>
            </a:fld>
            <a:endParaRPr kumimoji="0" lang="ja-JP" altLang="en-US" sz="1000" dirty="0">
              <a:sym typeface="+mn-lt"/>
            </a:endParaRPr>
          </a:p>
        </p:txBody>
      </p:sp>
      <p:sp>
        <p:nvSpPr>
          <p:cNvPr id="87" name="テキスト プレースホルダ 9"/>
          <p:cNvSpPr>
            <a:spLocks noGrp="1"/>
          </p:cNvSpPr>
          <p:nvPr>
            <p:custDataLst>
              <p:tags r:id="rId128"/>
            </p:custDataLst>
          </p:nvPr>
        </p:nvSpPr>
        <p:spPr bwMode="auto">
          <a:xfrm>
            <a:off x="569912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AD32F5-5EA7-416D-BE9F-56EC743B9BFD}" type="datetime'''''1''''''''''''''''''''''3'''''''''''''''''''''''''">
              <a:rPr lang="ja-JP" altLang="en-US" sz="1000"/>
              <a:pPr marL="0" indent="0" algn="ctr">
                <a:spcBef>
                  <a:spcPct val="0"/>
                </a:spcBef>
                <a:buNone/>
              </a:pPr>
              <a:t>13</a:t>
            </a:fld>
            <a:endParaRPr kumimoji="0" lang="ja-JP" altLang="en-US" sz="1000" dirty="0">
              <a:sym typeface="+mn-lt"/>
            </a:endParaRPr>
          </a:p>
        </p:txBody>
      </p:sp>
      <p:sp>
        <p:nvSpPr>
          <p:cNvPr id="313" name="テキスト プレースホルダ 9">
            <a:extLst>
              <a:ext uri="{FF2B5EF4-FFF2-40B4-BE49-F238E27FC236}">
                <a16:creationId xmlns:a16="http://schemas.microsoft.com/office/drawing/2014/main" id="{41477F73-439B-4BDC-BBF1-43D2AC10B039}"/>
              </a:ext>
            </a:extLst>
          </p:cNvPr>
          <p:cNvSpPr>
            <a:spLocks noGrp="1"/>
          </p:cNvSpPr>
          <p:nvPr>
            <p:custDataLst>
              <p:tags r:id="rId129"/>
            </p:custDataLst>
          </p:nvPr>
        </p:nvSpPr>
        <p:spPr bwMode="auto">
          <a:xfrm>
            <a:off x="706913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7C4105C-E871-4C38-AB3D-A4C5EB6CDFF6}" type="datetime'''''''''''''''''''''''''''''''''''''''''1''''7'''''''''">
              <a:rPr kumimoji="0" lang="ja-JP" altLang="en-US" sz="1000" smtClean="0"/>
              <a:pPr/>
              <a:t>17</a:t>
            </a:fld>
            <a:endParaRPr kumimoji="0" lang="ja-JP" altLang="en-US" sz="1000" dirty="0">
              <a:sym typeface="+mn-lt"/>
            </a:endParaRPr>
          </a:p>
        </p:txBody>
      </p:sp>
      <p:sp>
        <p:nvSpPr>
          <p:cNvPr id="195" name="テキスト プレースホルダ 9"/>
          <p:cNvSpPr>
            <a:spLocks noGrp="1"/>
          </p:cNvSpPr>
          <p:nvPr>
            <p:custDataLst>
              <p:tags r:id="rId130"/>
            </p:custDataLst>
          </p:nvPr>
        </p:nvSpPr>
        <p:spPr bwMode="gray">
          <a:xfrm>
            <a:off x="2862262" y="5154613"/>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CA5DB51-D365-4563-923E-66FEF5BEF96F}" type="datetime'''''''''''1'''''''',''''''35''''8'''''">
              <a:rPr lang="ja-JP" altLang="en-US" sz="1000" smtClean="0"/>
              <a:pPr/>
              <a:t>1,358</a:t>
            </a:fld>
            <a:endParaRPr kumimoji="0" lang="ja-JP" altLang="en-US" sz="1000" dirty="0">
              <a:sym typeface="+mn-lt"/>
            </a:endParaRPr>
          </a:p>
        </p:txBody>
      </p:sp>
      <p:sp>
        <p:nvSpPr>
          <p:cNvPr id="314" name="テキスト プレースホルダ 9">
            <a:extLst>
              <a:ext uri="{FF2B5EF4-FFF2-40B4-BE49-F238E27FC236}">
                <a16:creationId xmlns:a16="http://schemas.microsoft.com/office/drawing/2014/main" id="{A8758EAD-18D6-4CE1-8ABE-CD647B96B915}"/>
              </a:ext>
            </a:extLst>
          </p:cNvPr>
          <p:cNvSpPr>
            <a:spLocks noGrp="1"/>
          </p:cNvSpPr>
          <p:nvPr>
            <p:custDataLst>
              <p:tags r:id="rId131"/>
            </p:custDataLst>
          </p:nvPr>
        </p:nvSpPr>
        <p:spPr bwMode="auto">
          <a:xfrm>
            <a:off x="741203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3982C0D-0097-49C2-8589-EEF049E537C5}" type="datetime'''''''''''1''''''''''''''8'''''''''''">
              <a:rPr kumimoji="0" lang="ja-JP" altLang="en-US" sz="1000" smtClean="0"/>
              <a:pPr/>
              <a:t>18</a:t>
            </a:fld>
            <a:endParaRPr kumimoji="0" lang="ja-JP" altLang="en-US" sz="1000" dirty="0">
              <a:sym typeface="+mn-lt"/>
            </a:endParaRPr>
          </a:p>
        </p:txBody>
      </p:sp>
      <p:sp>
        <p:nvSpPr>
          <p:cNvPr id="198" name="テキスト プレースホルダ 9"/>
          <p:cNvSpPr>
            <a:spLocks noGrp="1"/>
          </p:cNvSpPr>
          <p:nvPr>
            <p:custDataLst>
              <p:tags r:id="rId132"/>
            </p:custDataLst>
          </p:nvPr>
        </p:nvSpPr>
        <p:spPr bwMode="gray">
          <a:xfrm>
            <a:off x="3889374" y="5073650"/>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EF36BB-4424-433C-94EB-156FB86D98A5}" type="datetime'''''''''''''''''''''''1'''''',''5''47'''''''''''''''''''''''">
              <a:rPr lang="ja-JP" altLang="en-US" sz="1000" smtClean="0"/>
              <a:pPr/>
              <a:t>1,547</a:t>
            </a:fld>
            <a:endParaRPr kumimoji="0" lang="ja-JP" altLang="en-US" sz="1000" dirty="0">
              <a:sym typeface="+mn-lt"/>
            </a:endParaRPr>
          </a:p>
        </p:txBody>
      </p:sp>
      <p:sp>
        <p:nvSpPr>
          <p:cNvPr id="201" name="テキスト プレースホルダ 9"/>
          <p:cNvSpPr>
            <a:spLocks noGrp="1"/>
          </p:cNvSpPr>
          <p:nvPr>
            <p:custDataLst>
              <p:tags r:id="rId133"/>
            </p:custDataLst>
          </p:nvPr>
        </p:nvSpPr>
        <p:spPr bwMode="gray">
          <a:xfrm>
            <a:off x="4916487" y="5010150"/>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D9624BD-D5E9-4183-8831-23CFAE5BAB9B}" type="datetime'''1'',''''''''''''''''''6''''''9''''''1'''''''''''''''''''''''">
              <a:rPr lang="ja-JP" altLang="en-US" sz="1000" smtClean="0"/>
              <a:pPr/>
              <a:t>1,691</a:t>
            </a:fld>
            <a:endParaRPr kumimoji="0" lang="ja-JP" altLang="en-US" sz="1000" dirty="0">
              <a:sym typeface="+mn-lt"/>
            </a:endParaRPr>
          </a:p>
        </p:txBody>
      </p:sp>
      <p:sp>
        <p:nvSpPr>
          <p:cNvPr id="204" name="テキスト プレースホルダ 9"/>
          <p:cNvSpPr>
            <a:spLocks noGrp="1"/>
          </p:cNvSpPr>
          <p:nvPr>
            <p:custDataLst>
              <p:tags r:id="rId134"/>
            </p:custDataLst>
          </p:nvPr>
        </p:nvSpPr>
        <p:spPr bwMode="gray">
          <a:xfrm>
            <a:off x="5943599" y="4770438"/>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6F8A1-2161-4597-989F-4F7CF23E75C2}" type="datetime'''''''''''''''''''''''2'',''''''''2''4''''8'''''''''''''">
              <a:rPr lang="ja-JP" altLang="en-US" sz="1000" smtClean="0"/>
              <a:pPr/>
              <a:t>2,248</a:t>
            </a:fld>
            <a:endParaRPr kumimoji="0" lang="ja-JP" altLang="en-US" sz="1000" dirty="0">
              <a:sym typeface="+mn-lt"/>
            </a:endParaRPr>
          </a:p>
        </p:txBody>
      </p:sp>
      <p:sp>
        <p:nvSpPr>
          <p:cNvPr id="128" name="テキスト プレースホルダ 9"/>
          <p:cNvSpPr>
            <a:spLocks noGrp="1"/>
          </p:cNvSpPr>
          <p:nvPr>
            <p:custDataLst>
              <p:tags r:id="rId135"/>
            </p:custDataLst>
          </p:nvPr>
        </p:nvSpPr>
        <p:spPr bwMode="gray">
          <a:xfrm>
            <a:off x="4573587" y="5026025"/>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CF4C1F1-FAAC-485E-9E37-60D5390463E8}" type="datetime'''''''''''''''''''1'''''',''''''6''''5''''5'''''''''''''''''">
              <a:rPr lang="ja-JP" altLang="en-US" sz="1000" smtClean="0"/>
              <a:pPr/>
              <a:t>1,655</a:t>
            </a:fld>
            <a:endParaRPr kumimoji="0" lang="ja-JP" altLang="en-US" sz="1000" dirty="0">
              <a:sym typeface="+mn-lt"/>
            </a:endParaRPr>
          </a:p>
        </p:txBody>
      </p:sp>
      <p:sp>
        <p:nvSpPr>
          <p:cNvPr id="203" name="テキスト プレースホルダ 9"/>
          <p:cNvSpPr>
            <a:spLocks noGrp="1"/>
          </p:cNvSpPr>
          <p:nvPr>
            <p:custDataLst>
              <p:tags r:id="rId136"/>
            </p:custDataLst>
          </p:nvPr>
        </p:nvSpPr>
        <p:spPr bwMode="gray">
          <a:xfrm>
            <a:off x="5600699" y="4840288"/>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B6087A-878E-445A-A4E9-8F88A7C420F8}" type="datetime'''''2'''',''''''0''8''''7'''''''''''''''''''''''''''">
              <a:rPr lang="ja-JP" altLang="en-US" sz="1000" smtClean="0"/>
              <a:pPr/>
              <a:t>2,087</a:t>
            </a:fld>
            <a:endParaRPr kumimoji="0" lang="ja-JP" altLang="en-US" sz="1000" dirty="0">
              <a:sym typeface="+mn-lt"/>
            </a:endParaRPr>
          </a:p>
        </p:txBody>
      </p:sp>
      <p:sp>
        <p:nvSpPr>
          <p:cNvPr id="347" name="テキスト プレースホルダ 9">
            <a:extLst>
              <a:ext uri="{FF2B5EF4-FFF2-40B4-BE49-F238E27FC236}">
                <a16:creationId xmlns:a16="http://schemas.microsoft.com/office/drawing/2014/main" id="{AAAF9DCB-5D83-4BD4-AD02-7BAD7F42B5F1}"/>
              </a:ext>
            </a:extLst>
          </p:cNvPr>
          <p:cNvSpPr>
            <a:spLocks noGrp="1"/>
          </p:cNvSpPr>
          <p:nvPr>
            <p:custDataLst>
              <p:tags r:id="rId137"/>
            </p:custDataLst>
          </p:nvPr>
        </p:nvSpPr>
        <p:spPr bwMode="gray">
          <a:xfrm>
            <a:off x="6970712" y="4562475"/>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C38D89-A00A-4DC5-BB61-60A2CCB68D17}" type="datetime'''''''''''''''2'''''''',72''''''''''''''''9'''''''''''''''''''">
              <a:rPr lang="ja-JP" altLang="en-US" sz="1000" smtClean="0"/>
              <a:pPr/>
              <a:t>2,729</a:t>
            </a:fld>
            <a:endParaRPr lang="ja-JP" altLang="en-US" sz="1000" dirty="0">
              <a:sym typeface="+mn-lt"/>
            </a:endParaRPr>
          </a:p>
        </p:txBody>
      </p:sp>
      <p:sp>
        <p:nvSpPr>
          <p:cNvPr id="216" name="テキスト プレースホルダ 9">
            <a:extLst>
              <a:ext uri="{FF2B5EF4-FFF2-40B4-BE49-F238E27FC236}">
                <a16:creationId xmlns:a16="http://schemas.microsoft.com/office/drawing/2014/main" id="{B2B8385D-E5C2-4DBC-B1D7-2236D3C5C789}"/>
              </a:ext>
            </a:extLst>
          </p:cNvPr>
          <p:cNvSpPr>
            <a:spLocks noGrp="1"/>
          </p:cNvSpPr>
          <p:nvPr>
            <p:custDataLst>
              <p:tags r:id="rId138"/>
            </p:custDataLst>
          </p:nvPr>
        </p:nvSpPr>
        <p:spPr bwMode="auto">
          <a:xfrm>
            <a:off x="775335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83955C-814D-48D4-8F78-CA7D1A00DD4F}" type="datetime'''''''''''''''''''''''1''''''9'''''''''''">
              <a:rPr kumimoji="0" lang="ja-JP" altLang="en-US" sz="1000" smtClean="0"/>
              <a:pPr/>
              <a:t>19</a:t>
            </a:fld>
            <a:endParaRPr kumimoji="0" lang="ja-JP" altLang="en-US" sz="1000" dirty="0">
              <a:sym typeface="+mn-lt"/>
            </a:endParaRPr>
          </a:p>
        </p:txBody>
      </p:sp>
      <p:sp>
        <p:nvSpPr>
          <p:cNvPr id="218" name="テキスト プレースホルダ 9">
            <a:extLst>
              <a:ext uri="{FF2B5EF4-FFF2-40B4-BE49-F238E27FC236}">
                <a16:creationId xmlns:a16="http://schemas.microsoft.com/office/drawing/2014/main" id="{91C00AD5-79E1-47DE-9893-76CD8718E20E}"/>
              </a:ext>
            </a:extLst>
          </p:cNvPr>
          <p:cNvSpPr>
            <a:spLocks noGrp="1"/>
          </p:cNvSpPr>
          <p:nvPr>
            <p:custDataLst>
              <p:tags r:id="rId139"/>
            </p:custDataLst>
          </p:nvPr>
        </p:nvSpPr>
        <p:spPr bwMode="gray">
          <a:xfrm>
            <a:off x="4968875" y="570706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23FD02A-A125-481F-AC61-C38025B3B3AC}" type="datetime'''''''''''''''''''''''''''''''''6''''28'''''''''">
              <a:rPr lang="ja-JP" altLang="en-US" sz="1000" smtClean="0">
                <a:effectLst/>
              </a:rPr>
              <a:pPr/>
              <a:t>628</a:t>
            </a:fld>
            <a:endParaRPr lang="ja-JP" altLang="en-US" sz="1000" dirty="0">
              <a:sym typeface="+mn-lt"/>
            </a:endParaRPr>
          </a:p>
        </p:txBody>
      </p:sp>
      <p:sp>
        <p:nvSpPr>
          <p:cNvPr id="222" name="テキスト プレースホルダ 9">
            <a:extLst>
              <a:ext uri="{FF2B5EF4-FFF2-40B4-BE49-F238E27FC236}">
                <a16:creationId xmlns:a16="http://schemas.microsoft.com/office/drawing/2014/main" id="{1C4AE879-F098-44FA-8A2F-D0BA3178ECE8}"/>
              </a:ext>
            </a:extLst>
          </p:cNvPr>
          <p:cNvSpPr>
            <a:spLocks noGrp="1"/>
          </p:cNvSpPr>
          <p:nvPr>
            <p:custDataLst>
              <p:tags r:id="rId140"/>
            </p:custDataLst>
          </p:nvPr>
        </p:nvSpPr>
        <p:spPr bwMode="gray">
          <a:xfrm>
            <a:off x="5653088" y="565467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2B44293-0256-4F65-80EB-C32E293F0544}" type="datetime'''''''''''''8''''''7''''''''0'">
              <a:rPr lang="ja-JP" altLang="en-US" sz="1000" smtClean="0">
                <a:effectLst/>
              </a:rPr>
              <a:pPr/>
              <a:t>870</a:t>
            </a:fld>
            <a:endParaRPr lang="ja-JP" altLang="en-US" sz="1000" dirty="0">
              <a:sym typeface="+mn-lt"/>
            </a:endParaRPr>
          </a:p>
        </p:txBody>
      </p:sp>
      <p:sp>
        <p:nvSpPr>
          <p:cNvPr id="220" name="テキスト プレースホルダ 9">
            <a:extLst>
              <a:ext uri="{FF2B5EF4-FFF2-40B4-BE49-F238E27FC236}">
                <a16:creationId xmlns:a16="http://schemas.microsoft.com/office/drawing/2014/main" id="{CD4FB066-3BF2-4998-B31B-ED4B9F7B5E86}"/>
              </a:ext>
            </a:extLst>
          </p:cNvPr>
          <p:cNvSpPr>
            <a:spLocks noGrp="1"/>
          </p:cNvSpPr>
          <p:nvPr>
            <p:custDataLst>
              <p:tags r:id="rId141"/>
            </p:custDataLst>
          </p:nvPr>
        </p:nvSpPr>
        <p:spPr bwMode="gray">
          <a:xfrm>
            <a:off x="5310188" y="5688013"/>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38876E8-AD8F-4D1C-B958-53C94E055537}" type="datetime'''''''''''''''7''''''1''''''7'''">
              <a:rPr lang="ja-JP" altLang="en-US" sz="1000" smtClean="0">
                <a:effectLst/>
              </a:rPr>
              <a:pPr/>
              <a:t>717</a:t>
            </a:fld>
            <a:endParaRPr lang="ja-JP" altLang="en-US" sz="1000" dirty="0">
              <a:sym typeface="+mn-lt"/>
            </a:endParaRPr>
          </a:p>
        </p:txBody>
      </p:sp>
      <p:sp>
        <p:nvSpPr>
          <p:cNvPr id="230" name="テキスト プレースホルダ 9">
            <a:extLst>
              <a:ext uri="{FF2B5EF4-FFF2-40B4-BE49-F238E27FC236}">
                <a16:creationId xmlns:a16="http://schemas.microsoft.com/office/drawing/2014/main" id="{7E792EEF-046F-46C2-88D4-11B74F2B4AB3}"/>
              </a:ext>
            </a:extLst>
          </p:cNvPr>
          <p:cNvSpPr>
            <a:spLocks noGrp="1"/>
          </p:cNvSpPr>
          <p:nvPr>
            <p:custDataLst>
              <p:tags r:id="rId142"/>
            </p:custDataLst>
          </p:nvPr>
        </p:nvSpPr>
        <p:spPr bwMode="gray">
          <a:xfrm>
            <a:off x="6286499" y="5591175"/>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0DB420-FB4E-488A-B48D-2278F59112C5}" type="datetime'''1'''',''''''''''''1''''''''''''63'''''''''''''''''">
              <a:rPr lang="ja-JP" altLang="en-US" sz="1000" smtClean="0">
                <a:effectLst/>
              </a:rPr>
              <a:pPr/>
              <a:t>1,163</a:t>
            </a:fld>
            <a:endParaRPr lang="ja-JP" altLang="en-US" sz="1000" dirty="0">
              <a:sym typeface="+mn-lt"/>
            </a:endParaRPr>
          </a:p>
        </p:txBody>
      </p:sp>
      <p:sp>
        <p:nvSpPr>
          <p:cNvPr id="239" name="テキスト プレースホルダ 9">
            <a:extLst>
              <a:ext uri="{FF2B5EF4-FFF2-40B4-BE49-F238E27FC236}">
                <a16:creationId xmlns:a16="http://schemas.microsoft.com/office/drawing/2014/main" id="{533235AE-3D84-4616-8AC9-2A8680B890E2}"/>
              </a:ext>
            </a:extLst>
          </p:cNvPr>
          <p:cNvSpPr>
            <a:spLocks noGrp="1"/>
          </p:cNvSpPr>
          <p:nvPr>
            <p:custDataLst>
              <p:tags r:id="rId143"/>
            </p:custDataLst>
          </p:nvPr>
        </p:nvSpPr>
        <p:spPr bwMode="gray">
          <a:xfrm>
            <a:off x="7313612" y="4992688"/>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2C0CE46-0A6D-4496-8E31-7D054FEE0C88}" type="datetime'''1'''''''''''''',''31''''''''''''''''''0'''''''''''''">
              <a:rPr lang="ja-JP" altLang="en-US" sz="1000" smtClean="0">
                <a:effectLst/>
              </a:rPr>
              <a:pPr/>
              <a:t>1,310</a:t>
            </a:fld>
            <a:endParaRPr lang="ja-JP" altLang="en-US" sz="1000" dirty="0">
              <a:sym typeface="+mn-lt"/>
            </a:endParaRPr>
          </a:p>
        </p:txBody>
      </p:sp>
      <p:sp>
        <p:nvSpPr>
          <p:cNvPr id="240" name="テキスト プレースホルダ 9">
            <a:extLst>
              <a:ext uri="{FF2B5EF4-FFF2-40B4-BE49-F238E27FC236}">
                <a16:creationId xmlns:a16="http://schemas.microsoft.com/office/drawing/2014/main" id="{22BD7BC4-0EBA-4364-9AEF-0E456E52E560}"/>
              </a:ext>
            </a:extLst>
          </p:cNvPr>
          <p:cNvSpPr>
            <a:spLocks noGrp="1"/>
          </p:cNvSpPr>
          <p:nvPr>
            <p:custDataLst>
              <p:tags r:id="rId144"/>
            </p:custDataLst>
          </p:nvPr>
        </p:nvSpPr>
        <p:spPr bwMode="gray">
          <a:xfrm>
            <a:off x="7313612" y="5559425"/>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3E9B162-66FD-4A85-B692-9827CDA1D358}" type="datetime'''''''''''''''1'''''''''''''''''''''''''',''''3''''1''''''''1'">
              <a:rPr lang="ja-JP" altLang="en-US" sz="1000" smtClean="0">
                <a:effectLst/>
              </a:rPr>
              <a:pPr/>
              <a:t>1,311</a:t>
            </a:fld>
            <a:endParaRPr lang="ja-JP" altLang="en-US" sz="1000" dirty="0">
              <a:sym typeface="+mn-lt"/>
            </a:endParaRPr>
          </a:p>
        </p:txBody>
      </p:sp>
      <p:sp>
        <p:nvSpPr>
          <p:cNvPr id="252" name="テキスト プレースホルダ 9">
            <a:extLst>
              <a:ext uri="{FF2B5EF4-FFF2-40B4-BE49-F238E27FC236}">
                <a16:creationId xmlns:a16="http://schemas.microsoft.com/office/drawing/2014/main" id="{417A66C9-B979-45FF-BFC7-54AB5D84DF16}"/>
              </a:ext>
            </a:extLst>
          </p:cNvPr>
          <p:cNvSpPr>
            <a:spLocks noGrp="1"/>
          </p:cNvSpPr>
          <p:nvPr>
            <p:custDataLst>
              <p:tags r:id="rId145"/>
            </p:custDataLst>
          </p:nvPr>
        </p:nvSpPr>
        <p:spPr bwMode="gray">
          <a:xfrm>
            <a:off x="2228850" y="542448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D7E7F1-5644-46C0-82C6-1C2AC9C5CB9F}" type="datetime'''''''8''''''''''''''''''''''''''''''''''''9''0'''''''''''''">
              <a:rPr lang="ja-JP" altLang="en-US" sz="1000" smtClean="0">
                <a:effectLst/>
              </a:rPr>
              <a:pPr/>
              <a:t>890</a:t>
            </a:fld>
            <a:endParaRPr lang="ja-JP" altLang="en-US" sz="1000" dirty="0">
              <a:sym typeface="+mn-lt"/>
            </a:endParaRPr>
          </a:p>
        </p:txBody>
      </p:sp>
      <p:sp>
        <p:nvSpPr>
          <p:cNvPr id="213" name="テキスト プレースホルダ 9"/>
          <p:cNvSpPr>
            <a:spLocks noGrp="1"/>
          </p:cNvSpPr>
          <p:nvPr>
            <p:custDataLst>
              <p:tags r:id="rId146"/>
            </p:custDataLst>
          </p:nvPr>
        </p:nvSpPr>
        <p:spPr bwMode="gray">
          <a:xfrm>
            <a:off x="1885950" y="5757863"/>
            <a:ext cx="244475"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D03C23A-04FD-4110-A01B-C1451C0ACD41}" type="datetime'3''''''''''''''''''''''''''''''''''9''7'''''''''''''''">
              <a:rPr kumimoji="0" lang="ja-JP" altLang="en-US" sz="1000" smtClean="0">
                <a:effectLst/>
              </a:rPr>
              <a:pPr/>
              <a:t>397</a:t>
            </a:fld>
            <a:endParaRPr kumimoji="0" lang="ja-JP" altLang="en-US" sz="1000" dirty="0">
              <a:sym typeface="+mn-lt"/>
            </a:endParaRPr>
          </a:p>
        </p:txBody>
      </p:sp>
      <p:sp>
        <p:nvSpPr>
          <p:cNvPr id="254" name="テキスト プレースホルダ 9">
            <a:extLst>
              <a:ext uri="{FF2B5EF4-FFF2-40B4-BE49-F238E27FC236}">
                <a16:creationId xmlns:a16="http://schemas.microsoft.com/office/drawing/2014/main" id="{5A95F656-8CB5-423C-BAE1-5D25D034308E}"/>
              </a:ext>
            </a:extLst>
          </p:cNvPr>
          <p:cNvSpPr>
            <a:spLocks noGrp="1"/>
          </p:cNvSpPr>
          <p:nvPr>
            <p:custDataLst>
              <p:tags r:id="rId147"/>
            </p:custDataLst>
          </p:nvPr>
        </p:nvSpPr>
        <p:spPr bwMode="gray">
          <a:xfrm>
            <a:off x="3255963" y="544195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D1B7865-925B-47EF-96A2-496A8659905B}" type="datetime'''''''''''''9''''''''''''''''''''''''''17'''''''''">
              <a:rPr lang="ja-JP" altLang="en-US" sz="1000" smtClean="0">
                <a:effectLst/>
              </a:rPr>
              <a:pPr/>
              <a:t>917</a:t>
            </a:fld>
            <a:endParaRPr lang="ja-JP" altLang="en-US" sz="1000" dirty="0">
              <a:sym typeface="+mn-lt"/>
            </a:endParaRPr>
          </a:p>
        </p:txBody>
      </p:sp>
      <p:sp>
        <p:nvSpPr>
          <p:cNvPr id="255" name="テキスト プレースホルダ 9">
            <a:extLst>
              <a:ext uri="{FF2B5EF4-FFF2-40B4-BE49-F238E27FC236}">
                <a16:creationId xmlns:a16="http://schemas.microsoft.com/office/drawing/2014/main" id="{8A9B9259-51D0-41AE-805C-2A9EFDCC114F}"/>
              </a:ext>
            </a:extLst>
          </p:cNvPr>
          <p:cNvSpPr>
            <a:spLocks noGrp="1"/>
          </p:cNvSpPr>
          <p:nvPr>
            <p:custDataLst>
              <p:tags r:id="rId148"/>
            </p:custDataLst>
          </p:nvPr>
        </p:nvSpPr>
        <p:spPr bwMode="gray">
          <a:xfrm>
            <a:off x="3598863" y="543718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8D9BA3E-A4A7-44FE-9007-F4AB7C41E7B5}" type="datetime'''''9''''''''''3''''6'''''''''''''''''''''''''''''''''''">
              <a:rPr lang="ja-JP" altLang="en-US" sz="1000" smtClean="0">
                <a:effectLst/>
              </a:rPr>
              <a:pPr/>
              <a:t>936</a:t>
            </a:fld>
            <a:endParaRPr lang="ja-JP" altLang="en-US" sz="1000" dirty="0">
              <a:sym typeface="+mn-lt"/>
            </a:endParaRPr>
          </a:p>
        </p:txBody>
      </p:sp>
      <p:sp>
        <p:nvSpPr>
          <p:cNvPr id="256" name="テキスト プレースホルダ 9">
            <a:extLst>
              <a:ext uri="{FF2B5EF4-FFF2-40B4-BE49-F238E27FC236}">
                <a16:creationId xmlns:a16="http://schemas.microsoft.com/office/drawing/2014/main" id="{8E2F1E34-9B97-47CE-A58B-E7BD1FBD615F}"/>
              </a:ext>
            </a:extLst>
          </p:cNvPr>
          <p:cNvSpPr>
            <a:spLocks noGrp="1"/>
          </p:cNvSpPr>
          <p:nvPr>
            <p:custDataLst>
              <p:tags r:id="rId149"/>
            </p:custDataLst>
          </p:nvPr>
        </p:nvSpPr>
        <p:spPr bwMode="gray">
          <a:xfrm>
            <a:off x="3941763" y="5718175"/>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939FA98-AFE9-4522-891C-F160363F7E97}" type="datetime'''''''''''''''''5''''7''7'''''''''''''''''''''''''''''''''''">
              <a:rPr lang="ja-JP" altLang="en-US" sz="1000" smtClean="0">
                <a:effectLst/>
                <a:sym typeface="+mn-lt"/>
              </a:rPr>
              <a:pPr marL="0" indent="0" algn="ctr">
                <a:spcBef>
                  <a:spcPct val="0"/>
                </a:spcBef>
                <a:buNone/>
              </a:pPr>
              <a:t>577</a:t>
            </a:fld>
            <a:endParaRPr lang="ja-JP" altLang="en-US" sz="1000" dirty="0">
              <a:sym typeface="+mn-lt"/>
            </a:endParaRPr>
          </a:p>
        </p:txBody>
      </p:sp>
      <p:sp>
        <p:nvSpPr>
          <p:cNvPr id="257" name="テキスト プレースホルダ 9">
            <a:extLst>
              <a:ext uri="{FF2B5EF4-FFF2-40B4-BE49-F238E27FC236}">
                <a16:creationId xmlns:a16="http://schemas.microsoft.com/office/drawing/2014/main" id="{5B4BBA47-E760-458A-AA4D-B3B32F061C90}"/>
              </a:ext>
            </a:extLst>
          </p:cNvPr>
          <p:cNvSpPr>
            <a:spLocks noGrp="1"/>
          </p:cNvSpPr>
          <p:nvPr>
            <p:custDataLst>
              <p:tags r:id="rId150"/>
            </p:custDataLst>
          </p:nvPr>
        </p:nvSpPr>
        <p:spPr bwMode="gray">
          <a:xfrm>
            <a:off x="4230687" y="5381625"/>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0B85CDC-9512-45CD-832B-A1AC8D356E7D}" type="datetime'''''''''''''''''1'''',''''0''''''''''''''''''32'''''''''''">
              <a:rPr lang="ja-JP" altLang="en-US" sz="1000" smtClean="0">
                <a:effectLst/>
              </a:rPr>
              <a:pPr/>
              <a:t>1,032</a:t>
            </a:fld>
            <a:endParaRPr lang="ja-JP" altLang="en-US" sz="1000" dirty="0">
              <a:sym typeface="+mn-lt"/>
            </a:endParaRPr>
          </a:p>
        </p:txBody>
      </p:sp>
      <p:sp>
        <p:nvSpPr>
          <p:cNvPr id="258" name="テキスト プレースホルダ 9">
            <a:extLst>
              <a:ext uri="{FF2B5EF4-FFF2-40B4-BE49-F238E27FC236}">
                <a16:creationId xmlns:a16="http://schemas.microsoft.com/office/drawing/2014/main" id="{D70A371C-B558-4B78-A0EC-24B5D6C6169E}"/>
              </a:ext>
            </a:extLst>
          </p:cNvPr>
          <p:cNvSpPr>
            <a:spLocks noGrp="1"/>
          </p:cNvSpPr>
          <p:nvPr>
            <p:custDataLst>
              <p:tags r:id="rId151"/>
            </p:custDataLst>
          </p:nvPr>
        </p:nvSpPr>
        <p:spPr bwMode="gray">
          <a:xfrm>
            <a:off x="4283075" y="572293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FF1F2E7-E170-4F44-9BFE-41203168F6D1}" type="datetime'''''''''''''''''5''5''''''''''''3'''''''''''">
              <a:rPr lang="ja-JP" altLang="en-US" sz="1000" smtClean="0">
                <a:effectLst/>
                <a:sym typeface="+mn-lt"/>
              </a:rPr>
              <a:pPr marL="0" indent="0" algn="ctr">
                <a:spcBef>
                  <a:spcPct val="0"/>
                </a:spcBef>
                <a:buNone/>
              </a:pPr>
              <a:t>553</a:t>
            </a:fld>
            <a:endParaRPr lang="ja-JP" altLang="en-US" sz="1000" dirty="0">
              <a:sym typeface="+mn-lt"/>
            </a:endParaRPr>
          </a:p>
        </p:txBody>
      </p:sp>
      <p:sp>
        <p:nvSpPr>
          <p:cNvPr id="259" name="テキスト プレースホルダ 9">
            <a:extLst>
              <a:ext uri="{FF2B5EF4-FFF2-40B4-BE49-F238E27FC236}">
                <a16:creationId xmlns:a16="http://schemas.microsoft.com/office/drawing/2014/main" id="{ABF75D7D-414B-4A21-AA38-BFD282458A34}"/>
              </a:ext>
            </a:extLst>
          </p:cNvPr>
          <p:cNvSpPr>
            <a:spLocks noGrp="1"/>
          </p:cNvSpPr>
          <p:nvPr>
            <p:custDataLst>
              <p:tags r:id="rId152"/>
            </p:custDataLst>
          </p:nvPr>
        </p:nvSpPr>
        <p:spPr bwMode="gray">
          <a:xfrm>
            <a:off x="4573587" y="5356225"/>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F6270F9-9DA0-4BD6-B0E1-A8DDBA077D16}" type="datetime'''''''''''''''''''''''''1'''',''''0''''''''''''''''''''6''1'">
              <a:rPr lang="ja-JP" altLang="en-US" sz="1000" smtClean="0">
                <a:effectLst/>
              </a:rPr>
              <a:pPr/>
              <a:t>1,061</a:t>
            </a:fld>
            <a:endParaRPr lang="ja-JP" altLang="en-US" sz="1000" dirty="0">
              <a:sym typeface="+mn-lt"/>
            </a:endParaRPr>
          </a:p>
        </p:txBody>
      </p:sp>
      <p:sp>
        <p:nvSpPr>
          <p:cNvPr id="260" name="テキスト プレースホルダ 9">
            <a:extLst>
              <a:ext uri="{FF2B5EF4-FFF2-40B4-BE49-F238E27FC236}">
                <a16:creationId xmlns:a16="http://schemas.microsoft.com/office/drawing/2014/main" id="{174522FD-6D43-4FF2-9A5C-61E1B15CFFBE}"/>
              </a:ext>
            </a:extLst>
          </p:cNvPr>
          <p:cNvSpPr>
            <a:spLocks noGrp="1"/>
          </p:cNvSpPr>
          <p:nvPr>
            <p:custDataLst>
              <p:tags r:id="rId153"/>
            </p:custDataLst>
          </p:nvPr>
        </p:nvSpPr>
        <p:spPr bwMode="gray">
          <a:xfrm>
            <a:off x="4625975" y="5715000"/>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7D0D067-1E87-4FBA-A2E3-F087EC8370CF}" type="datetime'''5''''''''''''''9''''''''''4'''''''">
              <a:rPr lang="ja-JP" altLang="en-US" sz="1000" smtClean="0">
                <a:effectLst/>
                <a:sym typeface="+mn-lt"/>
              </a:rPr>
              <a:pPr marL="0" indent="0" algn="ctr">
                <a:spcBef>
                  <a:spcPct val="0"/>
                </a:spcBef>
                <a:buNone/>
              </a:pPr>
              <a:t>594</a:t>
            </a:fld>
            <a:endParaRPr lang="ja-JP" altLang="en-US" sz="1000" dirty="0">
              <a:sym typeface="+mn-lt"/>
            </a:endParaRPr>
          </a:p>
        </p:txBody>
      </p:sp>
      <p:sp>
        <p:nvSpPr>
          <p:cNvPr id="275" name="テキスト プレースホルダ 9">
            <a:extLst>
              <a:ext uri="{FF2B5EF4-FFF2-40B4-BE49-F238E27FC236}">
                <a16:creationId xmlns:a16="http://schemas.microsoft.com/office/drawing/2014/main" id="{A6CD1DD3-F40F-4779-9F21-5EB666E3FEB0}"/>
              </a:ext>
            </a:extLst>
          </p:cNvPr>
          <p:cNvSpPr>
            <a:spLocks noGrp="1"/>
          </p:cNvSpPr>
          <p:nvPr>
            <p:custDataLst>
              <p:tags r:id="rId154"/>
            </p:custDataLst>
          </p:nvPr>
        </p:nvSpPr>
        <p:spPr bwMode="gray">
          <a:xfrm>
            <a:off x="6627813" y="4999038"/>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4FDFE98-1212-413D-8EBF-A09FB419E6FA}" type="datetime'''''''''''''''''''''''''1'''',''''''''''''''''39''''7'''''''">
              <a:rPr lang="ja-JP" altLang="en-US" sz="1000" smtClean="0">
                <a:effectLst/>
                <a:sym typeface="+mn-lt"/>
              </a:rPr>
              <a:pPr marL="0" indent="0" algn="ctr">
                <a:spcBef>
                  <a:spcPct val="0"/>
                </a:spcBef>
                <a:buNone/>
              </a:pPr>
              <a:t>1,397</a:t>
            </a:fld>
            <a:endParaRPr lang="ja-JP" altLang="en-US" sz="1000" dirty="0">
              <a:sym typeface="+mn-lt"/>
            </a:endParaRPr>
          </a:p>
        </p:txBody>
      </p:sp>
      <p:sp>
        <p:nvSpPr>
          <p:cNvPr id="264" name="テキスト プレースホルダ 9">
            <a:extLst>
              <a:ext uri="{FF2B5EF4-FFF2-40B4-BE49-F238E27FC236}">
                <a16:creationId xmlns:a16="http://schemas.microsoft.com/office/drawing/2014/main" id="{E20A2E27-DA83-4930-8801-A3BD6FC092CE}"/>
              </a:ext>
            </a:extLst>
          </p:cNvPr>
          <p:cNvSpPr>
            <a:spLocks noGrp="1"/>
          </p:cNvSpPr>
          <p:nvPr>
            <p:custDataLst>
              <p:tags r:id="rId155"/>
            </p:custDataLst>
          </p:nvPr>
        </p:nvSpPr>
        <p:spPr bwMode="gray">
          <a:xfrm>
            <a:off x="1544638" y="552291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F11E59D-996A-4681-885D-69E6F184C025}" type="datetime'''''8''''''''''3''''''''''''4'''''''''''''''''''''''''">
              <a:rPr lang="ja-JP" altLang="en-US" sz="1000" smtClean="0">
                <a:effectLst/>
                <a:sym typeface="+mn-lt"/>
              </a:rPr>
              <a:pPr marL="0" indent="0" algn="ctr">
                <a:spcBef>
                  <a:spcPct val="0"/>
                </a:spcBef>
                <a:buNone/>
              </a:pPr>
              <a:t>834</a:t>
            </a:fld>
            <a:endParaRPr lang="ja-JP" altLang="en-US" sz="1000" dirty="0">
              <a:sym typeface="+mn-lt"/>
            </a:endParaRPr>
          </a:p>
        </p:txBody>
      </p:sp>
      <p:sp>
        <p:nvSpPr>
          <p:cNvPr id="253" name="テキスト プレースホルダ 9">
            <a:extLst>
              <a:ext uri="{FF2B5EF4-FFF2-40B4-BE49-F238E27FC236}">
                <a16:creationId xmlns:a16="http://schemas.microsoft.com/office/drawing/2014/main" id="{1185DF84-581F-484A-AA23-595DBBBCCE9E}"/>
              </a:ext>
            </a:extLst>
          </p:cNvPr>
          <p:cNvSpPr>
            <a:spLocks noGrp="1"/>
          </p:cNvSpPr>
          <p:nvPr>
            <p:custDataLst>
              <p:tags r:id="rId156"/>
            </p:custDataLst>
          </p:nvPr>
        </p:nvSpPr>
        <p:spPr bwMode="gray">
          <a:xfrm>
            <a:off x="2914650" y="545306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DA0FFB-E22C-4946-B481-535C1C5E1FA4}" type="datetime'''''''9''''''''1''''''''''''''''0'''''''''''''''''''''">
              <a:rPr lang="ja-JP" altLang="en-US" sz="1000" smtClean="0">
                <a:effectLst/>
              </a:rPr>
              <a:pPr/>
              <a:t>910</a:t>
            </a:fld>
            <a:endParaRPr lang="ja-JP" altLang="en-US" sz="1000" dirty="0">
              <a:sym typeface="+mn-lt"/>
            </a:endParaRPr>
          </a:p>
        </p:txBody>
      </p:sp>
      <p:sp>
        <p:nvSpPr>
          <p:cNvPr id="267" name="テキスト プレースホルダ 9">
            <a:extLst>
              <a:ext uri="{FF2B5EF4-FFF2-40B4-BE49-F238E27FC236}">
                <a16:creationId xmlns:a16="http://schemas.microsoft.com/office/drawing/2014/main" id="{FAC7DA0B-6C5B-4D0F-B312-42C832E9FBCB}"/>
              </a:ext>
            </a:extLst>
          </p:cNvPr>
          <p:cNvSpPr>
            <a:spLocks noGrp="1"/>
          </p:cNvSpPr>
          <p:nvPr>
            <p:custDataLst>
              <p:tags r:id="rId157"/>
            </p:custDataLst>
          </p:nvPr>
        </p:nvSpPr>
        <p:spPr bwMode="gray">
          <a:xfrm>
            <a:off x="2571750" y="545941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44184E7-375A-4FE0-AEF2-BD306431A7D6}" type="datetime'9''''''''''''''''''''''0''''6'''''">
              <a:rPr lang="ja-JP" altLang="en-US" sz="1000" smtClean="0">
                <a:effectLst/>
                <a:sym typeface="+mn-lt"/>
              </a:rPr>
              <a:pPr marL="0" indent="0" algn="ctr">
                <a:spcBef>
                  <a:spcPct val="0"/>
                </a:spcBef>
                <a:buNone/>
              </a:pPr>
              <a:t>906</a:t>
            </a:fld>
            <a:endParaRPr lang="ja-JP" altLang="en-US" sz="1000" dirty="0">
              <a:sym typeface="+mn-lt"/>
            </a:endParaRPr>
          </a:p>
        </p:txBody>
      </p:sp>
      <p:sp>
        <p:nvSpPr>
          <p:cNvPr id="268" name="テキスト プレースホルダ 9">
            <a:extLst>
              <a:ext uri="{FF2B5EF4-FFF2-40B4-BE49-F238E27FC236}">
                <a16:creationId xmlns:a16="http://schemas.microsoft.com/office/drawing/2014/main" id="{84565938-6517-44C0-8B46-70EA3A5F696A}"/>
              </a:ext>
            </a:extLst>
          </p:cNvPr>
          <p:cNvSpPr>
            <a:spLocks noGrp="1"/>
          </p:cNvSpPr>
          <p:nvPr>
            <p:custDataLst>
              <p:tags r:id="rId158"/>
            </p:custDataLst>
          </p:nvPr>
        </p:nvSpPr>
        <p:spPr bwMode="gray">
          <a:xfrm>
            <a:off x="4916488" y="5341938"/>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F9EC1B3-112D-41F3-A6EB-CECE11884809}" type="datetime'''''''''''''''''1'''''''''''''''''''',''''''06''''4'''">
              <a:rPr lang="ja-JP" altLang="en-US" sz="1000" smtClean="0">
                <a:effectLst/>
                <a:sym typeface="+mn-lt"/>
              </a:rPr>
              <a:pPr marL="0" indent="0" algn="ctr">
                <a:spcBef>
                  <a:spcPct val="0"/>
                </a:spcBef>
                <a:buNone/>
              </a:pPr>
              <a:t>1,064</a:t>
            </a:fld>
            <a:endParaRPr lang="ja-JP" altLang="en-US" sz="1000" dirty="0">
              <a:sym typeface="+mn-lt"/>
            </a:endParaRPr>
          </a:p>
        </p:txBody>
      </p:sp>
      <p:sp>
        <p:nvSpPr>
          <p:cNvPr id="270" name="テキスト プレースホルダ 9">
            <a:extLst>
              <a:ext uri="{FF2B5EF4-FFF2-40B4-BE49-F238E27FC236}">
                <a16:creationId xmlns:a16="http://schemas.microsoft.com/office/drawing/2014/main" id="{B0898F45-D35D-4E55-B692-75510FCDA6CF}"/>
              </a:ext>
            </a:extLst>
          </p:cNvPr>
          <p:cNvSpPr>
            <a:spLocks noGrp="1"/>
          </p:cNvSpPr>
          <p:nvPr>
            <p:custDataLst>
              <p:tags r:id="rId159"/>
            </p:custDataLst>
          </p:nvPr>
        </p:nvSpPr>
        <p:spPr bwMode="gray">
          <a:xfrm>
            <a:off x="5600700" y="5203825"/>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0593E17-8D0A-46DA-BCEA-500F9AA39D26}" type="datetime'''''''''''''''1,''''2''1''''''''''''''''''''''''6'">
              <a:rPr lang="ja-JP" altLang="en-US" sz="1000" smtClean="0">
                <a:effectLst/>
                <a:sym typeface="+mn-lt"/>
              </a:rPr>
              <a:pPr marL="0" indent="0" algn="ctr">
                <a:spcBef>
                  <a:spcPct val="0"/>
                </a:spcBef>
                <a:buNone/>
              </a:pPr>
              <a:t>1,216</a:t>
            </a:fld>
            <a:endParaRPr lang="ja-JP" altLang="en-US" sz="1000" dirty="0">
              <a:sym typeface="+mn-lt"/>
            </a:endParaRPr>
          </a:p>
        </p:txBody>
      </p:sp>
      <p:sp>
        <p:nvSpPr>
          <p:cNvPr id="272" name="テキスト プレースホルダ 9">
            <a:extLst>
              <a:ext uri="{FF2B5EF4-FFF2-40B4-BE49-F238E27FC236}">
                <a16:creationId xmlns:a16="http://schemas.microsoft.com/office/drawing/2014/main" id="{555DCE9D-64F0-43D0-A558-940942CAB3EA}"/>
              </a:ext>
            </a:extLst>
          </p:cNvPr>
          <p:cNvSpPr>
            <a:spLocks noGrp="1"/>
          </p:cNvSpPr>
          <p:nvPr>
            <p:custDataLst>
              <p:tags r:id="rId160"/>
            </p:custDataLst>
          </p:nvPr>
        </p:nvSpPr>
        <p:spPr bwMode="gray">
          <a:xfrm>
            <a:off x="5943600" y="5138738"/>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0B52158-135D-4F65-93AE-CBBE7BF38933}" type="datetime'''''''''''''1'''''''''''''''',''2''''3''''''''''''6'''''''''">
              <a:rPr lang="ja-JP" altLang="en-US" sz="1000" smtClean="0">
                <a:effectLst/>
                <a:sym typeface="+mn-lt"/>
              </a:rPr>
              <a:pPr marL="0" indent="0" algn="ctr">
                <a:spcBef>
                  <a:spcPct val="0"/>
                </a:spcBef>
                <a:buNone/>
              </a:pPr>
              <a:t>1,236</a:t>
            </a:fld>
            <a:endParaRPr lang="ja-JP" altLang="en-US" sz="1000" dirty="0">
              <a:sym typeface="+mn-lt"/>
            </a:endParaRPr>
          </a:p>
        </p:txBody>
      </p:sp>
      <p:sp>
        <p:nvSpPr>
          <p:cNvPr id="274" name="テキスト プレースホルダ 9">
            <a:extLst>
              <a:ext uri="{FF2B5EF4-FFF2-40B4-BE49-F238E27FC236}">
                <a16:creationId xmlns:a16="http://schemas.microsoft.com/office/drawing/2014/main" id="{C2B7820E-3427-43F2-80D9-7B4EDED12E3A}"/>
              </a:ext>
            </a:extLst>
          </p:cNvPr>
          <p:cNvSpPr>
            <a:spLocks noGrp="1"/>
          </p:cNvSpPr>
          <p:nvPr>
            <p:custDataLst>
              <p:tags r:id="rId161"/>
            </p:custDataLst>
          </p:nvPr>
        </p:nvSpPr>
        <p:spPr bwMode="gray">
          <a:xfrm>
            <a:off x="6286500" y="5057775"/>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41E6E90-47A8-4A0F-A48F-F9B74A4D9443}" type="datetime'''''''1'''''''''''''',''''''''''''''''30''''8'''''''''''''">
              <a:rPr lang="ja-JP" altLang="en-US" sz="1000" smtClean="0">
                <a:effectLst/>
                <a:sym typeface="+mn-lt"/>
              </a:rPr>
              <a:pPr marL="0" indent="0" algn="ctr">
                <a:spcBef>
                  <a:spcPct val="0"/>
                </a:spcBef>
                <a:buNone/>
              </a:pPr>
              <a:t>1,308</a:t>
            </a:fld>
            <a:endParaRPr lang="ja-JP" altLang="en-US" sz="1000" dirty="0">
              <a:sym typeface="+mn-lt"/>
            </a:endParaRPr>
          </a:p>
        </p:txBody>
      </p:sp>
      <p:sp>
        <p:nvSpPr>
          <p:cNvPr id="280" name="テキスト プレースホルダ 9">
            <a:extLst>
              <a:ext uri="{FF2B5EF4-FFF2-40B4-BE49-F238E27FC236}">
                <a16:creationId xmlns:a16="http://schemas.microsoft.com/office/drawing/2014/main" id="{DC61AA5F-EDF1-4294-8453-56B4B6E49F76}"/>
              </a:ext>
            </a:extLst>
          </p:cNvPr>
          <p:cNvSpPr>
            <a:spLocks noGrp="1"/>
          </p:cNvSpPr>
          <p:nvPr>
            <p:custDataLst>
              <p:tags r:id="rId162"/>
            </p:custDataLst>
          </p:nvPr>
        </p:nvSpPr>
        <p:spPr bwMode="gray">
          <a:xfrm>
            <a:off x="6970713" y="4968875"/>
            <a:ext cx="3492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55C3390-0E63-410B-B7BE-710B144E48CE}" type="datetime'''''1'''''''''',4''''''1''''''2'''''''''''''''''''''''''''''''">
              <a:rPr lang="ja-JP" altLang="en-US" sz="1000" smtClean="0">
                <a:effectLst/>
                <a:sym typeface="+mn-lt"/>
              </a:rPr>
              <a:pPr marL="0" indent="0" algn="ctr">
                <a:spcBef>
                  <a:spcPct val="0"/>
                </a:spcBef>
                <a:buNone/>
              </a:pPr>
              <a:t>1,412</a:t>
            </a:fld>
            <a:endParaRPr lang="ja-JP" altLang="en-US" sz="1000" dirty="0">
              <a:sym typeface="+mn-lt"/>
            </a:endParaRPr>
          </a:p>
        </p:txBody>
      </p:sp>
      <p:sp>
        <p:nvSpPr>
          <p:cNvPr id="288" name="テキスト プレースホルダ 9">
            <a:extLst>
              <a:ext uri="{FF2B5EF4-FFF2-40B4-BE49-F238E27FC236}">
                <a16:creationId xmlns:a16="http://schemas.microsoft.com/office/drawing/2014/main" id="{897CF0D4-9C2C-4F20-BB00-FD8998124EC0}"/>
              </a:ext>
            </a:extLst>
          </p:cNvPr>
          <p:cNvSpPr>
            <a:spLocks noGrp="1"/>
          </p:cNvSpPr>
          <p:nvPr>
            <p:custDataLst>
              <p:tags r:id="rId163"/>
            </p:custDataLst>
          </p:nvPr>
        </p:nvSpPr>
        <p:spPr bwMode="gray">
          <a:xfrm>
            <a:off x="7654925" y="5557838"/>
            <a:ext cx="34925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08188B-C028-47E7-9EAD-40CEE668335D}" type="datetime'1'''''''''''''''''''''''',3''''''''''''''''22'''''''">
              <a:rPr lang="ja-JP" altLang="en-US" sz="1000" smtClean="0">
                <a:effectLst/>
                <a:sym typeface="+mn-lt"/>
              </a:rPr>
              <a:pPr/>
              <a:t>1,322</a:t>
            </a:fld>
            <a:endParaRPr lang="ja-JP" altLang="en-US" sz="1000" dirty="0">
              <a:sym typeface="+mn-lt"/>
            </a:endParaRPr>
          </a:p>
        </p:txBody>
      </p:sp>
      <p:sp>
        <p:nvSpPr>
          <p:cNvPr id="290" name="テキスト プレースホルダ 9">
            <a:extLst>
              <a:ext uri="{FF2B5EF4-FFF2-40B4-BE49-F238E27FC236}">
                <a16:creationId xmlns:a16="http://schemas.microsoft.com/office/drawing/2014/main" id="{4ACC046C-0AAB-4856-B221-B8C4FE22CAB7}"/>
              </a:ext>
            </a:extLst>
          </p:cNvPr>
          <p:cNvSpPr>
            <a:spLocks noGrp="1"/>
          </p:cNvSpPr>
          <p:nvPr>
            <p:custDataLst>
              <p:tags r:id="rId164"/>
            </p:custDataLst>
          </p:nvPr>
        </p:nvSpPr>
        <p:spPr bwMode="gray">
          <a:xfrm>
            <a:off x="7654925" y="460375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CBD683D-6274-4EF0-AEBA-A18059BA0AAB}" type="datetime'''2'''''''''',''63''3'''''''''''''''''''''''''''">
              <a:rPr lang="ja-JP" altLang="en-US" sz="1000" smtClean="0">
                <a:effectLst/>
                <a:sym typeface="+mn-lt"/>
              </a:rPr>
              <a:pPr marL="0" indent="0" algn="ctr">
                <a:spcBef>
                  <a:spcPct val="0"/>
                </a:spcBef>
                <a:buNone/>
              </a:pPr>
              <a:t>2,633</a:t>
            </a:fld>
            <a:endParaRPr lang="ja-JP" altLang="en-US" sz="1000" dirty="0">
              <a:sym typeface="+mn-lt"/>
            </a:endParaRPr>
          </a:p>
        </p:txBody>
      </p:sp>
      <p:sp>
        <p:nvSpPr>
          <p:cNvPr id="299" name="テキスト プレースホルダ 9">
            <a:extLst>
              <a:ext uri="{FF2B5EF4-FFF2-40B4-BE49-F238E27FC236}">
                <a16:creationId xmlns:a16="http://schemas.microsoft.com/office/drawing/2014/main" id="{B1CFF163-00F8-4EDB-B03A-B3A527B5DF58}"/>
              </a:ext>
            </a:extLst>
          </p:cNvPr>
          <p:cNvSpPr>
            <a:spLocks noGrp="1"/>
          </p:cNvSpPr>
          <p:nvPr>
            <p:custDataLst>
              <p:tags r:id="rId165"/>
            </p:custDataLst>
          </p:nvPr>
        </p:nvSpPr>
        <p:spPr bwMode="gray">
          <a:xfrm>
            <a:off x="1201738" y="547370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4FE8E1F-7CF5-4F48-982F-63F4C599A5E1}" type="datetime'''''''''''''''''''''''''''''7''''''''9''''6'''''''''''''''''">
              <a:rPr lang="ja-JP" altLang="en-US" sz="1000" smtClean="0">
                <a:effectLst/>
                <a:sym typeface="+mn-lt"/>
              </a:rPr>
              <a:pPr marL="0" indent="0" algn="ctr">
                <a:spcBef>
                  <a:spcPct val="0"/>
                </a:spcBef>
                <a:buNone/>
              </a:pPr>
              <a:t>796</a:t>
            </a:fld>
            <a:endParaRPr lang="ja-JP" altLang="en-US" sz="1000" dirty="0">
              <a:sym typeface="+mn-lt"/>
            </a:endParaRPr>
          </a:p>
        </p:txBody>
      </p:sp>
      <p:sp>
        <p:nvSpPr>
          <p:cNvPr id="266" name="テキスト プレースホルダ 9">
            <a:extLst>
              <a:ext uri="{FF2B5EF4-FFF2-40B4-BE49-F238E27FC236}">
                <a16:creationId xmlns:a16="http://schemas.microsoft.com/office/drawing/2014/main" id="{8412FCB7-4A8E-4FEE-9529-A97C262A28BE}"/>
              </a:ext>
            </a:extLst>
          </p:cNvPr>
          <p:cNvSpPr>
            <a:spLocks noGrp="1"/>
          </p:cNvSpPr>
          <p:nvPr>
            <p:custDataLst>
              <p:tags r:id="rId166"/>
            </p:custDataLst>
          </p:nvPr>
        </p:nvSpPr>
        <p:spPr bwMode="gray">
          <a:xfrm>
            <a:off x="1885950" y="548322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942AD08-4F48-4424-AEE5-CA28E1A5431D}" type="datetime'''''''''''''''''87''''''''''''''''''''1'''''''">
              <a:rPr lang="ja-JP" altLang="en-US" sz="1000" smtClean="0">
                <a:effectLst/>
                <a:sym typeface="+mn-lt"/>
              </a:rPr>
              <a:pPr marL="0" indent="0" algn="ctr">
                <a:spcBef>
                  <a:spcPct val="0"/>
                </a:spcBef>
                <a:buNone/>
              </a:pPr>
              <a:t>871</a:t>
            </a:fld>
            <a:endParaRPr lang="ja-JP" altLang="en-US" sz="1000" dirty="0">
              <a:sym typeface="+mn-lt"/>
            </a:endParaRPr>
          </a:p>
        </p:txBody>
      </p:sp>
      <p:sp>
        <p:nvSpPr>
          <p:cNvPr id="175" name="Rectangle 174"/>
          <p:cNvSpPr/>
          <p:nvPr>
            <p:custDataLst>
              <p:tags r:id="rId167"/>
            </p:custDataLst>
          </p:nvPr>
        </p:nvSpPr>
        <p:spPr bwMode="gray">
          <a:xfrm>
            <a:off x="8047038" y="2830513"/>
            <a:ext cx="160338" cy="1206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6" name="Rectangle 185"/>
          <p:cNvSpPr/>
          <p:nvPr>
            <p:custDataLst>
              <p:tags r:id="rId168"/>
            </p:custDataLst>
          </p:nvPr>
        </p:nvSpPr>
        <p:spPr bwMode="gray">
          <a:xfrm>
            <a:off x="8047038" y="3017838"/>
            <a:ext cx="160338" cy="1206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3" name="テキスト プレースホルダ 9"/>
          <p:cNvSpPr>
            <a:spLocks noGrp="1"/>
          </p:cNvSpPr>
          <p:nvPr>
            <p:custDataLst>
              <p:tags r:id="rId169"/>
            </p:custDataLst>
          </p:nvPr>
        </p:nvSpPr>
        <p:spPr bwMode="auto">
          <a:xfrm>
            <a:off x="8258175" y="2827338"/>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9991A36-9BCF-448A-B411-09CF0581220D}" type="datetime'政''府''''''''''''以''外''''''''''の''医''療費支''''''出'">
              <a:rPr lang="ja-JP" altLang="en-US" sz="900">
                <a:sym typeface="+mn-lt"/>
              </a:rPr>
              <a:pPr marL="0" indent="0">
                <a:spcBef>
                  <a:spcPct val="0"/>
                </a:spcBef>
                <a:buNone/>
              </a:pPr>
              <a:t>政府以外の医療費支出</a:t>
            </a:fld>
            <a:endParaRPr kumimoji="0" lang="ja-JP" altLang="en-US" sz="900" dirty="0">
              <a:sym typeface="+mn-lt"/>
            </a:endParaRPr>
          </a:p>
        </p:txBody>
      </p:sp>
      <p:sp>
        <p:nvSpPr>
          <p:cNvPr id="176" name="テキスト プレースホルダ 9"/>
          <p:cNvSpPr>
            <a:spLocks noGrp="1"/>
          </p:cNvSpPr>
          <p:nvPr>
            <p:custDataLst>
              <p:tags r:id="rId170"/>
            </p:custDataLst>
          </p:nvPr>
        </p:nvSpPr>
        <p:spPr bwMode="auto">
          <a:xfrm>
            <a:off x="8258175" y="3014663"/>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ABEDAF3-7BEF-48B8-8DCD-B6A3EFFE2A55}" type="datetime'政''''府''の医''''''''''''''''''''療''''''''費''''''''''支''出'''''">
              <a:rPr lang="ja-JP" altLang="en-US" sz="900">
                <a:sym typeface="+mn-lt"/>
              </a:rPr>
              <a:pPr marL="0" indent="0">
                <a:spcBef>
                  <a:spcPct val="0"/>
                </a:spcBef>
                <a:buNone/>
              </a:pPr>
              <a:t>政府の医療費支出</a:t>
            </a:fld>
            <a:endParaRPr kumimoji="0" lang="ja-JP" altLang="en-US" sz="900" dirty="0">
              <a:sym typeface="+mn-lt"/>
            </a:endParaRPr>
          </a:p>
        </p:txBody>
      </p:sp>
      <p:sp>
        <p:nvSpPr>
          <p:cNvPr id="278" name="Rectangle 277"/>
          <p:cNvSpPr/>
          <p:nvPr>
            <p:custDataLst>
              <p:tags r:id="rId171"/>
            </p:custDataLst>
          </p:nvPr>
        </p:nvSpPr>
        <p:spPr bwMode="gray">
          <a:xfrm>
            <a:off x="8053387" y="5518150"/>
            <a:ext cx="179388" cy="1333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Rectangle 278"/>
          <p:cNvSpPr/>
          <p:nvPr>
            <p:custDataLst>
              <p:tags r:id="rId172"/>
            </p:custDataLst>
          </p:nvPr>
        </p:nvSpPr>
        <p:spPr bwMode="gray">
          <a:xfrm>
            <a:off x="8053387" y="5721350"/>
            <a:ext cx="179388" cy="1333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noGrp="1"/>
          </p:cNvSpPr>
          <p:nvPr>
            <p:custDataLst>
              <p:tags r:id="rId173"/>
            </p:custDataLst>
          </p:nvPr>
        </p:nvSpPr>
        <p:spPr bwMode="auto">
          <a:xfrm>
            <a:off x="8283575" y="551338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dirty="0">
              <a:sym typeface="+mn-lt"/>
            </a:endParaRPr>
          </a:p>
        </p:txBody>
      </p:sp>
      <p:sp>
        <p:nvSpPr>
          <p:cNvPr id="276" name="テキスト プレースホルダ 9"/>
          <p:cNvSpPr>
            <a:spLocks noGrp="1"/>
          </p:cNvSpPr>
          <p:nvPr>
            <p:custDataLst>
              <p:tags r:id="rId174"/>
            </p:custDataLst>
          </p:nvPr>
        </p:nvSpPr>
        <p:spPr bwMode="auto">
          <a:xfrm>
            <a:off x="8283575" y="57165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1000" dirty="0">
              <a:sym typeface="+mn-lt"/>
            </a:endParaRPr>
          </a:p>
        </p:txBody>
      </p:sp>
      <p:cxnSp>
        <p:nvCxnSpPr>
          <p:cNvPr id="297" name="Straight Connector 296"/>
          <p:cNvCxnSpPr/>
          <p:nvPr>
            <p:custDataLst>
              <p:tags r:id="rId175"/>
            </p:custDataLst>
          </p:nvPr>
        </p:nvCxnSpPr>
        <p:spPr bwMode="gray">
          <a:xfrm>
            <a:off x="7958139" y="3375025"/>
            <a:ext cx="219075"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98" name="Oval 297"/>
          <p:cNvSpPr/>
          <p:nvPr>
            <p:custDataLst>
              <p:tags r:id="rId176"/>
            </p:custDataLst>
          </p:nvPr>
        </p:nvSpPr>
        <p:spPr bwMode="gray">
          <a:xfrm>
            <a:off x="8029574" y="3336924"/>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テキスト プレースホルダ 9"/>
          <p:cNvSpPr>
            <a:spLocks noGrp="1"/>
          </p:cNvSpPr>
          <p:nvPr>
            <p:custDataLst>
              <p:tags r:id="rId177"/>
            </p:custDataLst>
          </p:nvPr>
        </p:nvSpPr>
        <p:spPr bwMode="auto">
          <a:xfrm>
            <a:off x="8232775" y="3317875"/>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F8FBE4-5702-448E-ADAD-A8F4960942D1}" type="datetime'''医''''''療''費''''支出''''''総額''''''''に''おける''''&#10;''政''府の負''担''割合'">
              <a:rPr lang="ja-JP" altLang="en-US" sz="800"/>
              <a:pPr marL="0" indent="0">
                <a:spcBef>
                  <a:spcPct val="0"/>
                </a:spcBef>
                <a:buNone/>
              </a:pPr>
              <a:t>医療費支出総額における
政府の負担割合</a:t>
            </a:fld>
            <a:endParaRPr kumimoji="0" lang="ja-JP" altLang="en-US" sz="800" dirty="0">
              <a:sym typeface="+mn-lt"/>
            </a:endParaRPr>
          </a:p>
        </p:txBody>
      </p:sp>
      <p:sp>
        <p:nvSpPr>
          <p:cNvPr id="337" name="テキスト ボックス 6"/>
          <p:cNvSpPr txBox="1"/>
          <p:nvPr/>
        </p:nvSpPr>
        <p:spPr>
          <a:xfrm>
            <a:off x="5745088" y="6229350"/>
            <a:ext cx="3575125" cy="523220"/>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最新年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9" name="テキスト ボックス 3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費支出総額は、過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ほぼ</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になり、政府の負担割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でに高まってきている。</a:t>
            </a:r>
          </a:p>
        </p:txBody>
      </p:sp>
    </p:spTree>
    <p:extLst>
      <p:ext uri="{BB962C8B-B14F-4D97-AF65-F5344CB8AC3E}">
        <p14:creationId xmlns:p14="http://schemas.microsoft.com/office/powerpoint/2010/main" val="35825784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24813918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16" imgW="360" imgH="360" progId="TCLayout.ActiveDocument.1">
                  <p:embed/>
                </p:oleObj>
              </mc:Choice>
              <mc:Fallback>
                <p:oleObj name="think-cell Slide" r:id="rId16" imgW="360" imgH="360" progId="TCLayout.ActiveDocument.1">
                  <p:embed/>
                  <p:pic>
                    <p:nvPicPr>
                      <p:cNvPr id="9" name="Object 8"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疾病構造・死亡要因</a:t>
            </a:r>
            <a:r>
              <a:rPr lang="en-US" altLang="ja-JP" dirty="0"/>
              <a:t>【</a:t>
            </a:r>
            <a:r>
              <a:rPr lang="ja-JP" altLang="en-US" dirty="0"/>
              <a:t>大分類</a:t>
            </a:r>
            <a:r>
              <a:rPr lang="en-US" altLang="ja-JP" dirty="0"/>
              <a:t>】</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割合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769667" y="2483604"/>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1990</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5" name="テキスト ボックス 34"/>
          <p:cNvSpPr txBox="1"/>
          <p:nvPr/>
        </p:nvSpPr>
        <p:spPr>
          <a:xfrm>
            <a:off x="6728400" y="2471478"/>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6" name="右矢印 35"/>
          <p:cNvSpPr/>
          <p:nvPr/>
        </p:nvSpPr>
        <p:spPr>
          <a:xfrm>
            <a:off x="4329113" y="3861048"/>
            <a:ext cx="1152525" cy="720080"/>
          </a:xfrm>
          <a:prstGeom prst="rightArrow">
            <a:avLst/>
          </a:prstGeom>
          <a:solidFill>
            <a:srgbClr val="808080"/>
          </a:solidFill>
          <a:ln w="9525" cap="flat" cmpd="sng" algn="ctr">
            <a:solidFill>
              <a:srgbClr val="80808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ctr">
              <a:lnSpc>
                <a:spcPct val="114000"/>
              </a:lnSpc>
              <a:spcAft>
                <a:spcPts val="400"/>
              </a:spcAft>
            </a:pPr>
            <a:endParaRPr lang="ja-JP" altLang="en-US" sz="1200" dirty="0">
              <a:solidFill>
                <a:schemeClr val="tx1"/>
              </a:solidFill>
            </a:endParaRPr>
          </a:p>
        </p:txBody>
      </p:sp>
      <p:graphicFrame>
        <p:nvGraphicFramePr>
          <p:cNvPr id="47" name="Chart 46">
            <a:extLst>
              <a:ext uri="{FF2B5EF4-FFF2-40B4-BE49-F238E27FC236}">
                <a16:creationId xmlns:a16="http://schemas.microsoft.com/office/drawing/2014/main" id="{BBAB6AA7-3EAC-4E27-9271-A77FE48A5D9C}"/>
              </a:ext>
            </a:extLst>
          </p:cNvPr>
          <p:cNvGraphicFramePr/>
          <p:nvPr>
            <p:custDataLst>
              <p:tags r:id="rId4"/>
            </p:custDataLst>
            <p:extLst>
              <p:ext uri="{D42A27DB-BD31-4B8C-83A1-F6EECF244321}">
                <p14:modId xmlns:p14="http://schemas.microsoft.com/office/powerpoint/2010/main" val="4254159203"/>
              </p:ext>
            </p:extLst>
          </p:nvPr>
        </p:nvGraphicFramePr>
        <p:xfrm>
          <a:off x="395288" y="3092450"/>
          <a:ext cx="3784600" cy="2325688"/>
        </p:xfrm>
        <a:graphic>
          <a:graphicData uri="http://schemas.openxmlformats.org/drawingml/2006/chart">
            <c:chart xmlns:c="http://schemas.openxmlformats.org/drawingml/2006/chart" xmlns:r="http://schemas.openxmlformats.org/officeDocument/2006/relationships" r:id="rId18"/>
          </a:graphicData>
        </a:graphic>
      </p:graphicFrame>
      <p:sp>
        <p:nvSpPr>
          <p:cNvPr id="28" name="テキスト プレースホルダ 9"/>
          <p:cNvSpPr>
            <a:spLocks noGrp="1"/>
          </p:cNvSpPr>
          <p:nvPr>
            <p:custDataLst>
              <p:tags r:id="rId5"/>
            </p:custDataLst>
          </p:nvPr>
        </p:nvSpPr>
        <p:spPr bwMode="auto">
          <a:xfrm>
            <a:off x="1511300" y="29114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EB675B4-51C6-44D2-ADCF-5C199B3FCCBF}" type="datetime'''''''''''''''''''''''''''''''''''事''''''故''''''''''等'''''''">
              <a:rPr lang="ja-JP" altLang="en-US">
                <a:sym typeface="+mn-lt"/>
              </a:rPr>
              <a:pPr marL="0" indent="0" algn="r">
                <a:spcBef>
                  <a:spcPct val="0"/>
                </a:spcBef>
                <a:buNone/>
              </a:pPr>
              <a:t>事故等</a:t>
            </a:fld>
            <a:endParaRPr lang="ja-JP" altLang="en-US" dirty="0">
              <a:sym typeface="+mn-lt"/>
            </a:endParaRPr>
          </a:p>
        </p:txBody>
      </p:sp>
      <p:sp>
        <p:nvSpPr>
          <p:cNvPr id="44" name="テキスト プレースホルダ 9">
            <a:extLst>
              <a:ext uri="{FF2B5EF4-FFF2-40B4-BE49-F238E27FC236}">
                <a16:creationId xmlns:a16="http://schemas.microsoft.com/office/drawing/2014/main" id="{97171047-717D-424C-84FF-075707A768AB}"/>
              </a:ext>
            </a:extLst>
          </p:cNvPr>
          <p:cNvSpPr>
            <a:spLocks noGrp="1"/>
          </p:cNvSpPr>
          <p:nvPr>
            <p:custDataLst>
              <p:tags r:id="rId6"/>
            </p:custDataLst>
          </p:nvPr>
        </p:nvSpPr>
        <p:spPr bwMode="gray">
          <a:xfrm>
            <a:off x="1408113" y="3617913"/>
            <a:ext cx="619125" cy="244475"/>
          </a:xfrm>
          <a:prstGeom prst="rect">
            <a:avLst/>
          </a:prstGeom>
          <a:solidFill>
            <a:srgbClr val="80CCE8"/>
          </a:solidFill>
          <a:ln>
            <a:noFill/>
          </a:ln>
          <a:effectLst/>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443FC5C-B0DC-4ACC-88C0-5CAB81396669}" type="datetime'''''''1''''1''''''''''''''.8''''''''''''%'">
              <a:rPr lang="en-US" altLang="en-US" smtClean="0">
                <a:effectLst/>
                <a:sym typeface="+mn-lt"/>
              </a:rPr>
              <a:pPr marL="0" indent="0" algn="ctr">
                <a:spcBef>
                  <a:spcPct val="0"/>
                </a:spcBef>
                <a:buNone/>
              </a:pPr>
              <a:t>11.8%</a:t>
            </a:fld>
            <a:endParaRPr lang="ja-JP" altLang="en-US" dirty="0">
              <a:sym typeface="+mn-lt"/>
            </a:endParaRPr>
          </a:p>
        </p:txBody>
      </p:sp>
      <p:sp>
        <p:nvSpPr>
          <p:cNvPr id="27" name="テキスト プレースホルダ 9"/>
          <p:cNvSpPr>
            <a:spLocks noGrp="1"/>
          </p:cNvSpPr>
          <p:nvPr>
            <p:custDataLst>
              <p:tags r:id="rId7"/>
            </p:custDataLst>
          </p:nvPr>
        </p:nvSpPr>
        <p:spPr bwMode="auto">
          <a:xfrm>
            <a:off x="2892425" y="5186363"/>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05EFB82-8FC1-4BA4-B3BD-0D2C3B68AEAC}" type="datetime'非''''''''''''''''感染''''''''''''''''''''''''''''''''''''症'">
              <a:rPr lang="ja-JP" altLang="en-US" smtClean="0"/>
              <a:pPr/>
              <a:t>非感染症</a:t>
            </a:fld>
            <a:endParaRPr kumimoji="0" lang="ja-JP" altLang="en-US" baseline="30000" dirty="0">
              <a:sym typeface="+mn-lt"/>
            </a:endParaRPr>
          </a:p>
        </p:txBody>
      </p:sp>
      <p:sp>
        <p:nvSpPr>
          <p:cNvPr id="29" name="テキスト プレースホルダ 9"/>
          <p:cNvSpPr>
            <a:spLocks noGrp="1"/>
          </p:cNvSpPr>
          <p:nvPr>
            <p:custDataLst>
              <p:tags r:id="rId8"/>
            </p:custDataLst>
          </p:nvPr>
        </p:nvSpPr>
        <p:spPr bwMode="auto">
          <a:xfrm>
            <a:off x="839788" y="3271838"/>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7F8624B-BA2A-49D9-BA1D-B38FEE13E4D6}" type="datetime'''感''''''''''''''染''''''''''''症'''''''''''''''">
              <a:rPr lang="ja-JP" altLang="en-US" smtClean="0"/>
              <a:pPr marL="0" indent="0" algn="r">
                <a:spcBef>
                  <a:spcPct val="0"/>
                </a:spcBef>
                <a:buNone/>
              </a:pPr>
              <a:t>感染症</a:t>
            </a:fld>
            <a:endParaRPr lang="ja-JP" altLang="en-US" dirty="0">
              <a:sym typeface="+mn-lt"/>
            </a:endParaRPr>
          </a:p>
        </p:txBody>
      </p:sp>
      <p:sp>
        <p:nvSpPr>
          <p:cNvPr id="41" name="テキスト プレースホルダ 9">
            <a:extLst>
              <a:ext uri="{FF2B5EF4-FFF2-40B4-BE49-F238E27FC236}">
                <a16:creationId xmlns:a16="http://schemas.microsoft.com/office/drawing/2014/main" id="{50CEFEE3-2AA8-48CF-BF05-6D328DE7A20F}"/>
              </a:ext>
            </a:extLst>
          </p:cNvPr>
          <p:cNvSpPr>
            <a:spLocks noGrp="1"/>
          </p:cNvSpPr>
          <p:nvPr>
            <p:custDataLst>
              <p:tags r:id="rId9"/>
            </p:custDataLst>
          </p:nvPr>
        </p:nvSpPr>
        <p:spPr bwMode="gray">
          <a:xfrm>
            <a:off x="1825625" y="3282950"/>
            <a:ext cx="520700" cy="244475"/>
          </a:xfrm>
          <a:prstGeom prst="rect">
            <a:avLst/>
          </a:prstGeom>
          <a:solidFill>
            <a:srgbClr val="C0E6F4"/>
          </a:solidFill>
          <a:ln>
            <a:noFill/>
          </a:ln>
          <a:effectLst/>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D65350C-CD3C-4C59-B7E5-A7FE08066A1F}" type="datetime'''7''.4''''''''''%'''''''''''''''''''''''''">
              <a:rPr lang="en-US" altLang="en-US" smtClean="0">
                <a:effectLst/>
              </a:rPr>
              <a:pPr/>
              <a:t>7.4%</a:t>
            </a:fld>
            <a:endParaRPr lang="ja-JP" altLang="en-US" dirty="0">
              <a:sym typeface="+mn-lt"/>
            </a:endParaRPr>
          </a:p>
        </p:txBody>
      </p:sp>
      <p:sp>
        <p:nvSpPr>
          <p:cNvPr id="37" name="テキスト ボックス 36"/>
          <p:cNvSpPr txBox="1"/>
          <p:nvPr/>
        </p:nvSpPr>
        <p:spPr>
          <a:xfrm>
            <a:off x="224999" y="1101991"/>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既に非感染症が死亡要因の大半を占める、先進国型の疾病構造となっている。</a:t>
            </a: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3" name="テキスト ボックス 14">
            <a:extLst>
              <a:ext uri="{FF2B5EF4-FFF2-40B4-BE49-F238E27FC236}">
                <a16:creationId xmlns:a16="http://schemas.microsoft.com/office/drawing/2014/main" id="{C1ADB511-B51A-4E3A-B850-50C99D94A6E0}"/>
              </a:ext>
            </a:extLst>
          </p:cNvPr>
          <p:cNvSpPr txBox="1"/>
          <p:nvPr/>
        </p:nvSpPr>
        <p:spPr>
          <a:xfrm>
            <a:off x="200025" y="6393129"/>
            <a:ext cx="5616624" cy="144016"/>
          </a:xfrm>
          <a:prstGeom prst="rect">
            <a:avLst/>
          </a:prstGeom>
          <a:noFill/>
        </p:spPr>
        <p:txBody>
          <a:bodyPr wrap="square" lIns="0" tIns="0" rIns="0" bIns="0" rtlCol="0">
            <a:noAutofit/>
          </a:bodyPr>
          <a:lstStyle/>
          <a:p>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0" name="Chart 49">
            <a:extLst>
              <a:ext uri="{FF2B5EF4-FFF2-40B4-BE49-F238E27FC236}">
                <a16:creationId xmlns:a16="http://schemas.microsoft.com/office/drawing/2014/main" id="{867FCAA7-B179-4D92-ACC9-57281E7C48B6}"/>
              </a:ext>
            </a:extLst>
          </p:cNvPr>
          <p:cNvGraphicFramePr/>
          <p:nvPr>
            <p:custDataLst>
              <p:tags r:id="rId10"/>
            </p:custDataLst>
            <p:extLst>
              <p:ext uri="{D42A27DB-BD31-4B8C-83A1-F6EECF244321}">
                <p14:modId xmlns:p14="http://schemas.microsoft.com/office/powerpoint/2010/main" val="1141619063"/>
              </p:ext>
            </p:extLst>
          </p:nvPr>
        </p:nvGraphicFramePr>
        <p:xfrm>
          <a:off x="5364163" y="3092450"/>
          <a:ext cx="3784600" cy="2325688"/>
        </p:xfrm>
        <a:graphic>
          <a:graphicData uri="http://schemas.openxmlformats.org/drawingml/2006/chart">
            <c:chart xmlns:c="http://schemas.openxmlformats.org/drawingml/2006/chart" xmlns:r="http://schemas.openxmlformats.org/officeDocument/2006/relationships" r:id="rId19"/>
          </a:graphicData>
        </a:graphic>
      </p:graphicFrame>
      <p:sp>
        <p:nvSpPr>
          <p:cNvPr id="33" name="テキスト プレースホルダ 9">
            <a:extLst>
              <a:ext uri="{FF2B5EF4-FFF2-40B4-BE49-F238E27FC236}">
                <a16:creationId xmlns:a16="http://schemas.microsoft.com/office/drawing/2014/main" id="{115A7CEB-3079-4426-99D0-28BA7C1B2B5D}"/>
              </a:ext>
            </a:extLst>
          </p:cNvPr>
          <p:cNvSpPr>
            <a:spLocks noGrp="1"/>
          </p:cNvSpPr>
          <p:nvPr>
            <p:custDataLst>
              <p:tags r:id="rId11"/>
            </p:custDataLst>
          </p:nvPr>
        </p:nvSpPr>
        <p:spPr bwMode="auto">
          <a:xfrm>
            <a:off x="7862888" y="51847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923F603-60BB-4A24-9EF6-ECA611C39383}" type="datetime'''''''''非感''''''''''''''''''''''''''''''染''''''症'''''''''">
              <a:rPr lang="ja-JP" altLang="en-US" smtClean="0"/>
              <a:pPr/>
              <a:t>非感染症</a:t>
            </a:fld>
            <a:endParaRPr kumimoji="0" lang="ja-JP" altLang="en-US" baseline="30000" dirty="0">
              <a:sym typeface="+mn-lt"/>
            </a:endParaRPr>
          </a:p>
        </p:txBody>
      </p:sp>
      <p:sp>
        <p:nvSpPr>
          <p:cNvPr id="38" name="テキスト プレースホルダ 9">
            <a:extLst>
              <a:ext uri="{FF2B5EF4-FFF2-40B4-BE49-F238E27FC236}">
                <a16:creationId xmlns:a16="http://schemas.microsoft.com/office/drawing/2014/main" id="{AB67748C-80CA-46D1-99B4-9B778C260259}"/>
              </a:ext>
            </a:extLst>
          </p:cNvPr>
          <p:cNvSpPr>
            <a:spLocks noGrp="1"/>
          </p:cNvSpPr>
          <p:nvPr>
            <p:custDataLst>
              <p:tags r:id="rId12"/>
            </p:custDataLst>
          </p:nvPr>
        </p:nvSpPr>
        <p:spPr bwMode="auto">
          <a:xfrm>
            <a:off x="5907088" y="3179763"/>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1D7156F-618E-48AF-8CB4-EE82A3FBD2A1}" type="datetime'''''''''''''''感''染''''''''症'''''''''''''''''''''''''''''">
              <a:rPr lang="ja-JP" altLang="en-US" smtClean="0"/>
              <a:pPr/>
              <a:t>感染症</a:t>
            </a:fld>
            <a:endParaRPr lang="ja-JP" altLang="en-US" dirty="0">
              <a:sym typeface="+mn-lt"/>
            </a:endParaRPr>
          </a:p>
        </p:txBody>
      </p:sp>
      <p:sp>
        <p:nvSpPr>
          <p:cNvPr id="39" name="テキスト プレースホルダ 9">
            <a:extLst>
              <a:ext uri="{FF2B5EF4-FFF2-40B4-BE49-F238E27FC236}">
                <a16:creationId xmlns:a16="http://schemas.microsoft.com/office/drawing/2014/main" id="{EFDD0A36-1F5D-450E-94AA-2C001236D370}"/>
              </a:ext>
            </a:extLst>
          </p:cNvPr>
          <p:cNvSpPr>
            <a:spLocks noGrp="1"/>
          </p:cNvSpPr>
          <p:nvPr>
            <p:custDataLst>
              <p:tags r:id="rId13"/>
            </p:custDataLst>
          </p:nvPr>
        </p:nvSpPr>
        <p:spPr bwMode="gray">
          <a:xfrm>
            <a:off x="6880225" y="3249613"/>
            <a:ext cx="520700" cy="244475"/>
          </a:xfrm>
          <a:prstGeom prst="rect">
            <a:avLst/>
          </a:prstGeom>
          <a:solidFill>
            <a:srgbClr val="C0E6F4"/>
          </a:solidFill>
          <a:ln>
            <a:noFill/>
          </a:ln>
          <a:effectLst/>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3D2CC2A-5FE5-445C-B9EE-5277CF0BADD5}" type="datetime'''''''''''''''''''4''''''''''.''''''''1''''''''%'''''''''''''">
              <a:rPr lang="en-US" altLang="en-US" smtClean="0">
                <a:effectLst/>
              </a:rPr>
              <a:pPr/>
              <a:t>4.1%</a:t>
            </a:fld>
            <a:endParaRPr lang="ja-JP" altLang="en-US" dirty="0">
              <a:sym typeface="+mn-lt"/>
            </a:endParaRPr>
          </a:p>
        </p:txBody>
      </p:sp>
      <p:sp>
        <p:nvSpPr>
          <p:cNvPr id="31" name="テキスト プレースホルダ 9">
            <a:extLst>
              <a:ext uri="{FF2B5EF4-FFF2-40B4-BE49-F238E27FC236}">
                <a16:creationId xmlns:a16="http://schemas.microsoft.com/office/drawing/2014/main" id="{3124840F-38C5-4F7D-8C37-A836E5FCCB9D}"/>
              </a:ext>
            </a:extLst>
          </p:cNvPr>
          <p:cNvSpPr>
            <a:spLocks noGrp="1"/>
          </p:cNvSpPr>
          <p:nvPr>
            <p:custDataLst>
              <p:tags r:id="rId14"/>
            </p:custDataLst>
          </p:nvPr>
        </p:nvSpPr>
        <p:spPr bwMode="auto">
          <a:xfrm>
            <a:off x="6607175" y="28987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71054B1-C762-46D5-B750-BD9CDF8F1FC2}" type="datetime'''''''''''''''''事''''''''''''''''故''''等'''''">
              <a:rPr lang="ja-JP" altLang="en-US" smtClean="0"/>
              <a:pPr/>
              <a:t>事故等</a:t>
            </a:fld>
            <a:endParaRPr lang="ja-JP" altLang="en-US" dirty="0">
              <a:sym typeface="+mn-lt"/>
            </a:endParaRPr>
          </a:p>
        </p:txBody>
      </p:sp>
    </p:spTree>
    <p:extLst>
      <p:ext uri="{BB962C8B-B14F-4D97-AF65-F5344CB8AC3E}">
        <p14:creationId xmlns:p14="http://schemas.microsoft.com/office/powerpoint/2010/main" val="18439020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8238539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4" name="think-cell Slide" r:id="rId120" imgW="360" imgH="360" progId="TCLayout.ActiveDocument.1">
                  <p:embed/>
                </p:oleObj>
              </mc:Choice>
              <mc:Fallback>
                <p:oleObj name="think-cell Slide" r:id="rId120" imgW="360" imgH="360" progId="TCLayout.ActiveDocument.1">
                  <p:embed/>
                  <p:pic>
                    <p:nvPicPr>
                      <p:cNvPr id="4" name="Object 3" hidden="1"/>
                      <p:cNvPicPr>
                        <a:picLocks noChangeAspect="1" noChangeArrowheads="1"/>
                      </p:cNvPicPr>
                      <p:nvPr/>
                    </p:nvPicPr>
                    <p:blipFill>
                      <a:blip r:embed="rId12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疾病構造・死亡要因</a:t>
            </a:r>
            <a:r>
              <a:rPr lang="en-US" altLang="ja-JP" dirty="0"/>
              <a:t>【</a:t>
            </a:r>
            <a:r>
              <a:rPr lang="ja-JP" altLang="en-US" dirty="0"/>
              <a:t>中分類</a:t>
            </a:r>
            <a:r>
              <a:rPr lang="en-US" altLang="ja-JP" dirty="0"/>
              <a:t>】</a:t>
            </a:r>
          </a:p>
        </p:txBody>
      </p:sp>
      <p:grpSp>
        <p:nvGrpSpPr>
          <p:cNvPr id="75" name="グループ化 7"/>
          <p:cNvGrpSpPr/>
          <p:nvPr/>
        </p:nvGrpSpPr>
        <p:grpSpPr>
          <a:xfrm>
            <a:off x="200025" y="1926551"/>
            <a:ext cx="9414613" cy="288032"/>
            <a:chOff x="4803500" y="2113806"/>
            <a:chExt cx="2954133" cy="288032"/>
          </a:xfrm>
        </p:grpSpPr>
        <p:cxnSp>
          <p:nvCxnSpPr>
            <p:cNvPr id="76" name="直線コネクタ 7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で見る疾病構造の変化（</a:t>
              </a:r>
              <a:r>
                <a:rPr lang="en-US" altLang="ja-JP" sz="1400" dirty="0">
                  <a:solidFill>
                    <a:srgbClr val="000000"/>
                  </a:solidFill>
                  <a:latin typeface="Arial Black" pitchFamily="34" charset="0"/>
                  <a:ea typeface="HGP創英角ｺﾞｼｯｸUB" pitchFamily="50" charset="-128"/>
                </a:rPr>
                <a:t>1990</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sp>
        <p:nvSpPr>
          <p:cNvPr id="57" name="テキスト ボックス 56"/>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非感染症のなかでも新生物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倍増しているほか、比率は比較的小さいが神経疾患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と急増し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での感染症による死亡のほとんどは呼吸器感染症、特に下気道感染症（肺炎）によるもの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3" name="Straight Connector 22">
            <a:extLst>
              <a:ext uri="{FF2B5EF4-FFF2-40B4-BE49-F238E27FC236}">
                <a16:creationId xmlns:a16="http://schemas.microsoft.com/office/drawing/2014/main" id="{8832F9C3-41E4-43E2-801E-EB16028308DF}"/>
              </a:ext>
            </a:extLst>
          </p:cNvPr>
          <p:cNvCxnSpPr/>
          <p:nvPr>
            <p:custDataLst>
              <p:tags r:id="rId4"/>
            </p:custDataLst>
          </p:nvPr>
        </p:nvCxnSpPr>
        <p:spPr bwMode="auto">
          <a:xfrm flipV="1">
            <a:off x="1116013" y="5189538"/>
            <a:ext cx="146050" cy="2190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37E27687-5B59-4454-A121-5F48504A0F22}"/>
              </a:ext>
            </a:extLst>
          </p:cNvPr>
          <p:cNvCxnSpPr/>
          <p:nvPr>
            <p:custDataLst>
              <p:tags r:id="rId5"/>
            </p:custDataLst>
          </p:nvPr>
        </p:nvCxnSpPr>
        <p:spPr bwMode="auto">
          <a:xfrm flipV="1">
            <a:off x="1096963" y="5170489"/>
            <a:ext cx="165100" cy="2381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B2BA652F-2865-4A6F-85DF-D29832CC22A1}"/>
              </a:ext>
            </a:extLst>
          </p:cNvPr>
          <p:cNvCxnSpPr/>
          <p:nvPr>
            <p:custDataLst>
              <p:tags r:id="rId6"/>
            </p:custDataLst>
          </p:nvPr>
        </p:nvCxnSpPr>
        <p:spPr bwMode="auto">
          <a:xfrm flipV="1">
            <a:off x="903288" y="5675313"/>
            <a:ext cx="7938"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72B24EB6-404C-428A-B029-03ADA65F18E7}"/>
              </a:ext>
            </a:extLst>
          </p:cNvPr>
          <p:cNvCxnSpPr/>
          <p:nvPr>
            <p:custDataLst>
              <p:tags r:id="rId7"/>
            </p:custDataLst>
          </p:nvPr>
        </p:nvCxnSpPr>
        <p:spPr bwMode="auto">
          <a:xfrm flipV="1">
            <a:off x="1096963" y="5172075"/>
            <a:ext cx="165100" cy="2365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65A5C7EC-75DA-428C-95DC-2F7EFFA8B5BD}"/>
              </a:ext>
            </a:extLst>
          </p:cNvPr>
          <p:cNvCxnSpPr/>
          <p:nvPr>
            <p:custDataLst>
              <p:tags r:id="rId8"/>
            </p:custDataLst>
          </p:nvPr>
        </p:nvCxnSpPr>
        <p:spPr bwMode="auto">
          <a:xfrm flipV="1">
            <a:off x="1128713" y="5210175"/>
            <a:ext cx="133350" cy="1984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B63E5F32-6CC6-4A9D-B798-153B938E12CF}"/>
              </a:ext>
            </a:extLst>
          </p:cNvPr>
          <p:cNvCxnSpPr/>
          <p:nvPr>
            <p:custDataLst>
              <p:tags r:id="rId9"/>
            </p:custDataLst>
          </p:nvPr>
        </p:nvCxnSpPr>
        <p:spPr bwMode="auto">
          <a:xfrm flipV="1">
            <a:off x="903288" y="5675314"/>
            <a:ext cx="7938"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97848847-62D1-414D-8513-AFB033002F30}"/>
              </a:ext>
            </a:extLst>
          </p:cNvPr>
          <p:cNvCxnSpPr/>
          <p:nvPr>
            <p:custDataLst>
              <p:tags r:id="rId10"/>
            </p:custDataLst>
          </p:nvPr>
        </p:nvCxnSpPr>
        <p:spPr bwMode="auto">
          <a:xfrm flipV="1">
            <a:off x="903288" y="5732463"/>
            <a:ext cx="7938"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5CCE841C-7F0D-4846-8272-866ECCEB0839}"/>
              </a:ext>
            </a:extLst>
          </p:cNvPr>
          <p:cNvCxnSpPr/>
          <p:nvPr>
            <p:custDataLst>
              <p:tags r:id="rId11"/>
            </p:custDataLst>
          </p:nvPr>
        </p:nvCxnSpPr>
        <p:spPr bwMode="auto">
          <a:xfrm flipV="1">
            <a:off x="1120775" y="5199063"/>
            <a:ext cx="141288" cy="2095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3F786749-3690-47BA-B977-254CED27585B}"/>
              </a:ext>
            </a:extLst>
          </p:cNvPr>
          <p:cNvCxnSpPr/>
          <p:nvPr>
            <p:custDataLst>
              <p:tags r:id="rId12"/>
            </p:custDataLst>
          </p:nvPr>
        </p:nvCxnSpPr>
        <p:spPr bwMode="auto">
          <a:xfrm flipV="1">
            <a:off x="1111251" y="5180013"/>
            <a:ext cx="150813" cy="2286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0CFFAC3-4138-4148-B315-3F2336E8EA92}"/>
              </a:ext>
            </a:extLst>
          </p:cNvPr>
          <p:cNvCxnSpPr/>
          <p:nvPr>
            <p:custDataLst>
              <p:tags r:id="rId13"/>
            </p:custDataLst>
          </p:nvPr>
        </p:nvCxnSpPr>
        <p:spPr bwMode="auto">
          <a:xfrm flipV="1">
            <a:off x="903288" y="5721350"/>
            <a:ext cx="7938"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94F75FC3-B3C1-4797-B3AB-E4CB551F22D2}"/>
              </a:ext>
            </a:extLst>
          </p:cNvPr>
          <p:cNvCxnSpPr/>
          <p:nvPr>
            <p:custDataLst>
              <p:tags r:id="rId14"/>
            </p:custDataLst>
          </p:nvPr>
        </p:nvCxnSpPr>
        <p:spPr bwMode="auto">
          <a:xfrm flipV="1">
            <a:off x="903288" y="5708650"/>
            <a:ext cx="7938"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E0374129-958A-4FCE-8CAE-CD556A452F3D}"/>
              </a:ext>
            </a:extLst>
          </p:cNvPr>
          <p:cNvCxnSpPr/>
          <p:nvPr>
            <p:custDataLst>
              <p:tags r:id="rId15"/>
            </p:custDataLst>
          </p:nvPr>
        </p:nvCxnSpPr>
        <p:spPr bwMode="auto">
          <a:xfrm flipV="1">
            <a:off x="903288" y="5675314"/>
            <a:ext cx="7938"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CB743D25-17A3-4898-8765-A37312F67CB2}"/>
              </a:ext>
            </a:extLst>
          </p:cNvPr>
          <p:cNvCxnSpPr/>
          <p:nvPr>
            <p:custDataLst>
              <p:tags r:id="rId16"/>
            </p:custDataLst>
          </p:nvPr>
        </p:nvCxnSpPr>
        <p:spPr bwMode="auto">
          <a:xfrm flipV="1">
            <a:off x="903288" y="5718176"/>
            <a:ext cx="7938"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0BEFA9A-98B4-4905-9F23-B5341CDC36AC}"/>
              </a:ext>
            </a:extLst>
          </p:cNvPr>
          <p:cNvCxnSpPr/>
          <p:nvPr>
            <p:custDataLst>
              <p:tags r:id="rId17"/>
            </p:custDataLst>
          </p:nvPr>
        </p:nvCxnSpPr>
        <p:spPr bwMode="auto">
          <a:xfrm flipV="1">
            <a:off x="1096963" y="5170488"/>
            <a:ext cx="165100" cy="2381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225" name="Chart 224">
            <a:extLst>
              <a:ext uri="{FF2B5EF4-FFF2-40B4-BE49-F238E27FC236}">
                <a16:creationId xmlns:a16="http://schemas.microsoft.com/office/drawing/2014/main" id="{70D06A73-14E9-47C6-B643-5DCF69123D51}"/>
              </a:ext>
            </a:extLst>
          </p:cNvPr>
          <p:cNvGraphicFramePr/>
          <p:nvPr>
            <p:custDataLst>
              <p:tags r:id="rId18"/>
            </p:custDataLst>
            <p:extLst>
              <p:ext uri="{D42A27DB-BD31-4B8C-83A1-F6EECF244321}">
                <p14:modId xmlns:p14="http://schemas.microsoft.com/office/powerpoint/2010/main" val="705756435"/>
              </p:ext>
            </p:extLst>
          </p:nvPr>
        </p:nvGraphicFramePr>
        <p:xfrm>
          <a:off x="190500" y="5087938"/>
          <a:ext cx="1784350" cy="1103312"/>
        </p:xfrm>
        <a:graphic>
          <a:graphicData uri="http://schemas.openxmlformats.org/drawingml/2006/chart">
            <c:chart xmlns:c="http://schemas.openxmlformats.org/drawingml/2006/chart" xmlns:r="http://schemas.openxmlformats.org/officeDocument/2006/relationships" r:id="rId122"/>
          </a:graphicData>
        </a:graphic>
      </p:graphicFrame>
      <p:cxnSp>
        <p:nvCxnSpPr>
          <p:cNvPr id="115" name="Straight Connector 114">
            <a:extLst>
              <a:ext uri="{FF2B5EF4-FFF2-40B4-BE49-F238E27FC236}">
                <a16:creationId xmlns:a16="http://schemas.microsoft.com/office/drawing/2014/main" id="{E43A9350-AB61-41E4-94E5-A0C6C431F15C}"/>
              </a:ext>
            </a:extLst>
          </p:cNvPr>
          <p:cNvCxnSpPr/>
          <p:nvPr>
            <p:custDataLst>
              <p:tags r:id="rId19"/>
            </p:custDataLst>
          </p:nvPr>
        </p:nvCxnSpPr>
        <p:spPr bwMode="auto">
          <a:xfrm flipV="1">
            <a:off x="677863" y="4703763"/>
            <a:ext cx="809625" cy="515938"/>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03" name="Straight Connector 102">
            <a:extLst>
              <a:ext uri="{FF2B5EF4-FFF2-40B4-BE49-F238E27FC236}">
                <a16:creationId xmlns:a16="http://schemas.microsoft.com/office/drawing/2014/main" id="{99BBBD71-2814-4216-B363-BEF0BB4D6B46}"/>
              </a:ext>
            </a:extLst>
          </p:cNvPr>
          <p:cNvCxnSpPr>
            <a:cxnSpLocks/>
          </p:cNvCxnSpPr>
          <p:nvPr>
            <p:custDataLst>
              <p:tags r:id="rId20"/>
            </p:custDataLst>
          </p:nvPr>
        </p:nvCxnSpPr>
        <p:spPr bwMode="auto">
          <a:xfrm flipH="1">
            <a:off x="1739900" y="4457700"/>
            <a:ext cx="49213" cy="7127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F9E3346B-26AE-40B9-A0BD-4DDCA54EB9E7}"/>
              </a:ext>
            </a:extLst>
          </p:cNvPr>
          <p:cNvCxnSpPr>
            <a:cxnSpLocks/>
          </p:cNvCxnSpPr>
          <p:nvPr>
            <p:custDataLst>
              <p:tags r:id="rId21"/>
            </p:custDataLst>
          </p:nvPr>
        </p:nvCxnSpPr>
        <p:spPr bwMode="auto">
          <a:xfrm flipH="1">
            <a:off x="1739900" y="4940301"/>
            <a:ext cx="49213" cy="2444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71D94FF8-55D3-45A2-81E4-40C1D5459BD2}"/>
              </a:ext>
            </a:extLst>
          </p:cNvPr>
          <p:cNvCxnSpPr/>
          <p:nvPr>
            <p:custDataLst>
              <p:tags r:id="rId22"/>
            </p:custDataLst>
          </p:nvPr>
        </p:nvCxnSpPr>
        <p:spPr bwMode="auto">
          <a:xfrm flipH="1" flipV="1">
            <a:off x="1739900" y="5194300"/>
            <a:ext cx="49213"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E23A8513-9AB6-48BC-A8DE-9C4862697816}"/>
              </a:ext>
            </a:extLst>
          </p:cNvPr>
          <p:cNvCxnSpPr/>
          <p:nvPr>
            <p:custDataLst>
              <p:tags r:id="rId23"/>
            </p:custDataLst>
          </p:nvPr>
        </p:nvCxnSpPr>
        <p:spPr bwMode="auto">
          <a:xfrm flipH="1">
            <a:off x="846138" y="5561013"/>
            <a:ext cx="73025" cy="1254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 name="Straight Connector 103">
            <a:extLst>
              <a:ext uri="{FF2B5EF4-FFF2-40B4-BE49-F238E27FC236}">
                <a16:creationId xmlns:a16="http://schemas.microsoft.com/office/drawing/2014/main" id="{779C4F78-40DE-4517-B85B-0736481EE124}"/>
              </a:ext>
            </a:extLst>
          </p:cNvPr>
          <p:cNvCxnSpPr>
            <a:cxnSpLocks/>
          </p:cNvCxnSpPr>
          <p:nvPr>
            <p:custDataLst>
              <p:tags r:id="rId24"/>
            </p:custDataLst>
          </p:nvPr>
        </p:nvCxnSpPr>
        <p:spPr bwMode="auto">
          <a:xfrm flipH="1">
            <a:off x="1739900" y="4737100"/>
            <a:ext cx="49213" cy="4381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E140FBD9-94CD-46C7-82C0-092221975385}"/>
              </a:ext>
            </a:extLst>
          </p:cNvPr>
          <p:cNvCxnSpPr>
            <a:cxnSpLocks/>
          </p:cNvCxnSpPr>
          <p:nvPr>
            <p:custDataLst>
              <p:tags r:id="rId25"/>
            </p:custDataLst>
          </p:nvPr>
        </p:nvCxnSpPr>
        <p:spPr bwMode="auto">
          <a:xfrm flipH="1" flipV="1">
            <a:off x="846138" y="5738813"/>
            <a:ext cx="73025" cy="1270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ABF15BEA-240D-4841-92D9-23F5A65C7574}"/>
              </a:ext>
            </a:extLst>
          </p:cNvPr>
          <p:cNvCxnSpPr>
            <a:cxnSpLocks/>
          </p:cNvCxnSpPr>
          <p:nvPr>
            <p:custDataLst>
              <p:tags r:id="rId26"/>
            </p:custDataLst>
          </p:nvPr>
        </p:nvCxnSpPr>
        <p:spPr bwMode="auto">
          <a:xfrm flipH="1">
            <a:off x="846138" y="5637213"/>
            <a:ext cx="73025" cy="49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27E8D66-AF6F-4C38-BCD5-39EAC07394B7}"/>
              </a:ext>
            </a:extLst>
          </p:cNvPr>
          <p:cNvCxnSpPr>
            <a:cxnSpLocks/>
          </p:cNvCxnSpPr>
          <p:nvPr>
            <p:custDataLst>
              <p:tags r:id="rId27"/>
            </p:custDataLst>
          </p:nvPr>
        </p:nvCxnSpPr>
        <p:spPr bwMode="auto">
          <a:xfrm flipH="1" flipV="1">
            <a:off x="846138" y="5730875"/>
            <a:ext cx="73025" cy="587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D680442A-2FD4-432D-A9F1-EBF059CA9895}"/>
              </a:ext>
            </a:extLst>
          </p:cNvPr>
          <p:cNvCxnSpPr/>
          <p:nvPr>
            <p:custDataLst>
              <p:tags r:id="rId28"/>
            </p:custDataLst>
          </p:nvPr>
        </p:nvCxnSpPr>
        <p:spPr bwMode="auto">
          <a:xfrm flipH="1" flipV="1">
            <a:off x="1655763" y="5194300"/>
            <a:ext cx="73025" cy="228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D2532A80-447B-4AB2-B9C0-06345E6DE7FE}"/>
              </a:ext>
            </a:extLst>
          </p:cNvPr>
          <p:cNvCxnSpPr>
            <a:cxnSpLocks/>
          </p:cNvCxnSpPr>
          <p:nvPr>
            <p:custDataLst>
              <p:tags r:id="rId29"/>
            </p:custDataLst>
          </p:nvPr>
        </p:nvCxnSpPr>
        <p:spPr bwMode="auto">
          <a:xfrm flipH="1">
            <a:off x="1655763" y="4305300"/>
            <a:ext cx="73025" cy="8651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F0586382-FB5C-4838-B822-B221A8336D80}"/>
              </a:ext>
            </a:extLst>
          </p:cNvPr>
          <p:cNvCxnSpPr/>
          <p:nvPr>
            <p:custDataLst>
              <p:tags r:id="rId30"/>
            </p:custDataLst>
          </p:nvPr>
        </p:nvCxnSpPr>
        <p:spPr bwMode="auto">
          <a:xfrm flipH="1" flipV="1">
            <a:off x="1655763" y="5203826"/>
            <a:ext cx="73025" cy="574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69CAE4F8-E2B6-452E-9C8E-7CD581834A70}"/>
              </a:ext>
            </a:extLst>
          </p:cNvPr>
          <p:cNvCxnSpPr>
            <a:cxnSpLocks/>
          </p:cNvCxnSpPr>
          <p:nvPr>
            <p:custDataLst>
              <p:tags r:id="rId31"/>
            </p:custDataLst>
          </p:nvPr>
        </p:nvCxnSpPr>
        <p:spPr bwMode="auto">
          <a:xfrm flipH="1">
            <a:off x="1655763" y="5143501"/>
            <a:ext cx="73025" cy="412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40B4888F-AD52-4AB0-9779-AF0AEEA9F0F0}"/>
              </a:ext>
            </a:extLst>
          </p:cNvPr>
          <p:cNvCxnSpPr/>
          <p:nvPr>
            <p:custDataLst>
              <p:tags r:id="rId32"/>
            </p:custDataLst>
          </p:nvPr>
        </p:nvCxnSpPr>
        <p:spPr bwMode="auto">
          <a:xfrm flipH="1" flipV="1">
            <a:off x="1739900" y="5203826"/>
            <a:ext cx="49213" cy="4476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FBDA338E-6255-4778-B959-9C2AFA4D6160}"/>
              </a:ext>
            </a:extLst>
          </p:cNvPr>
          <p:cNvCxnSpPr>
            <a:cxnSpLocks/>
          </p:cNvCxnSpPr>
          <p:nvPr>
            <p:custDataLst>
              <p:tags r:id="rId33"/>
            </p:custDataLst>
          </p:nvPr>
        </p:nvCxnSpPr>
        <p:spPr bwMode="auto">
          <a:xfrm flipH="1">
            <a:off x="1739900" y="4025900"/>
            <a:ext cx="49213" cy="11445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6" name="テキスト プレースホルダ 9">
            <a:extLst>
              <a:ext uri="{FF2B5EF4-FFF2-40B4-BE49-F238E27FC236}">
                <a16:creationId xmlns:a16="http://schemas.microsoft.com/office/drawing/2014/main" id="{250534F1-99F9-4D60-9E09-8428056216FF}"/>
              </a:ext>
            </a:extLst>
          </p:cNvPr>
          <p:cNvSpPr>
            <a:spLocks noGrp="1"/>
          </p:cNvSpPr>
          <p:nvPr>
            <p:custDataLst>
              <p:tags r:id="rId34"/>
            </p:custDataLst>
          </p:nvPr>
        </p:nvSpPr>
        <p:spPr bwMode="gray">
          <a:xfrm>
            <a:off x="919163" y="5408613"/>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BDCC7DA-2608-4CB0-9B1A-A0D392965595}" type="datetime'''''''0''''''''''''''%'''''''''''''''''''''''''''''''''''">
              <a:rPr lang="en-US" altLang="en-US" sz="1000" smtClean="0"/>
              <a:pPr marL="0" indent="0">
                <a:spcBef>
                  <a:spcPct val="0"/>
                </a:spcBef>
                <a:buNone/>
              </a:pPr>
              <a:t>0%</a:t>
            </a:fld>
            <a:endParaRPr lang="ja-JP" altLang="en-US" sz="1000" dirty="0"/>
          </a:p>
        </p:txBody>
      </p:sp>
      <p:sp>
        <p:nvSpPr>
          <p:cNvPr id="59" name="テキスト プレースホルダ 9">
            <a:extLst>
              <a:ext uri="{FF2B5EF4-FFF2-40B4-BE49-F238E27FC236}">
                <a16:creationId xmlns:a16="http://schemas.microsoft.com/office/drawing/2014/main" id="{73B62ABA-64C1-4D85-BF34-3F2919D633F0}"/>
              </a:ext>
            </a:extLst>
          </p:cNvPr>
          <p:cNvSpPr>
            <a:spLocks noGrp="1"/>
          </p:cNvSpPr>
          <p:nvPr>
            <p:custDataLst>
              <p:tags r:id="rId35"/>
            </p:custDataLst>
          </p:nvPr>
        </p:nvSpPr>
        <p:spPr bwMode="gray">
          <a:xfrm>
            <a:off x="682625" y="5627688"/>
            <a:ext cx="217488" cy="152400"/>
          </a:xfrm>
          <a:prstGeom prst="rect">
            <a:avLst/>
          </a:prstGeom>
          <a:solidFill>
            <a:schemeClr val="accent3"/>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CA584B-7686-4F84-844A-A0EBB25411A6}" type="datetime'''''''''8''''''''''''%'''''''">
              <a:rPr lang="en-US" altLang="en-US" sz="1000" smtClean="0"/>
              <a:pPr marL="0" indent="0" algn="ctr">
                <a:spcBef>
                  <a:spcPct val="0"/>
                </a:spcBef>
                <a:buNone/>
              </a:pPr>
              <a:t>8%</a:t>
            </a:fld>
            <a:endParaRPr lang="ja-JP" altLang="en-US" sz="1000" dirty="0"/>
          </a:p>
        </p:txBody>
      </p:sp>
      <p:sp>
        <p:nvSpPr>
          <p:cNvPr id="82" name="テキスト プレースホルダ 9">
            <a:extLst>
              <a:ext uri="{FF2B5EF4-FFF2-40B4-BE49-F238E27FC236}">
                <a16:creationId xmlns:a16="http://schemas.microsoft.com/office/drawing/2014/main" id="{ED54A791-A457-4EE8-91BD-09FEA0C90EAA}"/>
              </a:ext>
            </a:extLst>
          </p:cNvPr>
          <p:cNvSpPr>
            <a:spLocks noGrp="1"/>
          </p:cNvSpPr>
          <p:nvPr>
            <p:custDataLst>
              <p:tags r:id="rId36"/>
            </p:custDataLst>
          </p:nvPr>
        </p:nvSpPr>
        <p:spPr bwMode="gray">
          <a:xfrm>
            <a:off x="1266825" y="5099050"/>
            <a:ext cx="217488" cy="152400"/>
          </a:xfrm>
          <a:prstGeom prst="rect">
            <a:avLst/>
          </a:prstGeom>
          <a:solidFill>
            <a:schemeClr val="accent3"/>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321A47-1DBA-47A6-BCB5-C00B399FDA4C}" type="datetime'''''''''1''''''''''''''''''''''''''''''''''''%'''">
              <a:rPr lang="en-US" altLang="en-US" sz="1000" smtClean="0"/>
              <a:pPr/>
              <a:t>1%</a:t>
            </a:fld>
            <a:endParaRPr lang="ja-JP" altLang="en-US" sz="1000" dirty="0"/>
          </a:p>
        </p:txBody>
      </p:sp>
      <p:sp>
        <p:nvSpPr>
          <p:cNvPr id="70" name="テキスト プレースホルダ 9">
            <a:extLst>
              <a:ext uri="{FF2B5EF4-FFF2-40B4-BE49-F238E27FC236}">
                <a16:creationId xmlns:a16="http://schemas.microsoft.com/office/drawing/2014/main" id="{94D69A3D-F9AE-4513-A6C3-B7C14E220D34}"/>
              </a:ext>
            </a:extLst>
          </p:cNvPr>
          <p:cNvSpPr>
            <a:spLocks noGrp="1"/>
          </p:cNvSpPr>
          <p:nvPr>
            <p:custDataLst>
              <p:tags r:id="rId37"/>
            </p:custDataLst>
          </p:nvPr>
        </p:nvSpPr>
        <p:spPr bwMode="auto">
          <a:xfrm>
            <a:off x="1814513" y="4660900"/>
            <a:ext cx="1206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52D0D3B-58E6-4596-B5EE-679EBC3E71D3}" type="datetime'妊産''''''婦''・''新生''''''''''''児''''''''''''''の''障''害'''''''''''">
              <a:rPr lang="ja-JP" altLang="en-US" sz="1000" smtClean="0"/>
              <a:pPr/>
              <a:t>妊産婦・新生児の障害</a:t>
            </a:fld>
            <a:endParaRPr lang="ja-JP" altLang="en-US" sz="1000" dirty="0"/>
          </a:p>
        </p:txBody>
      </p:sp>
      <p:sp>
        <p:nvSpPr>
          <p:cNvPr id="65" name="テキスト プレースホルダ 9">
            <a:extLst>
              <a:ext uri="{FF2B5EF4-FFF2-40B4-BE49-F238E27FC236}">
                <a16:creationId xmlns:a16="http://schemas.microsoft.com/office/drawing/2014/main" id="{2CE56454-D59D-4275-8663-047DCE3A212B}"/>
              </a:ext>
            </a:extLst>
          </p:cNvPr>
          <p:cNvSpPr>
            <a:spLocks noGrp="1"/>
          </p:cNvSpPr>
          <p:nvPr>
            <p:custDataLst>
              <p:tags r:id="rId38"/>
            </p:custDataLst>
          </p:nvPr>
        </p:nvSpPr>
        <p:spPr bwMode="auto">
          <a:xfrm>
            <a:off x="1341438" y="61515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CA8185B-8E1E-40D1-858F-5E65254955FA}" type="datetime'''''''2''''''0''''''''''1''''''''''''''''''''9'''''''">
              <a:rPr lang="ja-JP" altLang="en-US" sz="1000" smtClean="0"/>
              <a:pPr/>
              <a:t>2019</a:t>
            </a:fld>
            <a:endParaRPr lang="ja-JP" altLang="en-US" sz="1000" dirty="0"/>
          </a:p>
        </p:txBody>
      </p:sp>
      <p:sp>
        <p:nvSpPr>
          <p:cNvPr id="80" name="テキスト プレースホルダ 9">
            <a:extLst>
              <a:ext uri="{FF2B5EF4-FFF2-40B4-BE49-F238E27FC236}">
                <a16:creationId xmlns:a16="http://schemas.microsoft.com/office/drawing/2014/main" id="{D1E40BBD-4218-4F6E-B601-60A93A864C50}"/>
              </a:ext>
            </a:extLst>
          </p:cNvPr>
          <p:cNvSpPr>
            <a:spLocks noGrp="1"/>
          </p:cNvSpPr>
          <p:nvPr>
            <p:custDataLst>
              <p:tags r:id="rId39"/>
            </p:custDataLst>
          </p:nvPr>
        </p:nvSpPr>
        <p:spPr bwMode="gray">
          <a:xfrm>
            <a:off x="1728788" y="4152900"/>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9677A9A-82C0-4B05-9B91-56EB3F2E3137}" type="datetime'''''''''''''''''''0''''''''''''''''''''''''''''%'''''''''">
              <a:rPr lang="en-US" altLang="en-US" sz="1000" smtClean="0">
                <a:effectLst/>
              </a:rPr>
              <a:pPr marL="0" indent="0">
                <a:spcBef>
                  <a:spcPct val="0"/>
                </a:spcBef>
                <a:buNone/>
              </a:pPr>
              <a:t>0%</a:t>
            </a:fld>
            <a:endParaRPr lang="ja-JP" altLang="en-US" sz="1000" dirty="0"/>
          </a:p>
        </p:txBody>
      </p:sp>
      <p:sp>
        <p:nvSpPr>
          <p:cNvPr id="27" name="テキスト プレースホルダ 9">
            <a:extLst>
              <a:ext uri="{FF2B5EF4-FFF2-40B4-BE49-F238E27FC236}">
                <a16:creationId xmlns:a16="http://schemas.microsoft.com/office/drawing/2014/main" id="{C5D9BBFB-E5EE-4B7E-8696-06935950F6F0}"/>
              </a:ext>
            </a:extLst>
          </p:cNvPr>
          <p:cNvSpPr>
            <a:spLocks noGrp="1"/>
          </p:cNvSpPr>
          <p:nvPr>
            <p:custDataLst>
              <p:tags r:id="rId40"/>
            </p:custDataLst>
          </p:nvPr>
        </p:nvSpPr>
        <p:spPr bwMode="auto">
          <a:xfrm>
            <a:off x="1814513" y="4864100"/>
            <a:ext cx="635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EAFDF7C-CB5C-4FFA-843D-820D0DF82633}" type="datetime'''''''''''''''''''''腸''管''感''''''''''''''''''''''''''''染症'''''">
              <a:rPr lang="ja-JP" altLang="en-US" sz="1000" smtClean="0"/>
              <a:pPr/>
              <a:t>腸管感染症</a:t>
            </a:fld>
            <a:endParaRPr lang="ja-JP" altLang="en-US" sz="1000" dirty="0"/>
          </a:p>
        </p:txBody>
      </p:sp>
      <p:sp>
        <p:nvSpPr>
          <p:cNvPr id="69" name="テキスト プレースホルダ 9">
            <a:extLst>
              <a:ext uri="{FF2B5EF4-FFF2-40B4-BE49-F238E27FC236}">
                <a16:creationId xmlns:a16="http://schemas.microsoft.com/office/drawing/2014/main" id="{52DF56D2-904D-4206-B2F3-18F5B111EDD3}"/>
              </a:ext>
            </a:extLst>
          </p:cNvPr>
          <p:cNvSpPr>
            <a:spLocks noGrp="1"/>
          </p:cNvSpPr>
          <p:nvPr>
            <p:custDataLst>
              <p:tags r:id="rId41"/>
            </p:custDataLst>
          </p:nvPr>
        </p:nvSpPr>
        <p:spPr bwMode="auto">
          <a:xfrm>
            <a:off x="1814513" y="4305300"/>
            <a:ext cx="109855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31834CC-CB27-4A40-880A-6E03A2F8F6FE}" type="datetime'''顧み''ら''れな''''い熱''''帯''''''''病''''&#10;''とマ''''ラ''''リ''''ア'''">
              <a:rPr lang="ja-JP" altLang="en-US" sz="1000" smtClean="0"/>
              <a:pPr/>
              <a:t>顧みられない熱帯病
とマラリア</a:t>
            </a:fld>
            <a:endParaRPr lang="ja-JP" altLang="en-US" sz="1000" dirty="0"/>
          </a:p>
        </p:txBody>
      </p:sp>
      <p:sp>
        <p:nvSpPr>
          <p:cNvPr id="83" name="テキスト プレースホルダ 9">
            <a:extLst>
              <a:ext uri="{FF2B5EF4-FFF2-40B4-BE49-F238E27FC236}">
                <a16:creationId xmlns:a16="http://schemas.microsoft.com/office/drawing/2014/main" id="{13652D69-4319-4DA6-AC40-9E9982BD864D}"/>
              </a:ext>
            </a:extLst>
          </p:cNvPr>
          <p:cNvSpPr>
            <a:spLocks noGrp="1"/>
          </p:cNvSpPr>
          <p:nvPr>
            <p:custDataLst>
              <p:tags r:id="rId42"/>
            </p:custDataLst>
          </p:nvPr>
        </p:nvSpPr>
        <p:spPr bwMode="gray">
          <a:xfrm>
            <a:off x="1728788" y="5067300"/>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6AE635A-7BC6-4624-B610-C4AC732608CC}" type="datetime'''''''''''''''''''''''''1''''''''''''''''%'''">
              <a:rPr lang="en-US" altLang="en-US" sz="1000" smtClean="0"/>
              <a:pPr marL="0" indent="0">
                <a:spcBef>
                  <a:spcPct val="0"/>
                </a:spcBef>
                <a:buNone/>
              </a:pPr>
              <a:t>1%</a:t>
            </a:fld>
            <a:endParaRPr lang="ja-JP" altLang="en-US" sz="1000" dirty="0"/>
          </a:p>
        </p:txBody>
      </p:sp>
      <p:sp>
        <p:nvSpPr>
          <p:cNvPr id="86" name="テキスト プレースホルダ 9">
            <a:extLst>
              <a:ext uri="{FF2B5EF4-FFF2-40B4-BE49-F238E27FC236}">
                <a16:creationId xmlns:a16="http://schemas.microsoft.com/office/drawing/2014/main" id="{3D3C9A16-9E9F-46AB-B94D-FB312DEF4A8C}"/>
              </a:ext>
            </a:extLst>
          </p:cNvPr>
          <p:cNvSpPr>
            <a:spLocks noGrp="1"/>
          </p:cNvSpPr>
          <p:nvPr>
            <p:custDataLst>
              <p:tags r:id="rId43"/>
            </p:custDataLst>
          </p:nvPr>
        </p:nvSpPr>
        <p:spPr bwMode="gray">
          <a:xfrm>
            <a:off x="1344613" y="558323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F5BFA9F-AED3-4808-ACB9-A89EEBFAB43B}" type="datetime'''''''''''''''''''96''''''''''''''''''''''%'''''''''''''">
              <a:rPr lang="en-US" altLang="en-US" sz="1000" smtClean="0">
                <a:solidFill>
                  <a:schemeClr val="bg1"/>
                </a:solidFill>
              </a:rPr>
              <a:pPr/>
              <a:t>96%</a:t>
            </a:fld>
            <a:endParaRPr lang="ja-JP" altLang="en-US" sz="1000" dirty="0">
              <a:solidFill>
                <a:schemeClr val="bg1"/>
              </a:solidFill>
            </a:endParaRPr>
          </a:p>
        </p:txBody>
      </p:sp>
      <p:sp>
        <p:nvSpPr>
          <p:cNvPr id="29" name="テキスト プレースホルダ 9">
            <a:extLst>
              <a:ext uri="{FF2B5EF4-FFF2-40B4-BE49-F238E27FC236}">
                <a16:creationId xmlns:a16="http://schemas.microsoft.com/office/drawing/2014/main" id="{A17EE956-E514-4BED-B62D-C0F2042F4C3B}"/>
              </a:ext>
            </a:extLst>
          </p:cNvPr>
          <p:cNvSpPr>
            <a:spLocks noGrp="1"/>
          </p:cNvSpPr>
          <p:nvPr>
            <p:custDataLst>
              <p:tags r:id="rId44"/>
            </p:custDataLst>
          </p:nvPr>
        </p:nvSpPr>
        <p:spPr bwMode="auto">
          <a:xfrm>
            <a:off x="1814514" y="5575300"/>
            <a:ext cx="879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1FFAF34-8EF0-483E-B470-796089A88ABC}" type="datetime'''''''そ''''''''の''''''他の''''''''''感染''''''''症'''''">
              <a:rPr lang="ja-JP" altLang="en-US" sz="1000" smtClean="0"/>
              <a:pPr/>
              <a:t>その他の感染症</a:t>
            </a:fld>
            <a:endParaRPr lang="ja-JP" altLang="en-US" sz="1000" dirty="0"/>
          </a:p>
        </p:txBody>
      </p:sp>
      <p:sp>
        <p:nvSpPr>
          <p:cNvPr id="81" name="テキスト プレースホルダ 9">
            <a:extLst>
              <a:ext uri="{FF2B5EF4-FFF2-40B4-BE49-F238E27FC236}">
                <a16:creationId xmlns:a16="http://schemas.microsoft.com/office/drawing/2014/main" id="{83E88E3C-81C5-45D0-9E9A-1630A8A6EB91}"/>
              </a:ext>
            </a:extLst>
          </p:cNvPr>
          <p:cNvSpPr>
            <a:spLocks noGrp="1"/>
          </p:cNvSpPr>
          <p:nvPr>
            <p:custDataLst>
              <p:tags r:id="rId45"/>
            </p:custDataLst>
          </p:nvPr>
        </p:nvSpPr>
        <p:spPr bwMode="gray">
          <a:xfrm>
            <a:off x="1492250" y="5094288"/>
            <a:ext cx="217488" cy="152400"/>
          </a:xfrm>
          <a:prstGeom prst="rect">
            <a:avLst/>
          </a:prstGeom>
          <a:solidFill>
            <a:schemeClr val="accent2"/>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AEDBE49-4EB2-458C-A4CA-D144CAB42305}" type="datetime'''''''''''0''''''''''''''''''''''''''''''''%'''''''''''''">
              <a:rPr lang="en-US" altLang="en-US" sz="1000" smtClean="0"/>
              <a:pPr/>
              <a:t>0%</a:t>
            </a:fld>
            <a:endParaRPr lang="ja-JP" altLang="en-US" sz="1000" dirty="0"/>
          </a:p>
        </p:txBody>
      </p:sp>
      <p:sp>
        <p:nvSpPr>
          <p:cNvPr id="51" name="テキスト プレースホルダ 9">
            <a:extLst>
              <a:ext uri="{FF2B5EF4-FFF2-40B4-BE49-F238E27FC236}">
                <a16:creationId xmlns:a16="http://schemas.microsoft.com/office/drawing/2014/main" id="{B0781FC8-2C93-4222-8A8C-442B8D38C148}"/>
              </a:ext>
            </a:extLst>
          </p:cNvPr>
          <p:cNvSpPr>
            <a:spLocks noGrp="1"/>
          </p:cNvSpPr>
          <p:nvPr>
            <p:custDataLst>
              <p:tags r:id="rId46"/>
            </p:custDataLst>
          </p:nvPr>
        </p:nvSpPr>
        <p:spPr bwMode="auto">
          <a:xfrm>
            <a:off x="531813" y="61515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F5B913A-2909-4AF3-ADE7-3D2B4F97E117}" type="datetime'''''''''1''''''''''''''''9''''''9''''0'''''">
              <a:rPr lang="ja-JP" altLang="en-US" sz="1000" smtClean="0"/>
              <a:pPr/>
              <a:t>1990</a:t>
            </a:fld>
            <a:endParaRPr lang="ja-JP" altLang="en-US" sz="1000" dirty="0"/>
          </a:p>
        </p:txBody>
      </p:sp>
      <p:sp>
        <p:nvSpPr>
          <p:cNvPr id="30" name="テキスト プレースホルダ 9">
            <a:extLst>
              <a:ext uri="{FF2B5EF4-FFF2-40B4-BE49-F238E27FC236}">
                <a16:creationId xmlns:a16="http://schemas.microsoft.com/office/drawing/2014/main" id="{7C66819F-6274-4944-BCC5-DDE408EB9E66}"/>
              </a:ext>
            </a:extLst>
          </p:cNvPr>
          <p:cNvSpPr>
            <a:spLocks noGrp="1"/>
          </p:cNvSpPr>
          <p:nvPr>
            <p:custDataLst>
              <p:tags r:id="rId47"/>
            </p:custDataLst>
          </p:nvPr>
        </p:nvSpPr>
        <p:spPr bwMode="auto">
          <a:xfrm>
            <a:off x="1814513" y="5930900"/>
            <a:ext cx="1079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5A79078-ADC9-414F-8833-2F1013C8B739}" type="datetime'呼吸''''器''感''''染''''''''''''症''''・結''''''''''''''''''核'''''">
              <a:rPr lang="ja-JP" altLang="en-US" sz="1000" smtClean="0"/>
              <a:pPr/>
              <a:t>呼吸器感染症・結核</a:t>
            </a:fld>
            <a:endParaRPr lang="ja-JP" altLang="en-US" sz="1000" dirty="0"/>
          </a:p>
        </p:txBody>
      </p:sp>
      <p:sp>
        <p:nvSpPr>
          <p:cNvPr id="84" name="テキスト プレースホルダ 9">
            <a:extLst>
              <a:ext uri="{FF2B5EF4-FFF2-40B4-BE49-F238E27FC236}">
                <a16:creationId xmlns:a16="http://schemas.microsoft.com/office/drawing/2014/main" id="{E63D288F-33D3-4A5C-9D54-27DA2A3E4C4C}"/>
              </a:ext>
            </a:extLst>
          </p:cNvPr>
          <p:cNvSpPr>
            <a:spLocks noGrp="1"/>
          </p:cNvSpPr>
          <p:nvPr>
            <p:custDataLst>
              <p:tags r:id="rId48"/>
            </p:custDataLst>
          </p:nvPr>
        </p:nvSpPr>
        <p:spPr bwMode="gray">
          <a:xfrm>
            <a:off x="1728788" y="5422900"/>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A3970F3-154F-448C-ACDF-643ADB7BFC06}" type="datetime'''''''''''''''''''''''''''''''''1''''''''''''''%'">
              <a:rPr lang="en-US" altLang="en-US" sz="1000" smtClean="0"/>
              <a:pPr marL="0" indent="0">
                <a:spcBef>
                  <a:spcPct val="0"/>
                </a:spcBef>
                <a:buNone/>
              </a:pPr>
              <a:t>1%</a:t>
            </a:fld>
            <a:endParaRPr lang="ja-JP" altLang="en-US" sz="1000" dirty="0"/>
          </a:p>
        </p:txBody>
      </p:sp>
      <p:sp>
        <p:nvSpPr>
          <p:cNvPr id="85" name="テキスト プレースホルダ 9">
            <a:extLst>
              <a:ext uri="{FF2B5EF4-FFF2-40B4-BE49-F238E27FC236}">
                <a16:creationId xmlns:a16="http://schemas.microsoft.com/office/drawing/2014/main" id="{580E2BA2-8C66-49F5-A149-3344156A3DF3}"/>
              </a:ext>
            </a:extLst>
          </p:cNvPr>
          <p:cNvSpPr>
            <a:spLocks noGrp="1"/>
          </p:cNvSpPr>
          <p:nvPr>
            <p:custDataLst>
              <p:tags r:id="rId49"/>
            </p:custDataLst>
          </p:nvPr>
        </p:nvSpPr>
        <p:spPr bwMode="gray">
          <a:xfrm>
            <a:off x="1728788" y="5778500"/>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0815865-1B64-4304-902A-A641F41E5F88}" type="datetime'''''''''''''''''''''1''%'''''''''''''''''''''''''''''">
              <a:rPr lang="en-US" altLang="en-US" sz="1000" smtClean="0"/>
              <a:pPr marL="0" indent="0">
                <a:spcBef>
                  <a:spcPct val="0"/>
                </a:spcBef>
                <a:buNone/>
              </a:pPr>
              <a:t>1%</a:t>
            </a:fld>
            <a:endParaRPr lang="ja-JP" altLang="en-US" sz="1000" dirty="0"/>
          </a:p>
        </p:txBody>
      </p:sp>
      <p:sp>
        <p:nvSpPr>
          <p:cNvPr id="72" name="テキスト プレースホルダ 9">
            <a:extLst>
              <a:ext uri="{FF2B5EF4-FFF2-40B4-BE49-F238E27FC236}">
                <a16:creationId xmlns:a16="http://schemas.microsoft.com/office/drawing/2014/main" id="{7975A8EE-1D87-405D-AC16-07F2746C485B}"/>
              </a:ext>
            </a:extLst>
          </p:cNvPr>
          <p:cNvSpPr>
            <a:spLocks noGrp="1"/>
          </p:cNvSpPr>
          <p:nvPr>
            <p:custDataLst>
              <p:tags r:id="rId50"/>
            </p:custDataLst>
          </p:nvPr>
        </p:nvSpPr>
        <p:spPr bwMode="gray">
          <a:xfrm>
            <a:off x="1312863" y="494188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ED5A1C1-FB7D-4689-862B-804B7D356167}" type="datetime'''''''''''''''''3'',''''''''''''''''''''''''''''6''8''''''5'''">
              <a:rPr lang="ja-JP" altLang="en-US" sz="1000" smtClean="0"/>
              <a:pPr/>
              <a:t>3,685</a:t>
            </a:fld>
            <a:endParaRPr lang="ja-JP" altLang="en-US" sz="1000" dirty="0"/>
          </a:p>
        </p:txBody>
      </p:sp>
      <p:sp>
        <p:nvSpPr>
          <p:cNvPr id="63" name="テキスト プレースホルダ 9">
            <a:extLst>
              <a:ext uri="{FF2B5EF4-FFF2-40B4-BE49-F238E27FC236}">
                <a16:creationId xmlns:a16="http://schemas.microsoft.com/office/drawing/2014/main" id="{54B62B2E-D537-4306-9A5A-9272378C70C2}"/>
              </a:ext>
            </a:extLst>
          </p:cNvPr>
          <p:cNvSpPr>
            <a:spLocks noGrp="1"/>
          </p:cNvSpPr>
          <p:nvPr>
            <p:custDataLst>
              <p:tags r:id="rId51"/>
            </p:custDataLst>
          </p:nvPr>
        </p:nvSpPr>
        <p:spPr bwMode="gray">
          <a:xfrm>
            <a:off x="534988" y="584993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6BC32CC-26E3-4E68-A187-E18FE72F5C2F}" type="datetime'''''''''8''''''''''''''''''''''''''''''''''''''6''''''%'">
              <a:rPr lang="en-US" altLang="en-US" sz="1000" smtClean="0">
                <a:solidFill>
                  <a:schemeClr val="bg1"/>
                </a:solidFill>
              </a:rPr>
              <a:pPr/>
              <a:t>86%</a:t>
            </a:fld>
            <a:endParaRPr lang="ja-JP" altLang="en-US" sz="1000" dirty="0">
              <a:solidFill>
                <a:schemeClr val="bg1"/>
              </a:solidFill>
            </a:endParaRPr>
          </a:p>
        </p:txBody>
      </p:sp>
      <p:sp>
        <p:nvSpPr>
          <p:cNvPr id="28" name="テキスト プレースホルダ 9">
            <a:extLst>
              <a:ext uri="{FF2B5EF4-FFF2-40B4-BE49-F238E27FC236}">
                <a16:creationId xmlns:a16="http://schemas.microsoft.com/office/drawing/2014/main" id="{C4B4C560-48B8-43D0-834D-BFB3085DFF18}"/>
              </a:ext>
            </a:extLst>
          </p:cNvPr>
          <p:cNvSpPr>
            <a:spLocks noGrp="1"/>
          </p:cNvSpPr>
          <p:nvPr>
            <p:custDataLst>
              <p:tags r:id="rId52"/>
            </p:custDataLst>
          </p:nvPr>
        </p:nvSpPr>
        <p:spPr bwMode="auto">
          <a:xfrm>
            <a:off x="1814513" y="5219700"/>
            <a:ext cx="1158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10CA807-2DDD-41CE-B7F3-EF7DB47B0E5D}" type="datetime'''H''''''IV''/エイ''''''''''''''''''ズ''・''''性感''''染''''''''症'''">
              <a:rPr lang="en-US" altLang="en-US" sz="1000" smtClean="0"/>
              <a:pPr/>
              <a:t>HIV/エイズ・性感染症</a:t>
            </a:fld>
            <a:endParaRPr lang="ja-JP" altLang="en-US" sz="1000" dirty="0"/>
          </a:p>
        </p:txBody>
      </p:sp>
      <p:sp>
        <p:nvSpPr>
          <p:cNvPr id="68" name="テキスト プレースホルダ 9">
            <a:extLst>
              <a:ext uri="{FF2B5EF4-FFF2-40B4-BE49-F238E27FC236}">
                <a16:creationId xmlns:a16="http://schemas.microsoft.com/office/drawing/2014/main" id="{F33EE508-E0FE-4FC7-9620-D7564AA16A54}"/>
              </a:ext>
            </a:extLst>
          </p:cNvPr>
          <p:cNvSpPr>
            <a:spLocks noGrp="1"/>
          </p:cNvSpPr>
          <p:nvPr>
            <p:custDataLst>
              <p:tags r:id="rId53"/>
            </p:custDataLst>
          </p:nvPr>
        </p:nvSpPr>
        <p:spPr bwMode="auto">
          <a:xfrm>
            <a:off x="1814513" y="3949700"/>
            <a:ext cx="508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9B78DF9-1E80-413C-89F2-782E1A74BF6C}" type="datetime'''''栄養''''''''失''''''''''''''''''''''調'''''''''''''''''''''''">
              <a:rPr lang="ja-JP" altLang="en-US" sz="1000" smtClean="0"/>
              <a:pPr/>
              <a:t>栄養失調</a:t>
            </a:fld>
            <a:endParaRPr lang="ja-JP" altLang="en-US" sz="1000" dirty="0"/>
          </a:p>
        </p:txBody>
      </p:sp>
      <p:sp>
        <p:nvSpPr>
          <p:cNvPr id="62" name="テキスト プレースホルダ 9">
            <a:extLst>
              <a:ext uri="{FF2B5EF4-FFF2-40B4-BE49-F238E27FC236}">
                <a16:creationId xmlns:a16="http://schemas.microsoft.com/office/drawing/2014/main" id="{78FF572F-3382-408A-9A66-D43D333E0D5E}"/>
              </a:ext>
            </a:extLst>
          </p:cNvPr>
          <p:cNvSpPr>
            <a:spLocks noGrp="1"/>
          </p:cNvSpPr>
          <p:nvPr>
            <p:custDataLst>
              <p:tags r:id="rId54"/>
            </p:custDataLst>
          </p:nvPr>
        </p:nvSpPr>
        <p:spPr bwMode="gray">
          <a:xfrm>
            <a:off x="919163" y="5865813"/>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3C2EE6C-E82C-4FCF-BB8C-2ABA3154014B}" type="datetime'''''''''''3''''''%'''''''''''''''''''''''">
              <a:rPr lang="en-US" altLang="en-US" sz="1000" smtClean="0"/>
              <a:pPr marL="0" indent="0">
                <a:spcBef>
                  <a:spcPct val="0"/>
                </a:spcBef>
                <a:buNone/>
              </a:pPr>
              <a:t>3%</a:t>
            </a:fld>
            <a:endParaRPr lang="ja-JP" altLang="en-US" sz="1000" dirty="0"/>
          </a:p>
        </p:txBody>
      </p:sp>
      <p:sp>
        <p:nvSpPr>
          <p:cNvPr id="60" name="テキスト プレースホルダ 9">
            <a:extLst>
              <a:ext uri="{FF2B5EF4-FFF2-40B4-BE49-F238E27FC236}">
                <a16:creationId xmlns:a16="http://schemas.microsoft.com/office/drawing/2014/main" id="{A255BAD8-C868-4991-B674-6CBAD7C596F2}"/>
              </a:ext>
            </a:extLst>
          </p:cNvPr>
          <p:cNvSpPr>
            <a:spLocks noGrp="1"/>
          </p:cNvSpPr>
          <p:nvPr>
            <p:custDataLst>
              <p:tags r:id="rId55"/>
            </p:custDataLst>
          </p:nvPr>
        </p:nvSpPr>
        <p:spPr bwMode="gray">
          <a:xfrm>
            <a:off x="457200" y="5648325"/>
            <a:ext cx="217488" cy="152400"/>
          </a:xfrm>
          <a:prstGeom prst="rect">
            <a:avLst/>
          </a:prstGeom>
          <a:solidFill>
            <a:schemeClr val="accent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F00C9C7-277E-4188-AC34-D48A82A87225}" type="datetime'''''''''''''''''''''''''2''''%'''''''''">
              <a:rPr lang="en-US" altLang="en-US" sz="1000" smtClean="0">
                <a:solidFill>
                  <a:schemeClr val="bg1"/>
                </a:solidFill>
              </a:rPr>
              <a:pPr marL="0" indent="0" algn="ctr">
                <a:spcBef>
                  <a:spcPct val="0"/>
                </a:spcBef>
                <a:buNone/>
              </a:pPr>
              <a:t>2%</a:t>
            </a:fld>
            <a:endParaRPr lang="ja-JP" altLang="en-US" sz="1000" dirty="0">
              <a:solidFill>
                <a:schemeClr val="bg1"/>
              </a:solidFill>
            </a:endParaRPr>
          </a:p>
        </p:txBody>
      </p:sp>
      <p:sp>
        <p:nvSpPr>
          <p:cNvPr id="58" name="テキスト プレースホルダ 9">
            <a:extLst>
              <a:ext uri="{FF2B5EF4-FFF2-40B4-BE49-F238E27FC236}">
                <a16:creationId xmlns:a16="http://schemas.microsoft.com/office/drawing/2014/main" id="{1DDE3C88-92E8-409E-8C3C-15DFCFB07EF0}"/>
              </a:ext>
            </a:extLst>
          </p:cNvPr>
          <p:cNvSpPr>
            <a:spLocks noGrp="1"/>
          </p:cNvSpPr>
          <p:nvPr>
            <p:custDataLst>
              <p:tags r:id="rId56"/>
            </p:custDataLst>
          </p:nvPr>
        </p:nvSpPr>
        <p:spPr bwMode="gray">
          <a:xfrm>
            <a:off x="919163" y="5561013"/>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4082381-291A-4689-85E1-8408B8216973}" type="datetime'''0''''''''''''''''''''''''''''''%'''''''''''''''''''''''''">
              <a:rPr lang="en-US" altLang="en-US" sz="1000" smtClean="0"/>
              <a:pPr marL="0" indent="0">
                <a:spcBef>
                  <a:spcPct val="0"/>
                </a:spcBef>
                <a:buNone/>
              </a:pPr>
              <a:t>0%</a:t>
            </a:fld>
            <a:endParaRPr lang="ja-JP" altLang="en-US" sz="1000" dirty="0"/>
          </a:p>
        </p:txBody>
      </p:sp>
      <p:sp>
        <p:nvSpPr>
          <p:cNvPr id="61" name="テキスト プレースホルダ 9">
            <a:extLst>
              <a:ext uri="{FF2B5EF4-FFF2-40B4-BE49-F238E27FC236}">
                <a16:creationId xmlns:a16="http://schemas.microsoft.com/office/drawing/2014/main" id="{703382F1-6E28-4E2F-9B3D-2315EDE0FB51}"/>
              </a:ext>
            </a:extLst>
          </p:cNvPr>
          <p:cNvSpPr>
            <a:spLocks noGrp="1"/>
          </p:cNvSpPr>
          <p:nvPr>
            <p:custDataLst>
              <p:tags r:id="rId57"/>
            </p:custDataLst>
          </p:nvPr>
        </p:nvSpPr>
        <p:spPr bwMode="gray">
          <a:xfrm>
            <a:off x="919163" y="5713413"/>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A8432A6-4C46-4C32-AEEA-72C582C03042}" type="datetime'''''''''''''''1''''''%'''''''''">
              <a:rPr lang="en-US" altLang="en-US" sz="1000" smtClean="0"/>
              <a:pPr marL="0" indent="0">
                <a:spcBef>
                  <a:spcPct val="0"/>
                </a:spcBef>
                <a:buNone/>
              </a:pPr>
              <a:t>1%</a:t>
            </a:fld>
            <a:endParaRPr lang="ja-JP" altLang="en-US" sz="1000" dirty="0"/>
          </a:p>
        </p:txBody>
      </p:sp>
      <p:sp>
        <p:nvSpPr>
          <p:cNvPr id="71" name="テキスト プレースホルダ 9">
            <a:extLst>
              <a:ext uri="{FF2B5EF4-FFF2-40B4-BE49-F238E27FC236}">
                <a16:creationId xmlns:a16="http://schemas.microsoft.com/office/drawing/2014/main" id="{FF3E82AE-1204-4F81-9381-14B8BAB6B2A7}"/>
              </a:ext>
            </a:extLst>
          </p:cNvPr>
          <p:cNvSpPr>
            <a:spLocks noGrp="1"/>
          </p:cNvSpPr>
          <p:nvPr>
            <p:custDataLst>
              <p:tags r:id="rId58"/>
            </p:custDataLst>
          </p:nvPr>
        </p:nvSpPr>
        <p:spPr bwMode="gray">
          <a:xfrm>
            <a:off x="503238" y="547528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397A13C-C666-43D6-9EDA-2D9C803167B3}" type="datetime'''''''''''''''''''''''1'''''',6''''''''''''''''6''1'''''''">
              <a:rPr lang="ja-JP" altLang="en-US" sz="1000" smtClean="0"/>
              <a:pPr/>
              <a:t>1,661</a:t>
            </a:fld>
            <a:endParaRPr lang="ja-JP" altLang="en-US" sz="1000" dirty="0"/>
          </a:p>
        </p:txBody>
      </p:sp>
      <p:sp>
        <p:nvSpPr>
          <p:cNvPr id="113" name="テキスト プレースホルダ 9">
            <a:extLst>
              <a:ext uri="{FF2B5EF4-FFF2-40B4-BE49-F238E27FC236}">
                <a16:creationId xmlns:a16="http://schemas.microsoft.com/office/drawing/2014/main" id="{6F2464D4-CB6B-467D-9ED2-4D57A6905A78}"/>
              </a:ext>
            </a:extLst>
          </p:cNvPr>
          <p:cNvSpPr>
            <a:spLocks noGrp="1"/>
          </p:cNvSpPr>
          <p:nvPr>
            <p:custDataLst>
              <p:tags r:id="rId59"/>
            </p:custDataLst>
          </p:nvPr>
        </p:nvSpPr>
        <p:spPr bwMode="auto">
          <a:xfrm>
            <a:off x="900113" y="4852988"/>
            <a:ext cx="366713" cy="21590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b="1" dirty="0"/>
              <a:t>X2.2</a:t>
            </a:r>
            <a:endParaRPr lang="ja-JP" altLang="en-US" sz="1000" b="1" dirty="0"/>
          </a:p>
        </p:txBody>
      </p:sp>
      <p:sp>
        <p:nvSpPr>
          <p:cNvPr id="102" name="TextBox 101">
            <a:extLst>
              <a:ext uri="{FF2B5EF4-FFF2-40B4-BE49-F238E27FC236}">
                <a16:creationId xmlns:a16="http://schemas.microsoft.com/office/drawing/2014/main" id="{B6AD02F1-09AD-47BF-8434-1EADD2F2AAC7}"/>
              </a:ext>
            </a:extLst>
          </p:cNvPr>
          <p:cNvSpPr txBox="1"/>
          <p:nvPr/>
        </p:nvSpPr>
        <p:spPr>
          <a:xfrm>
            <a:off x="3054876" y="4260275"/>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3.7</a:t>
            </a:r>
            <a:endParaRPr lang="ja-JP" altLang="en-US" sz="1000" dirty="0"/>
          </a:p>
        </p:txBody>
      </p:sp>
      <p:sp>
        <p:nvSpPr>
          <p:cNvPr id="108" name="TextBox 107">
            <a:extLst>
              <a:ext uri="{FF2B5EF4-FFF2-40B4-BE49-F238E27FC236}">
                <a16:creationId xmlns:a16="http://schemas.microsoft.com/office/drawing/2014/main" id="{9D826B3D-1B41-406B-B5A3-E72A94A28AF7}"/>
              </a:ext>
            </a:extLst>
          </p:cNvPr>
          <p:cNvSpPr txBox="1"/>
          <p:nvPr/>
        </p:nvSpPr>
        <p:spPr>
          <a:xfrm>
            <a:off x="2889250" y="2612916"/>
            <a:ext cx="1139825" cy="400110"/>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1990</a:t>
            </a:r>
            <a:r>
              <a:rPr lang="ja-JP" altLang="en-US" sz="1000" dirty="0"/>
              <a:t>年から</a:t>
            </a:r>
            <a:r>
              <a:rPr lang="en-US" altLang="ja-JP" sz="1000" dirty="0"/>
              <a:t>2019</a:t>
            </a:r>
            <a:r>
              <a:rPr lang="ja-JP" altLang="en-US" sz="1000" dirty="0"/>
              <a:t>年の変化</a:t>
            </a:r>
          </a:p>
        </p:txBody>
      </p:sp>
      <p:sp>
        <p:nvSpPr>
          <p:cNvPr id="109" name="TextBox 108">
            <a:extLst>
              <a:ext uri="{FF2B5EF4-FFF2-40B4-BE49-F238E27FC236}">
                <a16:creationId xmlns:a16="http://schemas.microsoft.com/office/drawing/2014/main" id="{5398B87D-7F79-48AC-8766-D0C963E1FA9B}"/>
              </a:ext>
            </a:extLst>
          </p:cNvPr>
          <p:cNvSpPr txBox="1"/>
          <p:nvPr/>
        </p:nvSpPr>
        <p:spPr>
          <a:xfrm>
            <a:off x="3054876" y="3912265"/>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0.4</a:t>
            </a:r>
            <a:endParaRPr lang="ja-JP" altLang="en-US" sz="1000" dirty="0"/>
          </a:p>
        </p:txBody>
      </p:sp>
      <p:sp>
        <p:nvSpPr>
          <p:cNvPr id="110" name="TextBox 109">
            <a:extLst>
              <a:ext uri="{FF2B5EF4-FFF2-40B4-BE49-F238E27FC236}">
                <a16:creationId xmlns:a16="http://schemas.microsoft.com/office/drawing/2014/main" id="{E960377C-A48F-499E-9E5B-36D28AFEDCBA}"/>
              </a:ext>
            </a:extLst>
          </p:cNvPr>
          <p:cNvSpPr txBox="1"/>
          <p:nvPr/>
        </p:nvSpPr>
        <p:spPr>
          <a:xfrm>
            <a:off x="3054876" y="4597694"/>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0.2</a:t>
            </a:r>
            <a:endParaRPr lang="ja-JP" altLang="en-US" sz="1000" dirty="0"/>
          </a:p>
        </p:txBody>
      </p:sp>
      <p:sp>
        <p:nvSpPr>
          <p:cNvPr id="111" name="TextBox 110">
            <a:extLst>
              <a:ext uri="{FF2B5EF4-FFF2-40B4-BE49-F238E27FC236}">
                <a16:creationId xmlns:a16="http://schemas.microsoft.com/office/drawing/2014/main" id="{2CFE1FB3-B3C5-41A4-93F8-503B8DB5A432}"/>
              </a:ext>
            </a:extLst>
          </p:cNvPr>
          <p:cNvSpPr txBox="1"/>
          <p:nvPr/>
        </p:nvSpPr>
        <p:spPr>
          <a:xfrm>
            <a:off x="3054876" y="4825145"/>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1.0</a:t>
            </a:r>
            <a:endParaRPr lang="ja-JP" altLang="en-US" sz="1000" dirty="0"/>
          </a:p>
        </p:txBody>
      </p:sp>
      <p:sp>
        <p:nvSpPr>
          <p:cNvPr id="112" name="TextBox 111">
            <a:extLst>
              <a:ext uri="{FF2B5EF4-FFF2-40B4-BE49-F238E27FC236}">
                <a16:creationId xmlns:a16="http://schemas.microsoft.com/office/drawing/2014/main" id="{591B8278-6CEA-4D62-979D-C590FF4A6241}"/>
              </a:ext>
            </a:extLst>
          </p:cNvPr>
          <p:cNvSpPr txBox="1"/>
          <p:nvPr/>
        </p:nvSpPr>
        <p:spPr>
          <a:xfrm>
            <a:off x="3054876" y="5524079"/>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0.9</a:t>
            </a:r>
            <a:endParaRPr lang="ja-JP" altLang="en-US" sz="1000" dirty="0"/>
          </a:p>
        </p:txBody>
      </p:sp>
      <p:sp>
        <p:nvSpPr>
          <p:cNvPr id="121" name="TextBox 120">
            <a:extLst>
              <a:ext uri="{FF2B5EF4-FFF2-40B4-BE49-F238E27FC236}">
                <a16:creationId xmlns:a16="http://schemas.microsoft.com/office/drawing/2014/main" id="{A69CCB5B-096A-436B-AD26-2029CE58EABD}"/>
              </a:ext>
            </a:extLst>
          </p:cNvPr>
          <p:cNvSpPr txBox="1"/>
          <p:nvPr/>
        </p:nvSpPr>
        <p:spPr>
          <a:xfrm>
            <a:off x="3054876" y="5904743"/>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2.5</a:t>
            </a:r>
            <a:endParaRPr lang="ja-JP" altLang="en-US" sz="1000" dirty="0"/>
          </a:p>
        </p:txBody>
      </p:sp>
      <p:sp>
        <p:nvSpPr>
          <p:cNvPr id="122" name="TextBox 121">
            <a:extLst>
              <a:ext uri="{FF2B5EF4-FFF2-40B4-BE49-F238E27FC236}">
                <a16:creationId xmlns:a16="http://schemas.microsoft.com/office/drawing/2014/main" id="{FE540623-E865-4EB1-8B2C-035DB2B34D82}"/>
              </a:ext>
            </a:extLst>
          </p:cNvPr>
          <p:cNvSpPr txBox="1"/>
          <p:nvPr/>
        </p:nvSpPr>
        <p:spPr>
          <a:xfrm>
            <a:off x="3054876" y="5165592"/>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3.2</a:t>
            </a:r>
            <a:endParaRPr lang="ja-JP" altLang="en-US" sz="1000" dirty="0"/>
          </a:p>
        </p:txBody>
      </p:sp>
      <p:cxnSp>
        <p:nvCxnSpPr>
          <p:cNvPr id="169" name="Straight Connector 168">
            <a:extLst>
              <a:ext uri="{FF2B5EF4-FFF2-40B4-BE49-F238E27FC236}">
                <a16:creationId xmlns:a16="http://schemas.microsoft.com/office/drawing/2014/main" id="{C09BC284-C8DF-48B2-ABFB-C8ECB24A5150}"/>
              </a:ext>
            </a:extLst>
          </p:cNvPr>
          <p:cNvCxnSpPr/>
          <p:nvPr>
            <p:custDataLst>
              <p:tags r:id="rId60"/>
            </p:custDataLst>
          </p:nvPr>
        </p:nvCxnSpPr>
        <p:spPr bwMode="auto">
          <a:xfrm flipV="1">
            <a:off x="4818063" y="3130549"/>
            <a:ext cx="358775" cy="11620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0D45A698-51D6-4AC6-A4E5-E0E52717CF2D}"/>
              </a:ext>
            </a:extLst>
          </p:cNvPr>
          <p:cNvCxnSpPr>
            <a:cxnSpLocks/>
          </p:cNvCxnSpPr>
          <p:nvPr>
            <p:custDataLst>
              <p:tags r:id="rId61"/>
            </p:custDataLst>
          </p:nvPr>
        </p:nvCxnSpPr>
        <p:spPr bwMode="auto">
          <a:xfrm flipV="1">
            <a:off x="4818063" y="3013075"/>
            <a:ext cx="358775" cy="12033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1" name="Straight Connector 170">
            <a:extLst>
              <a:ext uri="{FF2B5EF4-FFF2-40B4-BE49-F238E27FC236}">
                <a16:creationId xmlns:a16="http://schemas.microsoft.com/office/drawing/2014/main" id="{1F151D81-420F-47F8-831C-0DF1C5E5DB0D}"/>
              </a:ext>
            </a:extLst>
          </p:cNvPr>
          <p:cNvCxnSpPr/>
          <p:nvPr>
            <p:custDataLst>
              <p:tags r:id="rId62"/>
            </p:custDataLst>
          </p:nvPr>
        </p:nvCxnSpPr>
        <p:spPr bwMode="auto">
          <a:xfrm flipV="1">
            <a:off x="4818063" y="3238499"/>
            <a:ext cx="355600" cy="11191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2" name="Straight Connector 171">
            <a:extLst>
              <a:ext uri="{FF2B5EF4-FFF2-40B4-BE49-F238E27FC236}">
                <a16:creationId xmlns:a16="http://schemas.microsoft.com/office/drawing/2014/main" id="{59E350E5-DF4F-4434-ACAD-1646EFF848CD}"/>
              </a:ext>
            </a:extLst>
          </p:cNvPr>
          <p:cNvCxnSpPr/>
          <p:nvPr>
            <p:custDataLst>
              <p:tags r:id="rId63"/>
            </p:custDataLst>
          </p:nvPr>
        </p:nvCxnSpPr>
        <p:spPr bwMode="auto">
          <a:xfrm flipV="1">
            <a:off x="4818062" y="3363913"/>
            <a:ext cx="355600" cy="1154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3" name="Straight Connector 172">
            <a:extLst>
              <a:ext uri="{FF2B5EF4-FFF2-40B4-BE49-F238E27FC236}">
                <a16:creationId xmlns:a16="http://schemas.microsoft.com/office/drawing/2014/main" id="{7E51D5AD-96E5-46C3-A5A0-8BC6BF08D839}"/>
              </a:ext>
            </a:extLst>
          </p:cNvPr>
          <p:cNvCxnSpPr/>
          <p:nvPr>
            <p:custDataLst>
              <p:tags r:id="rId64"/>
            </p:custDataLst>
          </p:nvPr>
        </p:nvCxnSpPr>
        <p:spPr bwMode="auto">
          <a:xfrm flipV="1">
            <a:off x="4818063" y="3509963"/>
            <a:ext cx="358775" cy="11223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4" name="Straight Connector 173">
            <a:extLst>
              <a:ext uri="{FF2B5EF4-FFF2-40B4-BE49-F238E27FC236}">
                <a16:creationId xmlns:a16="http://schemas.microsoft.com/office/drawing/2014/main" id="{BC73AFF2-9B16-4379-A5BF-9EA878DB3DBA}"/>
              </a:ext>
            </a:extLst>
          </p:cNvPr>
          <p:cNvCxnSpPr/>
          <p:nvPr>
            <p:custDataLst>
              <p:tags r:id="rId65"/>
            </p:custDataLst>
          </p:nvPr>
        </p:nvCxnSpPr>
        <p:spPr bwMode="auto">
          <a:xfrm flipV="1">
            <a:off x="4818063" y="3808412"/>
            <a:ext cx="358775" cy="8890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Straight Connector 250">
            <a:extLst>
              <a:ext uri="{FF2B5EF4-FFF2-40B4-BE49-F238E27FC236}">
                <a16:creationId xmlns:a16="http://schemas.microsoft.com/office/drawing/2014/main" id="{1507B287-C599-4D85-B5DD-489E6E87EF36}"/>
              </a:ext>
            </a:extLst>
          </p:cNvPr>
          <p:cNvCxnSpPr/>
          <p:nvPr>
            <p:custDataLst>
              <p:tags r:id="rId66"/>
            </p:custDataLst>
          </p:nvPr>
        </p:nvCxnSpPr>
        <p:spPr bwMode="auto">
          <a:xfrm flipV="1">
            <a:off x="4818063" y="4941888"/>
            <a:ext cx="358775" cy="6016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224" name="Chart 223">
            <a:extLst>
              <a:ext uri="{FF2B5EF4-FFF2-40B4-BE49-F238E27FC236}">
                <a16:creationId xmlns:a16="http://schemas.microsoft.com/office/drawing/2014/main" id="{6844D51D-5FDD-4A63-B651-B8276D4ACC97}"/>
              </a:ext>
            </a:extLst>
          </p:cNvPr>
          <p:cNvGraphicFramePr/>
          <p:nvPr>
            <p:custDataLst>
              <p:tags r:id="rId67"/>
            </p:custDataLst>
            <p:extLst>
              <p:ext uri="{D42A27DB-BD31-4B8C-83A1-F6EECF244321}">
                <p14:modId xmlns:p14="http://schemas.microsoft.com/office/powerpoint/2010/main" val="1917312607"/>
              </p:ext>
            </p:extLst>
          </p:nvPr>
        </p:nvGraphicFramePr>
        <p:xfrm>
          <a:off x="4105275" y="2930525"/>
          <a:ext cx="1784350" cy="3260725"/>
        </p:xfrm>
        <a:graphic>
          <a:graphicData uri="http://schemas.openxmlformats.org/drawingml/2006/chart">
            <c:chart xmlns:c="http://schemas.openxmlformats.org/drawingml/2006/chart" xmlns:r="http://schemas.openxmlformats.org/officeDocument/2006/relationships" r:id="rId123"/>
          </a:graphicData>
        </a:graphic>
      </p:graphicFrame>
      <p:cxnSp>
        <p:nvCxnSpPr>
          <p:cNvPr id="131" name="Straight Connector 130">
            <a:extLst>
              <a:ext uri="{FF2B5EF4-FFF2-40B4-BE49-F238E27FC236}">
                <a16:creationId xmlns:a16="http://schemas.microsoft.com/office/drawing/2014/main" id="{3B22D44A-F4B6-4EDE-861C-CF41355D54D2}"/>
              </a:ext>
            </a:extLst>
          </p:cNvPr>
          <p:cNvCxnSpPr/>
          <p:nvPr>
            <p:custDataLst>
              <p:tags r:id="rId68"/>
            </p:custDataLst>
          </p:nvPr>
        </p:nvCxnSpPr>
        <p:spPr bwMode="auto">
          <a:xfrm flipV="1">
            <a:off x="4592638" y="2201863"/>
            <a:ext cx="809625" cy="1203325"/>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35" name="Straight Connector 134">
            <a:extLst>
              <a:ext uri="{FF2B5EF4-FFF2-40B4-BE49-F238E27FC236}">
                <a16:creationId xmlns:a16="http://schemas.microsoft.com/office/drawing/2014/main" id="{40B0597F-ED54-43BE-A36B-5478C9FF9F46}"/>
              </a:ext>
            </a:extLst>
          </p:cNvPr>
          <p:cNvCxnSpPr>
            <a:cxnSpLocks/>
          </p:cNvCxnSpPr>
          <p:nvPr>
            <p:custDataLst>
              <p:tags r:id="rId69"/>
            </p:custDataLst>
          </p:nvPr>
        </p:nvCxnSpPr>
        <p:spPr bwMode="auto">
          <a:xfrm flipH="1" flipV="1">
            <a:off x="5654675" y="3290888"/>
            <a:ext cx="49213" cy="2047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99B7E7FC-E611-42B8-8F5E-165C475F2205}"/>
              </a:ext>
            </a:extLst>
          </p:cNvPr>
          <p:cNvCxnSpPr>
            <a:cxnSpLocks/>
          </p:cNvCxnSpPr>
          <p:nvPr>
            <p:custDataLst>
              <p:tags r:id="rId70"/>
            </p:custDataLst>
          </p:nvPr>
        </p:nvCxnSpPr>
        <p:spPr bwMode="auto">
          <a:xfrm flipH="1" flipV="1">
            <a:off x="5654675" y="3179763"/>
            <a:ext cx="49213" cy="1127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2" name="Straight Connector 131">
            <a:extLst>
              <a:ext uri="{FF2B5EF4-FFF2-40B4-BE49-F238E27FC236}">
                <a16:creationId xmlns:a16="http://schemas.microsoft.com/office/drawing/2014/main" id="{E07E2940-C9BB-4862-A5FE-6AB6E703E208}"/>
              </a:ext>
            </a:extLst>
          </p:cNvPr>
          <p:cNvCxnSpPr>
            <a:cxnSpLocks/>
          </p:cNvCxnSpPr>
          <p:nvPr>
            <p:custDataLst>
              <p:tags r:id="rId71"/>
            </p:custDataLst>
          </p:nvPr>
        </p:nvCxnSpPr>
        <p:spPr bwMode="auto">
          <a:xfrm flipH="1" flipV="1">
            <a:off x="5654675" y="3432175"/>
            <a:ext cx="49213" cy="2667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06777D6C-8891-49FA-B607-B55E32D6FEA9}"/>
              </a:ext>
            </a:extLst>
          </p:cNvPr>
          <p:cNvCxnSpPr>
            <a:cxnSpLocks/>
          </p:cNvCxnSpPr>
          <p:nvPr>
            <p:custDataLst>
              <p:tags r:id="rId72"/>
            </p:custDataLst>
          </p:nvPr>
        </p:nvCxnSpPr>
        <p:spPr bwMode="auto">
          <a:xfrm flipH="1" flipV="1">
            <a:off x="5654675" y="3659188"/>
            <a:ext cx="49213" cy="2428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2" name="テキスト プレースホルダ 9">
            <a:extLst>
              <a:ext uri="{FF2B5EF4-FFF2-40B4-BE49-F238E27FC236}">
                <a16:creationId xmlns:a16="http://schemas.microsoft.com/office/drawing/2014/main" id="{2B9DF1C1-6176-42E8-BA32-309E001B5F53}"/>
              </a:ext>
            </a:extLst>
          </p:cNvPr>
          <p:cNvSpPr>
            <a:spLocks noGrp="1"/>
          </p:cNvSpPr>
          <p:nvPr>
            <p:custDataLst>
              <p:tags r:id="rId73"/>
            </p:custDataLst>
          </p:nvPr>
        </p:nvSpPr>
        <p:spPr bwMode="gray">
          <a:xfrm>
            <a:off x="5407025" y="3103563"/>
            <a:ext cx="217488" cy="152400"/>
          </a:xfrm>
          <a:prstGeom prst="rect">
            <a:avLst/>
          </a:prstGeom>
          <a:solidFill>
            <a:schemeClr val="accent2"/>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E795358-9396-4AEB-BF1A-478765F44E9E}" type="datetime'3''''''''''''''''''''''''''''''''''''''''%'''''''''''''''''">
              <a:rPr lang="en-US" altLang="en-US" sz="1000" smtClean="0"/>
              <a:pPr marL="0" indent="0" algn="ctr">
                <a:spcBef>
                  <a:spcPct val="0"/>
                </a:spcBef>
                <a:buNone/>
              </a:pPr>
              <a:t>3%</a:t>
            </a:fld>
            <a:endParaRPr lang="ja-JP" altLang="en-US" sz="1000" dirty="0"/>
          </a:p>
        </p:txBody>
      </p:sp>
      <p:sp>
        <p:nvSpPr>
          <p:cNvPr id="156" name="テキスト プレースホルダ 9">
            <a:extLst>
              <a:ext uri="{FF2B5EF4-FFF2-40B4-BE49-F238E27FC236}">
                <a16:creationId xmlns:a16="http://schemas.microsoft.com/office/drawing/2014/main" id="{04EBA131-9953-4023-8BA5-342B811ECD46}"/>
              </a:ext>
            </a:extLst>
          </p:cNvPr>
          <p:cNvSpPr>
            <a:spLocks noGrp="1"/>
          </p:cNvSpPr>
          <p:nvPr>
            <p:custDataLst>
              <p:tags r:id="rId74"/>
            </p:custDataLst>
          </p:nvPr>
        </p:nvSpPr>
        <p:spPr bwMode="gray">
          <a:xfrm>
            <a:off x="5294313" y="3355975"/>
            <a:ext cx="217488" cy="152400"/>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E0CE583-E7C5-41B2-AFD6-3AD01D1ACCEA}" type="datetime'''''''''''5''''''''''''''%'''''''''''''''''''''''''''''''">
              <a:rPr lang="en-US" altLang="en-US" sz="1000" smtClean="0">
                <a:solidFill>
                  <a:schemeClr val="bg1"/>
                </a:solidFill>
                <a:effectLst/>
              </a:rPr>
              <a:pPr/>
              <a:t>5%</a:t>
            </a:fld>
            <a:endParaRPr lang="ja-JP" altLang="en-US" sz="1000" dirty="0">
              <a:solidFill>
                <a:schemeClr val="bg1"/>
              </a:solidFill>
            </a:endParaRPr>
          </a:p>
        </p:txBody>
      </p:sp>
      <p:sp>
        <p:nvSpPr>
          <p:cNvPr id="154" name="テキスト プレースホルダ 9">
            <a:extLst>
              <a:ext uri="{FF2B5EF4-FFF2-40B4-BE49-F238E27FC236}">
                <a16:creationId xmlns:a16="http://schemas.microsoft.com/office/drawing/2014/main" id="{7D88C893-D74D-4F55-A88F-22756D265160}"/>
              </a:ext>
            </a:extLst>
          </p:cNvPr>
          <p:cNvSpPr>
            <a:spLocks noGrp="1"/>
          </p:cNvSpPr>
          <p:nvPr>
            <p:custDataLst>
              <p:tags r:id="rId75"/>
            </p:custDataLst>
          </p:nvPr>
        </p:nvSpPr>
        <p:spPr bwMode="gray">
          <a:xfrm>
            <a:off x="5259388" y="3582988"/>
            <a:ext cx="287338" cy="152400"/>
          </a:xfrm>
          <a:prstGeom prst="rect">
            <a:avLst/>
          </a:prstGeom>
          <a:noFill/>
          <a:ln>
            <a:noFill/>
          </a:ln>
          <a:effectLst/>
          <a:extLst>
            <a:ext uri="{909E8E84-426E-40DD-AFC4-6F175D3DCCD1}">
              <a14:hiddenFill xmlns:a14="http://schemas.microsoft.com/office/drawing/2010/main">
                <a:solidFill>
                  <a:schemeClr val="accent5"/>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486569-3394-4DC8-8690-C81AE8A1DC2C}" type="datetime'''''''''1''''''''''''''''''''''''''0''''''''%'''''''''''''">
              <a:rPr lang="en-US" altLang="en-US" sz="1000" smtClean="0">
                <a:solidFill>
                  <a:schemeClr val="bg1"/>
                </a:solidFill>
              </a:rPr>
              <a:pPr marL="0" indent="0" algn="ctr">
                <a:spcBef>
                  <a:spcPct val="0"/>
                </a:spcBef>
                <a:buNone/>
              </a:pPr>
              <a:t>10%</a:t>
            </a:fld>
            <a:endParaRPr lang="ja-JP" altLang="en-US" sz="1000" dirty="0">
              <a:solidFill>
                <a:schemeClr val="bg1"/>
              </a:solidFill>
            </a:endParaRPr>
          </a:p>
        </p:txBody>
      </p:sp>
      <p:sp>
        <p:nvSpPr>
          <p:cNvPr id="139" name="テキスト プレースホルダ 9">
            <a:extLst>
              <a:ext uri="{FF2B5EF4-FFF2-40B4-BE49-F238E27FC236}">
                <a16:creationId xmlns:a16="http://schemas.microsoft.com/office/drawing/2014/main" id="{3696C38A-7BA7-48CC-AA1C-4D7022A95512}"/>
              </a:ext>
            </a:extLst>
          </p:cNvPr>
          <p:cNvSpPr>
            <a:spLocks noGrp="1"/>
          </p:cNvSpPr>
          <p:nvPr>
            <p:custDataLst>
              <p:tags r:id="rId76"/>
            </p:custDataLst>
          </p:nvPr>
        </p:nvSpPr>
        <p:spPr bwMode="auto">
          <a:xfrm>
            <a:off x="5729288" y="3825875"/>
            <a:ext cx="508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AC26E7C-0D17-469F-A324-C34D1D3B6B6C}" type="datetime'神''''''''経''''''''''''疾''''''''''患'''''''''">
              <a:rPr lang="ja-JP" altLang="en-US" sz="1000" smtClean="0"/>
              <a:pPr/>
              <a:t>神経疾患</a:t>
            </a:fld>
            <a:endParaRPr lang="ja-JP" altLang="en-US" sz="1000" dirty="0"/>
          </a:p>
        </p:txBody>
      </p:sp>
      <p:sp>
        <p:nvSpPr>
          <p:cNvPr id="157" name="テキスト プレースホルダ 9">
            <a:extLst>
              <a:ext uri="{FF2B5EF4-FFF2-40B4-BE49-F238E27FC236}">
                <a16:creationId xmlns:a16="http://schemas.microsoft.com/office/drawing/2014/main" id="{747C729B-BC81-4A43-A7DD-4E5423375A54}"/>
              </a:ext>
            </a:extLst>
          </p:cNvPr>
          <p:cNvSpPr>
            <a:spLocks noGrp="1"/>
          </p:cNvSpPr>
          <p:nvPr>
            <p:custDataLst>
              <p:tags r:id="rId77"/>
            </p:custDataLst>
          </p:nvPr>
        </p:nvSpPr>
        <p:spPr bwMode="gray">
          <a:xfrm>
            <a:off x="5259388" y="429895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AB754DC-66D4-4413-9382-9CFF92F3D7FC}" type="datetime'''''''''''3''''''''''''7''''''''''%'''''''''''''''">
              <a:rPr lang="en-US" altLang="en-US" sz="1000" smtClean="0">
                <a:solidFill>
                  <a:schemeClr val="bg1"/>
                </a:solidFill>
              </a:rPr>
              <a:pPr/>
              <a:t>37%</a:t>
            </a:fld>
            <a:endParaRPr lang="ja-JP" altLang="en-US" sz="1000" dirty="0">
              <a:solidFill>
                <a:schemeClr val="bg1"/>
              </a:solidFill>
            </a:endParaRPr>
          </a:p>
        </p:txBody>
      </p:sp>
      <p:sp>
        <p:nvSpPr>
          <p:cNvPr id="142" name="テキスト プレースホルダ 9">
            <a:extLst>
              <a:ext uri="{FF2B5EF4-FFF2-40B4-BE49-F238E27FC236}">
                <a16:creationId xmlns:a16="http://schemas.microsoft.com/office/drawing/2014/main" id="{5D457C4C-F0FA-43FD-8BEB-EEC13F1778D6}"/>
              </a:ext>
            </a:extLst>
          </p:cNvPr>
          <p:cNvSpPr>
            <a:spLocks noGrp="1"/>
          </p:cNvSpPr>
          <p:nvPr>
            <p:custDataLst>
              <p:tags r:id="rId78"/>
            </p:custDataLst>
          </p:nvPr>
        </p:nvSpPr>
        <p:spPr bwMode="gray">
          <a:xfrm>
            <a:off x="5259388" y="544830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B7653D-F07F-41A5-B82A-87F4505CAA50}" type="datetime'''''3''''''''''''''''''''''''''8''%'''''">
              <a:rPr lang="en-US" altLang="en-US" sz="1000" smtClean="0">
                <a:solidFill>
                  <a:schemeClr val="bg1"/>
                </a:solidFill>
              </a:rPr>
              <a:pPr/>
              <a:t>38%</a:t>
            </a:fld>
            <a:endParaRPr lang="ja-JP" altLang="en-US" sz="1000" dirty="0">
              <a:solidFill>
                <a:schemeClr val="bg1"/>
              </a:solidFill>
            </a:endParaRPr>
          </a:p>
        </p:txBody>
      </p:sp>
      <p:sp>
        <p:nvSpPr>
          <p:cNvPr id="151" name="テキスト プレースホルダ 9">
            <a:extLst>
              <a:ext uri="{FF2B5EF4-FFF2-40B4-BE49-F238E27FC236}">
                <a16:creationId xmlns:a16="http://schemas.microsoft.com/office/drawing/2014/main" id="{CFB7C2CC-7A2E-4922-BCA5-BC269CA49584}"/>
              </a:ext>
            </a:extLst>
          </p:cNvPr>
          <p:cNvSpPr>
            <a:spLocks noGrp="1"/>
          </p:cNvSpPr>
          <p:nvPr>
            <p:custDataLst>
              <p:tags r:id="rId79"/>
            </p:custDataLst>
          </p:nvPr>
        </p:nvSpPr>
        <p:spPr bwMode="auto">
          <a:xfrm>
            <a:off x="5256213" y="61515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9C28859-03AA-40FB-A12F-F22D4019A682}" type="datetime'''''''''2''0''''''''''''''''1''''''''''''''''9'''">
              <a:rPr lang="ja-JP" altLang="en-US" sz="1000" smtClean="0"/>
              <a:pPr/>
              <a:t>2019</a:t>
            </a:fld>
            <a:endParaRPr lang="ja-JP" altLang="en-US" sz="1000" dirty="0"/>
          </a:p>
        </p:txBody>
      </p:sp>
      <p:sp>
        <p:nvSpPr>
          <p:cNvPr id="205" name="テキスト プレースホルダ 9">
            <a:extLst>
              <a:ext uri="{FF2B5EF4-FFF2-40B4-BE49-F238E27FC236}">
                <a16:creationId xmlns:a16="http://schemas.microsoft.com/office/drawing/2014/main" id="{A8E53CAB-275C-4771-89FB-A698DDDDE5C3}"/>
              </a:ext>
            </a:extLst>
          </p:cNvPr>
          <p:cNvSpPr>
            <a:spLocks noGrp="1"/>
          </p:cNvSpPr>
          <p:nvPr>
            <p:custDataLst>
              <p:tags r:id="rId80"/>
            </p:custDataLst>
          </p:nvPr>
        </p:nvSpPr>
        <p:spPr bwMode="auto">
          <a:xfrm>
            <a:off x="5729288" y="3013075"/>
            <a:ext cx="4540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0DCE089-98B3-4A22-A500-DC412B9CC753}" type="datetime'''''''そ''''''''''''''''''''''の''''''''他'''''''''">
              <a:rPr lang="ja-JP" altLang="en-US" sz="1000" smtClean="0"/>
              <a:pPr/>
              <a:t>その他</a:t>
            </a:fld>
            <a:r>
              <a:rPr lang="en-US" altLang="ja-JP" sz="1000" baseline="30000" dirty="0"/>
              <a:t>1</a:t>
            </a:r>
            <a:r>
              <a:rPr lang="en-US" altLang="ja-JP" sz="1000" dirty="0"/>
              <a:t> </a:t>
            </a:r>
            <a:endParaRPr lang="ja-JP" altLang="en-US" sz="1000" dirty="0"/>
          </a:p>
        </p:txBody>
      </p:sp>
      <p:sp>
        <p:nvSpPr>
          <p:cNvPr id="158" name="テキスト プレースホルダ 9">
            <a:extLst>
              <a:ext uri="{FF2B5EF4-FFF2-40B4-BE49-F238E27FC236}">
                <a16:creationId xmlns:a16="http://schemas.microsoft.com/office/drawing/2014/main" id="{ADEE9231-0C3F-430F-8E1E-8F3EBADF1A2B}"/>
              </a:ext>
            </a:extLst>
          </p:cNvPr>
          <p:cNvSpPr>
            <a:spLocks noGrp="1"/>
          </p:cNvSpPr>
          <p:nvPr>
            <p:custDataLst>
              <p:tags r:id="rId81"/>
            </p:custDataLst>
          </p:nvPr>
        </p:nvSpPr>
        <p:spPr bwMode="auto">
          <a:xfrm>
            <a:off x="5729288" y="3216275"/>
            <a:ext cx="635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422EF2E-BFE5-48C0-9B1F-EBDDD413CA4F}" type="datetime'''''''''''消''''''''''化''''器疾''''''''''''''患'''''''''''''''">
              <a:rPr lang="ja-JP" altLang="en-US" sz="1000" smtClean="0"/>
              <a:pPr/>
              <a:t>消化器疾患</a:t>
            </a:fld>
            <a:endParaRPr lang="ja-JP" altLang="en-US" sz="1000" dirty="0"/>
          </a:p>
        </p:txBody>
      </p:sp>
      <p:sp>
        <p:nvSpPr>
          <p:cNvPr id="149" name="テキスト プレースホルダ 9">
            <a:extLst>
              <a:ext uri="{FF2B5EF4-FFF2-40B4-BE49-F238E27FC236}">
                <a16:creationId xmlns:a16="http://schemas.microsoft.com/office/drawing/2014/main" id="{BA2822AF-77D0-46A0-9215-99CA2BFD6924}"/>
              </a:ext>
            </a:extLst>
          </p:cNvPr>
          <p:cNvSpPr>
            <a:spLocks noGrp="1"/>
          </p:cNvSpPr>
          <p:nvPr>
            <p:custDataLst>
              <p:tags r:id="rId82"/>
            </p:custDataLst>
          </p:nvPr>
        </p:nvSpPr>
        <p:spPr bwMode="gray">
          <a:xfrm>
            <a:off x="4449763" y="5749925"/>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CBA939-8C05-4223-B04E-5BA8EFB8D111}" type="datetime'''''''''''''''''3''''0%'">
              <a:rPr lang="en-US" altLang="en-US" sz="1000" smtClean="0">
                <a:solidFill>
                  <a:schemeClr val="bg1"/>
                </a:solidFill>
              </a:rPr>
              <a:pPr marL="0" indent="0" algn="ctr">
                <a:spcBef>
                  <a:spcPct val="0"/>
                </a:spcBef>
                <a:buNone/>
              </a:pPr>
              <a:t>30%</a:t>
            </a:fld>
            <a:endParaRPr lang="ja-JP" altLang="en-US" sz="1000" dirty="0">
              <a:solidFill>
                <a:schemeClr val="bg1"/>
              </a:solidFill>
            </a:endParaRPr>
          </a:p>
        </p:txBody>
      </p:sp>
      <p:sp>
        <p:nvSpPr>
          <p:cNvPr id="159" name="テキスト プレースホルダ 9">
            <a:extLst>
              <a:ext uri="{FF2B5EF4-FFF2-40B4-BE49-F238E27FC236}">
                <a16:creationId xmlns:a16="http://schemas.microsoft.com/office/drawing/2014/main" id="{239453E2-51EA-4B5C-82AA-701B5B4E7DA8}"/>
              </a:ext>
            </a:extLst>
          </p:cNvPr>
          <p:cNvSpPr>
            <a:spLocks noGrp="1"/>
          </p:cNvSpPr>
          <p:nvPr>
            <p:custDataLst>
              <p:tags r:id="rId83"/>
            </p:custDataLst>
          </p:nvPr>
        </p:nvSpPr>
        <p:spPr bwMode="auto">
          <a:xfrm>
            <a:off x="5729288" y="3419475"/>
            <a:ext cx="762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F40E89E-40F9-4CA9-A2A1-20DF1A30ABBA}" type="datetime'慢''''''''性呼''''''''''吸''''''''''器''''''病'">
              <a:rPr lang="ja-JP" altLang="en-US" sz="1000" smtClean="0"/>
              <a:pPr/>
              <a:t>慢性呼吸器病</a:t>
            </a:fld>
            <a:endParaRPr lang="ja-JP" altLang="en-US" sz="1000" dirty="0"/>
          </a:p>
        </p:txBody>
      </p:sp>
      <p:sp>
        <p:nvSpPr>
          <p:cNvPr id="148" name="テキスト プレースホルダ 9">
            <a:extLst>
              <a:ext uri="{FF2B5EF4-FFF2-40B4-BE49-F238E27FC236}">
                <a16:creationId xmlns:a16="http://schemas.microsoft.com/office/drawing/2014/main" id="{9B61A4E1-ED02-4E6A-B172-AABDCA12BD91}"/>
              </a:ext>
            </a:extLst>
          </p:cNvPr>
          <p:cNvSpPr>
            <a:spLocks noGrp="1"/>
          </p:cNvSpPr>
          <p:nvPr>
            <p:custDataLst>
              <p:tags r:id="rId84"/>
            </p:custDataLst>
          </p:nvPr>
        </p:nvSpPr>
        <p:spPr bwMode="gray">
          <a:xfrm>
            <a:off x="4449763" y="5043488"/>
            <a:ext cx="287338" cy="152400"/>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FD1EA46-F03C-4B74-B70C-36B0C9D71743}" type="datetime'''''''''''''''''4''5''''''''%'''''''''''''''''''''''">
              <a:rPr lang="en-US" altLang="en-US" sz="1000" smtClean="0">
                <a:solidFill>
                  <a:schemeClr val="bg1"/>
                </a:solidFill>
                <a:effectLst/>
              </a:rPr>
              <a:pPr/>
              <a:t>45%</a:t>
            </a:fld>
            <a:endParaRPr lang="ja-JP" altLang="en-US" sz="1000" dirty="0">
              <a:solidFill>
                <a:schemeClr val="bg1"/>
              </a:solidFill>
            </a:endParaRPr>
          </a:p>
        </p:txBody>
      </p:sp>
      <p:sp>
        <p:nvSpPr>
          <p:cNvPr id="136" name="テキスト プレースホルダ 9">
            <a:extLst>
              <a:ext uri="{FF2B5EF4-FFF2-40B4-BE49-F238E27FC236}">
                <a16:creationId xmlns:a16="http://schemas.microsoft.com/office/drawing/2014/main" id="{4FF3721A-B581-435F-89D1-79C7491D1FF3}"/>
              </a:ext>
            </a:extLst>
          </p:cNvPr>
          <p:cNvSpPr>
            <a:spLocks noGrp="1"/>
          </p:cNvSpPr>
          <p:nvPr>
            <p:custDataLst>
              <p:tags r:id="rId85"/>
            </p:custDataLst>
          </p:nvPr>
        </p:nvSpPr>
        <p:spPr bwMode="auto">
          <a:xfrm>
            <a:off x="5729288" y="3622675"/>
            <a:ext cx="9525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F9C0F49-1A3D-4467-B1FE-BAF9F2B1A53A}" type="datetime'''''糖''尿''''病''・''''''''腎''''''''臓疾''''''患'''''''''''''''''''">
              <a:rPr lang="ja-JP" altLang="en-US" sz="1000" smtClean="0"/>
              <a:pPr/>
              <a:t>糖尿病・腎臓疾患</a:t>
            </a:fld>
            <a:endParaRPr lang="ja-JP" altLang="en-US" sz="1000" dirty="0"/>
          </a:p>
        </p:txBody>
      </p:sp>
      <p:sp>
        <p:nvSpPr>
          <p:cNvPr id="193" name="テキスト プレースホルダ 9">
            <a:extLst>
              <a:ext uri="{FF2B5EF4-FFF2-40B4-BE49-F238E27FC236}">
                <a16:creationId xmlns:a16="http://schemas.microsoft.com/office/drawing/2014/main" id="{46B559D4-79C1-44F0-B0C6-9023B82A1367}"/>
              </a:ext>
            </a:extLst>
          </p:cNvPr>
          <p:cNvSpPr>
            <a:spLocks noGrp="1"/>
          </p:cNvSpPr>
          <p:nvPr>
            <p:custDataLst>
              <p:tags r:id="rId86"/>
            </p:custDataLst>
          </p:nvPr>
        </p:nvSpPr>
        <p:spPr bwMode="gray">
          <a:xfrm>
            <a:off x="4371975" y="4178300"/>
            <a:ext cx="217488" cy="152400"/>
          </a:xfrm>
          <a:prstGeom prst="rect">
            <a:avLst/>
          </a:prstGeom>
          <a:solidFill>
            <a:schemeClr val="accent1"/>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E13D8A-4CB0-46A0-820A-8488F3F08F0A}" type="datetime'''''''''''''''4''%'''''">
              <a:rPr lang="en-US" altLang="en-US" sz="1000" smtClean="0">
                <a:solidFill>
                  <a:schemeClr val="bg1"/>
                </a:solidFill>
              </a:rPr>
              <a:pPr marL="0" indent="0" algn="ctr">
                <a:spcBef>
                  <a:spcPct val="0"/>
                </a:spcBef>
                <a:buNone/>
              </a:pPr>
              <a:t>4%</a:t>
            </a:fld>
            <a:endParaRPr lang="ja-JP" altLang="en-US" sz="1000" dirty="0">
              <a:solidFill>
                <a:schemeClr val="bg1"/>
              </a:solidFill>
            </a:endParaRPr>
          </a:p>
        </p:txBody>
      </p:sp>
      <p:sp>
        <p:nvSpPr>
          <p:cNvPr id="144" name="テキスト プレースホルダ 9">
            <a:extLst>
              <a:ext uri="{FF2B5EF4-FFF2-40B4-BE49-F238E27FC236}">
                <a16:creationId xmlns:a16="http://schemas.microsoft.com/office/drawing/2014/main" id="{046E765A-4202-4066-BE8F-0AAABBE012D6}"/>
              </a:ext>
            </a:extLst>
          </p:cNvPr>
          <p:cNvSpPr>
            <a:spLocks noGrp="1"/>
          </p:cNvSpPr>
          <p:nvPr>
            <p:custDataLst>
              <p:tags r:id="rId87"/>
            </p:custDataLst>
          </p:nvPr>
        </p:nvSpPr>
        <p:spPr bwMode="gray">
          <a:xfrm>
            <a:off x="4371975" y="4360863"/>
            <a:ext cx="217488" cy="152400"/>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4F2DC6E-4192-4469-BC5F-34B93267ED20}" type="datetime'''''''''8''''''''%'''''''''''''''''''''''">
              <a:rPr lang="en-US" altLang="en-US" sz="1000" smtClean="0"/>
              <a:pPr marL="0" indent="0" algn="ctr">
                <a:spcBef>
                  <a:spcPct val="0"/>
                </a:spcBef>
                <a:buNone/>
              </a:pPr>
              <a:t>8%</a:t>
            </a:fld>
            <a:endParaRPr lang="ja-JP" altLang="en-US" sz="1000" dirty="0"/>
          </a:p>
        </p:txBody>
      </p:sp>
      <p:sp>
        <p:nvSpPr>
          <p:cNvPr id="141" name="テキスト プレースホルダ 9">
            <a:extLst>
              <a:ext uri="{FF2B5EF4-FFF2-40B4-BE49-F238E27FC236}">
                <a16:creationId xmlns:a16="http://schemas.microsoft.com/office/drawing/2014/main" id="{F35E81E2-F7C3-4351-8D00-B38C872C60ED}"/>
              </a:ext>
            </a:extLst>
          </p:cNvPr>
          <p:cNvSpPr>
            <a:spLocks noGrp="1"/>
          </p:cNvSpPr>
          <p:nvPr>
            <p:custDataLst>
              <p:tags r:id="rId88"/>
            </p:custDataLst>
          </p:nvPr>
        </p:nvSpPr>
        <p:spPr bwMode="auto">
          <a:xfrm>
            <a:off x="5729288" y="5448300"/>
            <a:ext cx="381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B9107F6-7B9C-40DC-ABBB-2F037F252F86}" type="datetime'''''''''''''''新''''生''''''''''''''''物'''''''''''''''''''''''">
              <a:rPr lang="ja-JP" altLang="en-US" sz="1000" smtClean="0"/>
              <a:pPr/>
              <a:t>新生物</a:t>
            </a:fld>
            <a:endParaRPr lang="ja-JP" altLang="en-US" sz="1000" dirty="0"/>
          </a:p>
        </p:txBody>
      </p:sp>
      <p:sp>
        <p:nvSpPr>
          <p:cNvPr id="138" name="テキスト プレースホルダ 9">
            <a:extLst>
              <a:ext uri="{FF2B5EF4-FFF2-40B4-BE49-F238E27FC236}">
                <a16:creationId xmlns:a16="http://schemas.microsoft.com/office/drawing/2014/main" id="{C99557E9-F6FB-4780-9A12-0A71F5785F23}"/>
              </a:ext>
            </a:extLst>
          </p:cNvPr>
          <p:cNvSpPr>
            <a:spLocks noGrp="1"/>
          </p:cNvSpPr>
          <p:nvPr>
            <p:custDataLst>
              <p:tags r:id="rId89"/>
            </p:custDataLst>
          </p:nvPr>
        </p:nvSpPr>
        <p:spPr bwMode="gray">
          <a:xfrm>
            <a:off x="4597400" y="4498975"/>
            <a:ext cx="217488" cy="152400"/>
          </a:xfrm>
          <a:prstGeom prst="rect">
            <a:avLst/>
          </a:prstGeom>
          <a:solidFill>
            <a:schemeClr val="accent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1EC0BF5-0196-4A3A-AECB-F9A63E54A09B}" type="datetime'''''''''''''''6''%'''''''''''''''''''''''">
              <a:rPr lang="en-US" altLang="en-US" sz="1000" smtClean="0">
                <a:solidFill>
                  <a:schemeClr val="bg1"/>
                </a:solidFill>
              </a:rPr>
              <a:pPr marL="0" indent="0" algn="ctr">
                <a:spcBef>
                  <a:spcPct val="0"/>
                </a:spcBef>
                <a:buNone/>
              </a:pPr>
              <a:t>6%</a:t>
            </a:fld>
            <a:endParaRPr lang="ja-JP" altLang="en-US" sz="1000" dirty="0">
              <a:solidFill>
                <a:schemeClr val="bg1"/>
              </a:solidFill>
            </a:endParaRPr>
          </a:p>
        </p:txBody>
      </p:sp>
      <p:sp>
        <p:nvSpPr>
          <p:cNvPr id="160" name="テキスト プレースホルダ 9">
            <a:extLst>
              <a:ext uri="{FF2B5EF4-FFF2-40B4-BE49-F238E27FC236}">
                <a16:creationId xmlns:a16="http://schemas.microsoft.com/office/drawing/2014/main" id="{EA243E59-DC5B-44AD-8629-FEC2CE99AA60}"/>
              </a:ext>
            </a:extLst>
          </p:cNvPr>
          <p:cNvSpPr>
            <a:spLocks noGrp="1"/>
          </p:cNvSpPr>
          <p:nvPr>
            <p:custDataLst>
              <p:tags r:id="rId90"/>
            </p:custDataLst>
          </p:nvPr>
        </p:nvSpPr>
        <p:spPr bwMode="gray">
          <a:xfrm>
            <a:off x="4597400" y="4248150"/>
            <a:ext cx="217488" cy="152400"/>
          </a:xfrm>
          <a:prstGeom prst="rect">
            <a:avLst/>
          </a:prstGeom>
          <a:solidFill>
            <a:schemeClr val="accent2"/>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95F1C48-D48E-4B81-9B7E-2A070773C58C}" type="datetime'''''''4''%'''''''">
              <a:rPr lang="en-US" altLang="en-US" sz="1000" smtClean="0"/>
              <a:pPr marL="0" indent="0" algn="ctr">
                <a:spcBef>
                  <a:spcPct val="0"/>
                </a:spcBef>
                <a:buNone/>
              </a:pPr>
              <a:t>4%</a:t>
            </a:fld>
            <a:endParaRPr lang="ja-JP" altLang="en-US" sz="1000" dirty="0"/>
          </a:p>
        </p:txBody>
      </p:sp>
      <p:sp>
        <p:nvSpPr>
          <p:cNvPr id="147" name="テキスト プレースホルダ 9">
            <a:extLst>
              <a:ext uri="{FF2B5EF4-FFF2-40B4-BE49-F238E27FC236}">
                <a16:creationId xmlns:a16="http://schemas.microsoft.com/office/drawing/2014/main" id="{3A35E198-A34F-40D3-B70E-970E9071DA43}"/>
              </a:ext>
            </a:extLst>
          </p:cNvPr>
          <p:cNvSpPr>
            <a:spLocks noGrp="1"/>
          </p:cNvSpPr>
          <p:nvPr>
            <p:custDataLst>
              <p:tags r:id="rId91"/>
            </p:custDataLst>
          </p:nvPr>
        </p:nvSpPr>
        <p:spPr bwMode="gray">
          <a:xfrm>
            <a:off x="4371975" y="4587875"/>
            <a:ext cx="217488" cy="152400"/>
          </a:xfrm>
          <a:prstGeom prst="rect">
            <a:avLst/>
          </a:prstGeom>
          <a:solidFill>
            <a:schemeClr val="accent5"/>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5CB3D52-A7AB-4CA0-93D5-786E9A89BC7E}" type="datetime'''''''''''''''''''''''''''''''''''''''''3''''''''%'''''">
              <a:rPr lang="en-US" altLang="en-US" sz="1000" smtClean="0">
                <a:solidFill>
                  <a:schemeClr val="bg1"/>
                </a:solidFill>
              </a:rPr>
              <a:pPr marL="0" indent="0" algn="ctr">
                <a:spcBef>
                  <a:spcPct val="0"/>
                </a:spcBef>
                <a:buNone/>
              </a:pPr>
              <a:t>3%</a:t>
            </a:fld>
            <a:endParaRPr lang="ja-JP" altLang="en-US" sz="1000" dirty="0">
              <a:solidFill>
                <a:schemeClr val="bg1"/>
              </a:solidFill>
            </a:endParaRPr>
          </a:p>
        </p:txBody>
      </p:sp>
      <p:sp>
        <p:nvSpPr>
          <p:cNvPr id="140" name="テキスト プレースホルダ 9">
            <a:extLst>
              <a:ext uri="{FF2B5EF4-FFF2-40B4-BE49-F238E27FC236}">
                <a16:creationId xmlns:a16="http://schemas.microsoft.com/office/drawing/2014/main" id="{4509587C-1298-4984-A9EE-59FFD81C4665}"/>
              </a:ext>
            </a:extLst>
          </p:cNvPr>
          <p:cNvSpPr>
            <a:spLocks noGrp="1"/>
          </p:cNvSpPr>
          <p:nvPr>
            <p:custDataLst>
              <p:tags r:id="rId92"/>
            </p:custDataLst>
          </p:nvPr>
        </p:nvSpPr>
        <p:spPr bwMode="auto">
          <a:xfrm>
            <a:off x="5729288" y="4298950"/>
            <a:ext cx="635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3890385-9A08-42B4-BDEF-8C2EBC6A9DA9}" type="datetime'''''''''心''血''管''''''''''疾患'''''''''''''''''''''''''''''''">
              <a:rPr lang="ja-JP" altLang="en-US" sz="1000" smtClean="0"/>
              <a:pPr/>
              <a:t>心血管疾患</a:t>
            </a:fld>
            <a:endParaRPr lang="ja-JP" altLang="en-US" sz="1000" dirty="0"/>
          </a:p>
        </p:txBody>
      </p:sp>
      <p:sp>
        <p:nvSpPr>
          <p:cNvPr id="150" name="テキスト プレースホルダ 9">
            <a:extLst>
              <a:ext uri="{FF2B5EF4-FFF2-40B4-BE49-F238E27FC236}">
                <a16:creationId xmlns:a16="http://schemas.microsoft.com/office/drawing/2014/main" id="{F93AD23F-1560-472B-9B75-44A6CAE3DFFF}"/>
              </a:ext>
            </a:extLst>
          </p:cNvPr>
          <p:cNvSpPr>
            <a:spLocks noGrp="1"/>
          </p:cNvSpPr>
          <p:nvPr>
            <p:custDataLst>
              <p:tags r:id="rId93"/>
            </p:custDataLst>
          </p:nvPr>
        </p:nvSpPr>
        <p:spPr bwMode="auto">
          <a:xfrm>
            <a:off x="4446588" y="61515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FE0F7D8-C0CF-466D-B547-AEEC956D0A17}" type="datetime'''19''''9''''''''''''''''''''''''''''''''''0'''''''''">
              <a:rPr lang="ja-JP" altLang="en-US" sz="1000" smtClean="0"/>
              <a:pPr/>
              <a:t>1990</a:t>
            </a:fld>
            <a:endParaRPr lang="ja-JP" altLang="en-US" sz="1000" dirty="0"/>
          </a:p>
        </p:txBody>
      </p:sp>
      <p:sp>
        <p:nvSpPr>
          <p:cNvPr id="155" name="テキスト プレースホルダ 9">
            <a:extLst>
              <a:ext uri="{FF2B5EF4-FFF2-40B4-BE49-F238E27FC236}">
                <a16:creationId xmlns:a16="http://schemas.microsoft.com/office/drawing/2014/main" id="{44D3965C-D12E-44B9-BAF0-EF15A59B58E0}"/>
              </a:ext>
            </a:extLst>
          </p:cNvPr>
          <p:cNvSpPr>
            <a:spLocks noGrp="1"/>
          </p:cNvSpPr>
          <p:nvPr>
            <p:custDataLst>
              <p:tags r:id="rId94"/>
            </p:custDataLst>
          </p:nvPr>
        </p:nvSpPr>
        <p:spPr bwMode="gray">
          <a:xfrm>
            <a:off x="5181600" y="3214688"/>
            <a:ext cx="217488" cy="152400"/>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98D750-A2A6-4A95-A3CD-42D84DE554ED}" type="datetime'''''''4''''''''''''%'''''">
              <a:rPr lang="en-US" altLang="en-US" sz="1000" smtClean="0">
                <a:effectLst/>
              </a:rPr>
              <a:pPr/>
              <a:t>4%</a:t>
            </a:fld>
            <a:endParaRPr lang="ja-JP" altLang="en-US" sz="1000" dirty="0"/>
          </a:p>
        </p:txBody>
      </p:sp>
      <p:sp>
        <p:nvSpPr>
          <p:cNvPr id="190" name="テキスト プレースホルダ 9">
            <a:extLst>
              <a:ext uri="{FF2B5EF4-FFF2-40B4-BE49-F238E27FC236}">
                <a16:creationId xmlns:a16="http://schemas.microsoft.com/office/drawing/2014/main" id="{45FF5D28-AA01-449D-A53B-AD8A5CD3EDD0}"/>
              </a:ext>
            </a:extLst>
          </p:cNvPr>
          <p:cNvSpPr>
            <a:spLocks noGrp="1"/>
          </p:cNvSpPr>
          <p:nvPr>
            <p:custDataLst>
              <p:tags r:id="rId95"/>
            </p:custDataLst>
          </p:nvPr>
        </p:nvSpPr>
        <p:spPr bwMode="gray">
          <a:xfrm>
            <a:off x="5181600" y="2995613"/>
            <a:ext cx="217488" cy="152400"/>
          </a:xfrm>
          <a:prstGeom prst="rect">
            <a:avLst/>
          </a:prstGeom>
          <a:solidFill>
            <a:schemeClr val="accent1"/>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BE14409-E52E-4C44-9902-F03DF72B6C4B}" type="datetime'''''''''4''''''''''%'''''''''''''''''''''''''''''">
              <a:rPr lang="en-US" altLang="en-US" sz="1000" smtClean="0">
                <a:solidFill>
                  <a:schemeClr val="bg1"/>
                </a:solidFill>
              </a:rPr>
              <a:pPr/>
              <a:t>4%</a:t>
            </a:fld>
            <a:endParaRPr lang="ja-JP" altLang="en-US" sz="1000" dirty="0">
              <a:solidFill>
                <a:schemeClr val="bg1"/>
              </a:solidFill>
            </a:endParaRPr>
          </a:p>
        </p:txBody>
      </p:sp>
      <p:sp>
        <p:nvSpPr>
          <p:cNvPr id="145" name="テキスト プレースホルダ 9">
            <a:extLst>
              <a:ext uri="{FF2B5EF4-FFF2-40B4-BE49-F238E27FC236}">
                <a16:creationId xmlns:a16="http://schemas.microsoft.com/office/drawing/2014/main" id="{AF429922-A022-4C72-BC7C-8561C3D5755D}"/>
              </a:ext>
            </a:extLst>
          </p:cNvPr>
          <p:cNvSpPr>
            <a:spLocks noGrp="1"/>
          </p:cNvSpPr>
          <p:nvPr>
            <p:custDataLst>
              <p:tags r:id="rId96"/>
            </p:custDataLst>
          </p:nvPr>
        </p:nvSpPr>
        <p:spPr bwMode="gray">
          <a:xfrm>
            <a:off x="4383088" y="4025900"/>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D40ECB-7A38-48CC-84D0-0A48D1BE4AF1}" type="datetime'''''''1''''1'''',''''''36''1'''''''''''''''''''''''''''">
              <a:rPr lang="ja-JP" altLang="en-US" sz="1000" smtClean="0"/>
              <a:pPr/>
              <a:t>11,361</a:t>
            </a:fld>
            <a:endParaRPr lang="ja-JP" altLang="en-US" sz="1000" dirty="0"/>
          </a:p>
        </p:txBody>
      </p:sp>
      <p:sp>
        <p:nvSpPr>
          <p:cNvPr id="137" name="テキスト プレースホルダ 9">
            <a:extLst>
              <a:ext uri="{FF2B5EF4-FFF2-40B4-BE49-F238E27FC236}">
                <a16:creationId xmlns:a16="http://schemas.microsoft.com/office/drawing/2014/main" id="{7C21FDF7-DBA8-49B2-8FC1-F13C600D60D1}"/>
              </a:ext>
            </a:extLst>
          </p:cNvPr>
          <p:cNvSpPr>
            <a:spLocks noGrp="1"/>
          </p:cNvSpPr>
          <p:nvPr>
            <p:custDataLst>
              <p:tags r:id="rId97"/>
            </p:custDataLst>
          </p:nvPr>
        </p:nvSpPr>
        <p:spPr bwMode="gray">
          <a:xfrm>
            <a:off x="5192712" y="2835275"/>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A4CE271-DC52-44A7-BC7F-085C2EE66455}" type="datetime'''18'',58''''''''''''''''''''''''''''''''2'">
              <a:rPr lang="ja-JP" altLang="en-US" sz="1000" smtClean="0"/>
              <a:pPr/>
              <a:t>18,582</a:t>
            </a:fld>
            <a:endParaRPr lang="ja-JP" altLang="en-US" sz="1000" dirty="0"/>
          </a:p>
        </p:txBody>
      </p:sp>
      <p:sp>
        <p:nvSpPr>
          <p:cNvPr id="161" name="テキスト プレースホルダ 9">
            <a:extLst>
              <a:ext uri="{FF2B5EF4-FFF2-40B4-BE49-F238E27FC236}">
                <a16:creationId xmlns:a16="http://schemas.microsoft.com/office/drawing/2014/main" id="{CF3859B6-1767-4505-9C4B-3DDBAF7D5B12}"/>
              </a:ext>
            </a:extLst>
          </p:cNvPr>
          <p:cNvSpPr>
            <a:spLocks noGrp="1"/>
          </p:cNvSpPr>
          <p:nvPr>
            <p:custDataLst>
              <p:tags r:id="rId98"/>
            </p:custDataLst>
          </p:nvPr>
        </p:nvSpPr>
        <p:spPr bwMode="auto">
          <a:xfrm>
            <a:off x="4814888" y="2695575"/>
            <a:ext cx="366713" cy="21590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b="1" dirty="0"/>
              <a:t>X1.6</a:t>
            </a:r>
            <a:endParaRPr lang="ja-JP" altLang="en-US" sz="1000" b="1" dirty="0"/>
          </a:p>
        </p:txBody>
      </p:sp>
      <p:sp>
        <p:nvSpPr>
          <p:cNvPr id="227" name="TextBox 226">
            <a:extLst>
              <a:ext uri="{FF2B5EF4-FFF2-40B4-BE49-F238E27FC236}">
                <a16:creationId xmlns:a16="http://schemas.microsoft.com/office/drawing/2014/main" id="{A596757D-061F-4E73-A2EE-653A7B3438EB}"/>
              </a:ext>
            </a:extLst>
          </p:cNvPr>
          <p:cNvSpPr txBox="1"/>
          <p:nvPr/>
        </p:nvSpPr>
        <p:spPr>
          <a:xfrm>
            <a:off x="6491288" y="2612916"/>
            <a:ext cx="1139825" cy="400110"/>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1990</a:t>
            </a:r>
            <a:r>
              <a:rPr lang="ja-JP" altLang="en-US" sz="1000" dirty="0"/>
              <a:t>年から</a:t>
            </a:r>
            <a:r>
              <a:rPr lang="en-US" altLang="ja-JP" sz="1000" dirty="0"/>
              <a:t>2019</a:t>
            </a:r>
            <a:r>
              <a:rPr lang="ja-JP" altLang="en-US" sz="1000" dirty="0"/>
              <a:t>年の変化</a:t>
            </a:r>
          </a:p>
        </p:txBody>
      </p:sp>
      <p:sp>
        <p:nvSpPr>
          <p:cNvPr id="228" name="TextBox 227">
            <a:extLst>
              <a:ext uri="{FF2B5EF4-FFF2-40B4-BE49-F238E27FC236}">
                <a16:creationId xmlns:a16="http://schemas.microsoft.com/office/drawing/2014/main" id="{6AAF1935-9072-4ED3-963A-1EA019A327CE}"/>
              </a:ext>
            </a:extLst>
          </p:cNvPr>
          <p:cNvSpPr txBox="1"/>
          <p:nvPr/>
        </p:nvSpPr>
        <p:spPr>
          <a:xfrm>
            <a:off x="6688233" y="3147223"/>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1.5</a:t>
            </a:r>
            <a:endParaRPr lang="ja-JP" altLang="en-US" sz="1000" dirty="0"/>
          </a:p>
        </p:txBody>
      </p:sp>
      <p:sp>
        <p:nvSpPr>
          <p:cNvPr id="229" name="TextBox 228">
            <a:extLst>
              <a:ext uri="{FF2B5EF4-FFF2-40B4-BE49-F238E27FC236}">
                <a16:creationId xmlns:a16="http://schemas.microsoft.com/office/drawing/2014/main" id="{ABDD69D4-250A-4E7C-A794-37F169FA4B5F}"/>
              </a:ext>
            </a:extLst>
          </p:cNvPr>
          <p:cNvSpPr txBox="1"/>
          <p:nvPr/>
        </p:nvSpPr>
        <p:spPr>
          <a:xfrm>
            <a:off x="6686550" y="3333965"/>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0.8</a:t>
            </a:r>
            <a:endParaRPr lang="ja-JP" altLang="en-US" sz="1000" dirty="0"/>
          </a:p>
        </p:txBody>
      </p:sp>
      <p:sp>
        <p:nvSpPr>
          <p:cNvPr id="230" name="TextBox 229">
            <a:extLst>
              <a:ext uri="{FF2B5EF4-FFF2-40B4-BE49-F238E27FC236}">
                <a16:creationId xmlns:a16="http://schemas.microsoft.com/office/drawing/2014/main" id="{BABECC5B-09C6-40A2-8A07-07004D9F443A}"/>
              </a:ext>
            </a:extLst>
          </p:cNvPr>
          <p:cNvSpPr txBox="1"/>
          <p:nvPr/>
        </p:nvSpPr>
        <p:spPr>
          <a:xfrm>
            <a:off x="6688233" y="3565093"/>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1.4</a:t>
            </a:r>
            <a:endParaRPr lang="ja-JP" altLang="en-US" sz="1000" dirty="0"/>
          </a:p>
        </p:txBody>
      </p:sp>
      <p:sp>
        <p:nvSpPr>
          <p:cNvPr id="231" name="TextBox 230">
            <a:extLst>
              <a:ext uri="{FF2B5EF4-FFF2-40B4-BE49-F238E27FC236}">
                <a16:creationId xmlns:a16="http://schemas.microsoft.com/office/drawing/2014/main" id="{10736472-9130-43C9-BD00-039FB448CC2C}"/>
              </a:ext>
            </a:extLst>
          </p:cNvPr>
          <p:cNvSpPr txBox="1"/>
          <p:nvPr/>
        </p:nvSpPr>
        <p:spPr>
          <a:xfrm>
            <a:off x="6686550" y="4260275"/>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1.3</a:t>
            </a:r>
            <a:endParaRPr lang="ja-JP" altLang="en-US" sz="1000" dirty="0"/>
          </a:p>
        </p:txBody>
      </p:sp>
      <p:sp>
        <p:nvSpPr>
          <p:cNvPr id="232" name="TextBox 231">
            <a:extLst>
              <a:ext uri="{FF2B5EF4-FFF2-40B4-BE49-F238E27FC236}">
                <a16:creationId xmlns:a16="http://schemas.microsoft.com/office/drawing/2014/main" id="{E470F00B-778D-4B40-8608-D92CA84072AB}"/>
              </a:ext>
            </a:extLst>
          </p:cNvPr>
          <p:cNvSpPr txBox="1"/>
          <p:nvPr/>
        </p:nvSpPr>
        <p:spPr>
          <a:xfrm>
            <a:off x="6702282" y="5392658"/>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2.1</a:t>
            </a:r>
            <a:endParaRPr lang="ja-JP" altLang="en-US" sz="1000" dirty="0"/>
          </a:p>
        </p:txBody>
      </p:sp>
      <p:sp>
        <p:nvSpPr>
          <p:cNvPr id="233" name="TextBox 232">
            <a:extLst>
              <a:ext uri="{FF2B5EF4-FFF2-40B4-BE49-F238E27FC236}">
                <a16:creationId xmlns:a16="http://schemas.microsoft.com/office/drawing/2014/main" id="{D11717F2-E2C9-45CF-8506-3A85513183F6}"/>
              </a:ext>
            </a:extLst>
          </p:cNvPr>
          <p:cNvSpPr txBox="1"/>
          <p:nvPr/>
        </p:nvSpPr>
        <p:spPr>
          <a:xfrm>
            <a:off x="6688233" y="3789154"/>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4.6</a:t>
            </a:r>
            <a:endParaRPr lang="ja-JP" altLang="en-US" sz="1000" dirty="0"/>
          </a:p>
        </p:txBody>
      </p:sp>
      <p:sp>
        <p:nvSpPr>
          <p:cNvPr id="234" name="TextBox 233">
            <a:extLst>
              <a:ext uri="{FF2B5EF4-FFF2-40B4-BE49-F238E27FC236}">
                <a16:creationId xmlns:a16="http://schemas.microsoft.com/office/drawing/2014/main" id="{4070853F-D748-4638-A918-9F3674B51488}"/>
              </a:ext>
            </a:extLst>
          </p:cNvPr>
          <p:cNvSpPr txBox="1"/>
          <p:nvPr/>
        </p:nvSpPr>
        <p:spPr>
          <a:xfrm>
            <a:off x="6678268" y="2940715"/>
            <a:ext cx="59848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1.5</a:t>
            </a:r>
            <a:endParaRPr lang="ja-JP" altLang="en-US" sz="1000" dirty="0"/>
          </a:p>
        </p:txBody>
      </p:sp>
      <p:sp>
        <p:nvSpPr>
          <p:cNvPr id="235" name="4. Footnote">
            <a:extLst>
              <a:ext uri="{FF2B5EF4-FFF2-40B4-BE49-F238E27FC236}">
                <a16:creationId xmlns:a16="http://schemas.microsoft.com/office/drawing/2014/main" id="{E36A940B-5C0C-4AF2-921D-FDAA431E11C7}"/>
              </a:ext>
            </a:extLst>
          </p:cNvPr>
          <p:cNvSpPr txBox="1"/>
          <p:nvPr>
            <p:custDataLst>
              <p:tags r:id="rId99"/>
            </p:custDataLst>
          </p:nvPr>
        </p:nvSpPr>
        <p:spPr>
          <a:xfrm>
            <a:off x="217502" y="6419850"/>
            <a:ext cx="4579620" cy="123111"/>
          </a:xfrm>
          <a:prstGeom prst="rect">
            <a:avLst/>
          </a:prstGeom>
          <a:noFill/>
        </p:spPr>
        <p:txBody>
          <a:bodyPr vert="horz" wrap="square" lIns="0" tIns="0" rIns="0" bIns="0" rtlCol="0" anchor="b" anchorCtr="0">
            <a:spAutoFit/>
          </a:bodyPr>
          <a:lstStyle/>
          <a:p>
            <a:pPr marL="203200" indent="-21272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その他の非感染症。皮下疾患、筋骨格系疾患、物質使用障、精神疾患</a:t>
            </a:r>
          </a:p>
        </p:txBody>
      </p:sp>
      <p:cxnSp>
        <p:nvCxnSpPr>
          <p:cNvPr id="320" name="Straight Connector 319">
            <a:extLst>
              <a:ext uri="{FF2B5EF4-FFF2-40B4-BE49-F238E27FC236}">
                <a16:creationId xmlns:a16="http://schemas.microsoft.com/office/drawing/2014/main" id="{052021D4-FBB5-4017-8461-51999F34E9A0}"/>
              </a:ext>
            </a:extLst>
          </p:cNvPr>
          <p:cNvCxnSpPr>
            <a:cxnSpLocks/>
          </p:cNvCxnSpPr>
          <p:nvPr>
            <p:custDataLst>
              <p:tags r:id="rId100"/>
            </p:custDataLst>
          </p:nvPr>
        </p:nvCxnSpPr>
        <p:spPr bwMode="auto">
          <a:xfrm>
            <a:off x="7994650" y="5300664"/>
            <a:ext cx="220663" cy="682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1" name="Straight Connector 320">
            <a:extLst>
              <a:ext uri="{FF2B5EF4-FFF2-40B4-BE49-F238E27FC236}">
                <a16:creationId xmlns:a16="http://schemas.microsoft.com/office/drawing/2014/main" id="{827C3A03-AE38-45C9-ACF3-1D3CBB024D65}"/>
              </a:ext>
            </a:extLst>
          </p:cNvPr>
          <p:cNvCxnSpPr/>
          <p:nvPr>
            <p:custDataLst>
              <p:tags r:id="rId101"/>
            </p:custDataLst>
          </p:nvPr>
        </p:nvCxnSpPr>
        <p:spPr bwMode="auto">
          <a:xfrm flipV="1">
            <a:off x="7994650" y="5510213"/>
            <a:ext cx="220663"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2" name="Straight Connector 321">
            <a:extLst>
              <a:ext uri="{FF2B5EF4-FFF2-40B4-BE49-F238E27FC236}">
                <a16:creationId xmlns:a16="http://schemas.microsoft.com/office/drawing/2014/main" id="{46294D82-1BF3-47FB-87AB-3E7E6635E5E2}"/>
              </a:ext>
            </a:extLst>
          </p:cNvPr>
          <p:cNvCxnSpPr>
            <a:cxnSpLocks/>
          </p:cNvCxnSpPr>
          <p:nvPr>
            <p:custDataLst>
              <p:tags r:id="rId102"/>
            </p:custDataLst>
          </p:nvPr>
        </p:nvCxnSpPr>
        <p:spPr bwMode="auto">
          <a:xfrm>
            <a:off x="7994650" y="5700714"/>
            <a:ext cx="228600" cy="301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62" name="Chart 161">
            <a:extLst>
              <a:ext uri="{FF2B5EF4-FFF2-40B4-BE49-F238E27FC236}">
                <a16:creationId xmlns:a16="http://schemas.microsoft.com/office/drawing/2014/main" id="{151C4835-0E6F-466E-A65B-BA0AB45C3148}"/>
              </a:ext>
            </a:extLst>
          </p:cNvPr>
          <p:cNvGraphicFramePr/>
          <p:nvPr>
            <p:custDataLst>
              <p:tags r:id="rId103"/>
            </p:custDataLst>
            <p:extLst>
              <p:ext uri="{D42A27DB-BD31-4B8C-83A1-F6EECF244321}">
                <p14:modId xmlns:p14="http://schemas.microsoft.com/office/powerpoint/2010/main" val="430466991"/>
              </p:ext>
            </p:extLst>
          </p:nvPr>
        </p:nvGraphicFramePr>
        <p:xfrm>
          <a:off x="7508875" y="5218113"/>
          <a:ext cx="1198563" cy="973137"/>
        </p:xfrm>
        <a:graphic>
          <a:graphicData uri="http://schemas.openxmlformats.org/drawingml/2006/chart">
            <c:chart xmlns:c="http://schemas.openxmlformats.org/drawingml/2006/chart" xmlns:r="http://schemas.openxmlformats.org/officeDocument/2006/relationships" r:id="rId124"/>
          </a:graphicData>
        </a:graphic>
      </p:graphicFrame>
      <p:cxnSp>
        <p:nvCxnSpPr>
          <p:cNvPr id="272" name="Straight Connector 271">
            <a:extLst>
              <a:ext uri="{FF2B5EF4-FFF2-40B4-BE49-F238E27FC236}">
                <a16:creationId xmlns:a16="http://schemas.microsoft.com/office/drawing/2014/main" id="{A3E391FF-4179-4B67-8AB7-03043A765265}"/>
              </a:ext>
            </a:extLst>
          </p:cNvPr>
          <p:cNvCxnSpPr>
            <a:cxnSpLocks/>
          </p:cNvCxnSpPr>
          <p:nvPr>
            <p:custDataLst>
              <p:tags r:id="rId104"/>
            </p:custDataLst>
          </p:nvPr>
        </p:nvCxnSpPr>
        <p:spPr bwMode="auto">
          <a:xfrm>
            <a:off x="7850188" y="4878388"/>
            <a:ext cx="515938" cy="71438"/>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86" name="テキスト プレースホルダ 9">
            <a:extLst>
              <a:ext uri="{FF2B5EF4-FFF2-40B4-BE49-F238E27FC236}">
                <a16:creationId xmlns:a16="http://schemas.microsoft.com/office/drawing/2014/main" id="{312045CF-902D-4FC8-81E2-89EC105A4057}"/>
              </a:ext>
            </a:extLst>
          </p:cNvPr>
          <p:cNvSpPr>
            <a:spLocks noGrp="1"/>
          </p:cNvSpPr>
          <p:nvPr>
            <p:custDataLst>
              <p:tags r:id="rId105"/>
            </p:custDataLst>
          </p:nvPr>
        </p:nvSpPr>
        <p:spPr bwMode="gray">
          <a:xfrm>
            <a:off x="7707313" y="5334000"/>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82EDA2C-BA99-4B31-998F-D9B58ABFE7E6}" type="datetime'''''''''''''''''''2''''''''''''7''''''''''''''''''''%'">
              <a:rPr lang="en-US" altLang="en-US" sz="1000" smtClean="0">
                <a:solidFill>
                  <a:schemeClr val="bg1"/>
                </a:solidFill>
              </a:rPr>
              <a:pPr marL="0" indent="0" algn="ctr">
                <a:spcBef>
                  <a:spcPct val="0"/>
                </a:spcBef>
                <a:buNone/>
              </a:pPr>
              <a:t>27%</a:t>
            </a:fld>
            <a:endParaRPr lang="ja-JP" altLang="en-US" sz="1000" dirty="0">
              <a:solidFill>
                <a:schemeClr val="bg1"/>
              </a:solidFill>
            </a:endParaRPr>
          </a:p>
        </p:txBody>
      </p:sp>
      <p:sp>
        <p:nvSpPr>
          <p:cNvPr id="284" name="テキスト プレースホルダ 9">
            <a:extLst>
              <a:ext uri="{FF2B5EF4-FFF2-40B4-BE49-F238E27FC236}">
                <a16:creationId xmlns:a16="http://schemas.microsoft.com/office/drawing/2014/main" id="{63C26508-F423-4609-888F-4EAA58923947}"/>
              </a:ext>
            </a:extLst>
          </p:cNvPr>
          <p:cNvSpPr>
            <a:spLocks noGrp="1"/>
          </p:cNvSpPr>
          <p:nvPr>
            <p:custDataLst>
              <p:tags r:id="rId106"/>
            </p:custDataLst>
          </p:nvPr>
        </p:nvSpPr>
        <p:spPr bwMode="auto">
          <a:xfrm>
            <a:off x="8612188" y="5556250"/>
            <a:ext cx="7620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1127928-75AD-4E80-A043-DB49EB313F20}" type="datetime'''''''''非''意''図''''''''''的''''''''''''''''''''負''''''傷'''''''">
              <a:rPr lang="zh-TW" altLang="en-US" sz="1000" smtClean="0"/>
              <a:pPr/>
              <a:t>非意図的負傷</a:t>
            </a:fld>
            <a:endParaRPr lang="ja-JP" altLang="en-US" sz="1000" dirty="0"/>
          </a:p>
        </p:txBody>
      </p:sp>
      <p:sp>
        <p:nvSpPr>
          <p:cNvPr id="293" name="テキスト プレースホルダ 9">
            <a:extLst>
              <a:ext uri="{FF2B5EF4-FFF2-40B4-BE49-F238E27FC236}">
                <a16:creationId xmlns:a16="http://schemas.microsoft.com/office/drawing/2014/main" id="{C41A61CA-A44F-4949-A7FE-7A03C8C06A78}"/>
              </a:ext>
            </a:extLst>
          </p:cNvPr>
          <p:cNvSpPr>
            <a:spLocks noGrp="1"/>
          </p:cNvSpPr>
          <p:nvPr>
            <p:custDataLst>
              <p:tags r:id="rId107"/>
            </p:custDataLst>
          </p:nvPr>
        </p:nvSpPr>
        <p:spPr bwMode="gray">
          <a:xfrm>
            <a:off x="7707313" y="5827713"/>
            <a:ext cx="287338" cy="152400"/>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75ADB5C-54E0-419A-9C2C-83C898BB50DE}" type="datetime'''''''''''''''''''''''''''''''''''''''''''5''''''1''%'''''">
              <a:rPr lang="en-US" altLang="en-US" sz="1000" smtClean="0">
                <a:effectLst/>
              </a:rPr>
              <a:pPr/>
              <a:t>51%</a:t>
            </a:fld>
            <a:endParaRPr lang="ja-JP" altLang="en-US" sz="1000" dirty="0"/>
          </a:p>
        </p:txBody>
      </p:sp>
      <p:sp>
        <p:nvSpPr>
          <p:cNvPr id="289" name="テキスト プレースホルダ 9">
            <a:extLst>
              <a:ext uri="{FF2B5EF4-FFF2-40B4-BE49-F238E27FC236}">
                <a16:creationId xmlns:a16="http://schemas.microsoft.com/office/drawing/2014/main" id="{08323964-2675-4E0B-AA58-A98FF404CE0B}"/>
              </a:ext>
            </a:extLst>
          </p:cNvPr>
          <p:cNvSpPr>
            <a:spLocks noGrp="1"/>
          </p:cNvSpPr>
          <p:nvPr>
            <p:custDataLst>
              <p:tags r:id="rId108"/>
            </p:custDataLst>
          </p:nvPr>
        </p:nvSpPr>
        <p:spPr bwMode="gray">
          <a:xfrm>
            <a:off x="7707313" y="5534025"/>
            <a:ext cx="287338" cy="152400"/>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2452C7A-0865-444D-A716-BEE3612F1955}" type="datetime'''''''''''''''''2''''''''''''''''''''''2%'''''''''">
              <a:rPr lang="en-US" altLang="en-US" sz="1000" smtClean="0"/>
              <a:pPr marL="0" indent="0" algn="ctr">
                <a:spcBef>
                  <a:spcPct val="0"/>
                </a:spcBef>
                <a:buNone/>
              </a:pPr>
              <a:t>22%</a:t>
            </a:fld>
            <a:endParaRPr lang="ja-JP" altLang="en-US" sz="1000" dirty="0"/>
          </a:p>
        </p:txBody>
      </p:sp>
      <p:sp>
        <p:nvSpPr>
          <p:cNvPr id="280" name="テキスト プレースホルダ 9">
            <a:extLst>
              <a:ext uri="{FF2B5EF4-FFF2-40B4-BE49-F238E27FC236}">
                <a16:creationId xmlns:a16="http://schemas.microsoft.com/office/drawing/2014/main" id="{18FEF68B-B334-49E4-9146-ABDCF63AED0C}"/>
              </a:ext>
            </a:extLst>
          </p:cNvPr>
          <p:cNvSpPr>
            <a:spLocks noGrp="1"/>
          </p:cNvSpPr>
          <p:nvPr>
            <p:custDataLst>
              <p:tags r:id="rId109"/>
            </p:custDataLst>
          </p:nvPr>
        </p:nvSpPr>
        <p:spPr bwMode="auto">
          <a:xfrm>
            <a:off x="7704138" y="61515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B866330-DB95-4DE7-BC58-5EEBF1CA449D}" type="datetime'''1''''''''9''''''9''''''''''''''''''''''''''''0'''''''''">
              <a:rPr lang="ja-JP" altLang="en-US" sz="1000" smtClean="0"/>
              <a:pPr/>
              <a:t>1990</a:t>
            </a:fld>
            <a:endParaRPr lang="ja-JP" altLang="en-US" sz="1000" dirty="0"/>
          </a:p>
        </p:txBody>
      </p:sp>
      <p:sp>
        <p:nvSpPr>
          <p:cNvPr id="290" name="テキスト プレースホルダ 9">
            <a:extLst>
              <a:ext uri="{FF2B5EF4-FFF2-40B4-BE49-F238E27FC236}">
                <a16:creationId xmlns:a16="http://schemas.microsoft.com/office/drawing/2014/main" id="{38550555-79F5-4399-9FE9-6214435145A5}"/>
              </a:ext>
            </a:extLst>
          </p:cNvPr>
          <p:cNvSpPr>
            <a:spLocks noGrp="1"/>
          </p:cNvSpPr>
          <p:nvPr>
            <p:custDataLst>
              <p:tags r:id="rId110"/>
            </p:custDataLst>
          </p:nvPr>
        </p:nvSpPr>
        <p:spPr bwMode="gray">
          <a:xfrm>
            <a:off x="8223250" y="5843588"/>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0BBDF4F-BAF0-448D-8AC5-27351F6BFE48}" type="datetime'''''''''''''''''''''''''''''''51''''''''%'''''''''''''''''''">
              <a:rPr lang="en-US" altLang="en-US" sz="1000" smtClean="0"/>
              <a:pPr/>
              <a:t>51%</a:t>
            </a:fld>
            <a:endParaRPr lang="ja-JP" altLang="en-US" sz="1000" dirty="0"/>
          </a:p>
        </p:txBody>
      </p:sp>
      <p:sp>
        <p:nvSpPr>
          <p:cNvPr id="295" name="テキスト プレースホルダ 9">
            <a:extLst>
              <a:ext uri="{FF2B5EF4-FFF2-40B4-BE49-F238E27FC236}">
                <a16:creationId xmlns:a16="http://schemas.microsoft.com/office/drawing/2014/main" id="{CD70FF11-2620-412A-9815-CE4B1A3B4202}"/>
              </a:ext>
            </a:extLst>
          </p:cNvPr>
          <p:cNvSpPr>
            <a:spLocks noGrp="1"/>
          </p:cNvSpPr>
          <p:nvPr>
            <p:custDataLst>
              <p:tags r:id="rId111"/>
            </p:custDataLst>
          </p:nvPr>
        </p:nvSpPr>
        <p:spPr bwMode="gray">
          <a:xfrm>
            <a:off x="8223250" y="5364163"/>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9AC29AE-7EAE-40D6-A0CA-EF22E50520A3}" type="datetime'1''''''''''''''''''''''''''''''''''''''''''''''9''%'''''">
              <a:rPr lang="en-US" altLang="en-US" sz="1000" smtClean="0">
                <a:solidFill>
                  <a:schemeClr val="bg1"/>
                </a:solidFill>
              </a:rPr>
              <a:pPr/>
              <a:t>19%</a:t>
            </a:fld>
            <a:endParaRPr lang="ja-JP" altLang="en-US" sz="1000" dirty="0">
              <a:solidFill>
                <a:schemeClr val="bg1"/>
              </a:solidFill>
            </a:endParaRPr>
          </a:p>
        </p:txBody>
      </p:sp>
      <p:sp>
        <p:nvSpPr>
          <p:cNvPr id="292" name="テキスト プレースホルダ 9">
            <a:extLst>
              <a:ext uri="{FF2B5EF4-FFF2-40B4-BE49-F238E27FC236}">
                <a16:creationId xmlns:a16="http://schemas.microsoft.com/office/drawing/2014/main" id="{D885E0E8-499D-4675-9D5B-506BA18E28B1}"/>
              </a:ext>
            </a:extLst>
          </p:cNvPr>
          <p:cNvSpPr>
            <a:spLocks noGrp="1"/>
          </p:cNvSpPr>
          <p:nvPr>
            <p:custDataLst>
              <p:tags r:id="rId112"/>
            </p:custDataLst>
          </p:nvPr>
        </p:nvSpPr>
        <p:spPr bwMode="gray">
          <a:xfrm>
            <a:off x="8223250" y="5543550"/>
            <a:ext cx="287338" cy="152400"/>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889549B-5FB2-4C4F-9754-B77DF7747931}" type="datetime'''30''''''''''%'">
              <a:rPr lang="en-US" altLang="en-US" sz="1000" smtClean="0"/>
              <a:pPr/>
              <a:t>30%</a:t>
            </a:fld>
            <a:endParaRPr lang="ja-JP" altLang="en-US" sz="1000" dirty="0"/>
          </a:p>
        </p:txBody>
      </p:sp>
      <p:sp>
        <p:nvSpPr>
          <p:cNvPr id="283" name="テキスト プレースホルダ 9">
            <a:extLst>
              <a:ext uri="{FF2B5EF4-FFF2-40B4-BE49-F238E27FC236}">
                <a16:creationId xmlns:a16="http://schemas.microsoft.com/office/drawing/2014/main" id="{0C99E4FD-A751-42FF-A46E-2E0C1AA9D7CB}"/>
              </a:ext>
            </a:extLst>
          </p:cNvPr>
          <p:cNvSpPr>
            <a:spLocks noGrp="1"/>
          </p:cNvSpPr>
          <p:nvPr>
            <p:custDataLst>
              <p:tags r:id="rId113"/>
            </p:custDataLst>
          </p:nvPr>
        </p:nvSpPr>
        <p:spPr bwMode="auto">
          <a:xfrm>
            <a:off x="8220075" y="6151563"/>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DA3ED4-D300-4992-85C7-3A2CF8D984A1}" type="datetime'2''01''''''''''''''''''''9'''''''''''">
              <a:rPr lang="ja-JP" altLang="en-US" sz="1000" smtClean="0"/>
              <a:pPr/>
              <a:t>2019</a:t>
            </a:fld>
            <a:endParaRPr lang="ja-JP" altLang="en-US" sz="1000" dirty="0"/>
          </a:p>
        </p:txBody>
      </p:sp>
      <p:sp>
        <p:nvSpPr>
          <p:cNvPr id="285" name="テキスト プレースホルダ 9">
            <a:extLst>
              <a:ext uri="{FF2B5EF4-FFF2-40B4-BE49-F238E27FC236}">
                <a16:creationId xmlns:a16="http://schemas.microsoft.com/office/drawing/2014/main" id="{D0373BBF-93D5-4321-9BB0-5A00B060C8B5}"/>
              </a:ext>
            </a:extLst>
          </p:cNvPr>
          <p:cNvSpPr>
            <a:spLocks noGrp="1"/>
          </p:cNvSpPr>
          <p:nvPr>
            <p:custDataLst>
              <p:tags r:id="rId114"/>
            </p:custDataLst>
          </p:nvPr>
        </p:nvSpPr>
        <p:spPr bwMode="auto">
          <a:xfrm>
            <a:off x="8612188" y="5353050"/>
            <a:ext cx="5429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68EB76A-6872-4B8D-90E0-9ABAD96902C6}" type="datetime'''''''''''''''''''''''交''''''''''''''''''''通事''故'''''''''''">
              <a:rPr lang="ja-JP" altLang="en-US" sz="1000" smtClean="0"/>
              <a:pPr/>
              <a:t>交通事故</a:t>
            </a:fld>
            <a:r>
              <a:rPr lang="en-US" altLang="ja-JP" sz="1000" dirty="0"/>
              <a:t> </a:t>
            </a:r>
            <a:endParaRPr lang="ja-JP" altLang="en-US" sz="1000" dirty="0"/>
          </a:p>
        </p:txBody>
      </p:sp>
      <p:sp>
        <p:nvSpPr>
          <p:cNvPr id="287" name="テキスト プレースホルダ 9">
            <a:extLst>
              <a:ext uri="{FF2B5EF4-FFF2-40B4-BE49-F238E27FC236}">
                <a16:creationId xmlns:a16="http://schemas.microsoft.com/office/drawing/2014/main" id="{FF6E8F3B-225D-4BE7-A541-F4A4D551199F}"/>
              </a:ext>
            </a:extLst>
          </p:cNvPr>
          <p:cNvSpPr>
            <a:spLocks noGrp="1"/>
          </p:cNvSpPr>
          <p:nvPr>
            <p:custDataLst>
              <p:tags r:id="rId115"/>
            </p:custDataLst>
          </p:nvPr>
        </p:nvSpPr>
        <p:spPr bwMode="auto">
          <a:xfrm>
            <a:off x="8612188" y="5843588"/>
            <a:ext cx="9731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D1D212D-EDCA-4819-8953-06FB480EE8A4}" type="datetime'''''''自''傷''''''''''''''''''''、''''''''個人''間''''暴''力'''''''">
              <a:rPr lang="zh-TW" altLang="en-US" sz="1000" smtClean="0"/>
              <a:pPr/>
              <a:t>自傷、個人間暴力</a:t>
            </a:fld>
            <a:endParaRPr lang="ja-JP" altLang="en-US" sz="1000" dirty="0"/>
          </a:p>
        </p:txBody>
      </p:sp>
      <p:sp>
        <p:nvSpPr>
          <p:cNvPr id="303" name="テキスト プレースホルダ 9">
            <a:extLst>
              <a:ext uri="{FF2B5EF4-FFF2-40B4-BE49-F238E27FC236}">
                <a16:creationId xmlns:a16="http://schemas.microsoft.com/office/drawing/2014/main" id="{A8431747-31F6-45A9-9CF8-BCB41ABF49D6}"/>
              </a:ext>
            </a:extLst>
          </p:cNvPr>
          <p:cNvSpPr>
            <a:spLocks noGrp="1"/>
          </p:cNvSpPr>
          <p:nvPr>
            <p:custDataLst>
              <p:tags r:id="rId116"/>
            </p:custDataLst>
          </p:nvPr>
        </p:nvSpPr>
        <p:spPr bwMode="gray">
          <a:xfrm>
            <a:off x="7675563" y="512286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A7AA047-9ABE-471A-A03A-31DA9DDC4833}" type="datetime'''''1'',''''''''''''''''''0''''4''7'''''''''">
              <a:rPr lang="ja-JP" altLang="en-US" sz="1000" smtClean="0"/>
              <a:pPr/>
              <a:t>1,047</a:t>
            </a:fld>
            <a:endParaRPr lang="ja-JP" altLang="en-US" sz="1000" dirty="0"/>
          </a:p>
        </p:txBody>
      </p:sp>
      <p:sp>
        <p:nvSpPr>
          <p:cNvPr id="298" name="テキスト プレースホルダ 9">
            <a:extLst>
              <a:ext uri="{FF2B5EF4-FFF2-40B4-BE49-F238E27FC236}">
                <a16:creationId xmlns:a16="http://schemas.microsoft.com/office/drawing/2014/main" id="{238AA7B9-F792-4A4F-B56C-046D9F60341C}"/>
              </a:ext>
            </a:extLst>
          </p:cNvPr>
          <p:cNvSpPr>
            <a:spLocks noGrp="1"/>
          </p:cNvSpPr>
          <p:nvPr>
            <p:custDataLst>
              <p:tags r:id="rId117"/>
            </p:custDataLst>
          </p:nvPr>
        </p:nvSpPr>
        <p:spPr bwMode="gray">
          <a:xfrm>
            <a:off x="8243888" y="519430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91AEEF7-6F12-4365-92A3-8C16B85516D0}" type="datetime'''''''''''95''5'''''''''''''''''''''''''''''''''''''''">
              <a:rPr lang="ja-JP" altLang="en-US" sz="1000" smtClean="0"/>
              <a:pPr/>
              <a:t>955</a:t>
            </a:fld>
            <a:endParaRPr lang="ja-JP" altLang="en-US" sz="1000" dirty="0"/>
          </a:p>
        </p:txBody>
      </p:sp>
      <p:sp>
        <p:nvSpPr>
          <p:cNvPr id="304" name="テキスト プレースホルダ 9">
            <a:extLst>
              <a:ext uri="{FF2B5EF4-FFF2-40B4-BE49-F238E27FC236}">
                <a16:creationId xmlns:a16="http://schemas.microsoft.com/office/drawing/2014/main" id="{7AA0F8B5-01D3-4103-9E4A-112957C7956A}"/>
              </a:ext>
            </a:extLst>
          </p:cNvPr>
          <p:cNvSpPr>
            <a:spLocks noGrp="1"/>
          </p:cNvSpPr>
          <p:nvPr>
            <p:custDataLst>
              <p:tags r:id="rId118"/>
            </p:custDataLst>
          </p:nvPr>
        </p:nvSpPr>
        <p:spPr bwMode="auto">
          <a:xfrm>
            <a:off x="7924800" y="4805363"/>
            <a:ext cx="366713" cy="21590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ja-JP" sz="1000" b="1" dirty="0"/>
              <a:t>X0.9</a:t>
            </a:r>
            <a:endParaRPr lang="ja-JP" altLang="en-US" sz="1000" b="1" dirty="0"/>
          </a:p>
        </p:txBody>
      </p:sp>
      <p:sp>
        <p:nvSpPr>
          <p:cNvPr id="330" name="TextBox 329">
            <a:extLst>
              <a:ext uri="{FF2B5EF4-FFF2-40B4-BE49-F238E27FC236}">
                <a16:creationId xmlns:a16="http://schemas.microsoft.com/office/drawing/2014/main" id="{6919D52D-DAEC-4355-95A8-9AD0E66E9565}"/>
              </a:ext>
            </a:extLst>
          </p:cNvPr>
          <p:cNvSpPr txBox="1"/>
          <p:nvPr/>
        </p:nvSpPr>
        <p:spPr>
          <a:xfrm>
            <a:off x="331788" y="2274060"/>
            <a:ext cx="35639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000" dirty="0"/>
              <a:t>感染症および妊産婦、新生児、栄養にかかわる疾病</a:t>
            </a:r>
          </a:p>
        </p:txBody>
      </p:sp>
      <p:sp>
        <p:nvSpPr>
          <p:cNvPr id="331" name="TextBox 330">
            <a:extLst>
              <a:ext uri="{FF2B5EF4-FFF2-40B4-BE49-F238E27FC236}">
                <a16:creationId xmlns:a16="http://schemas.microsoft.com/office/drawing/2014/main" id="{69AE535F-724A-4041-84F9-6E5685A0D72F}"/>
              </a:ext>
            </a:extLst>
          </p:cNvPr>
          <p:cNvSpPr txBox="1"/>
          <p:nvPr/>
        </p:nvSpPr>
        <p:spPr>
          <a:xfrm>
            <a:off x="4030663" y="2316005"/>
            <a:ext cx="1139825"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000" dirty="0"/>
              <a:t>非感染症</a:t>
            </a:r>
          </a:p>
        </p:txBody>
      </p:sp>
      <p:sp>
        <p:nvSpPr>
          <p:cNvPr id="332" name="TextBox 331">
            <a:extLst>
              <a:ext uri="{FF2B5EF4-FFF2-40B4-BE49-F238E27FC236}">
                <a16:creationId xmlns:a16="http://schemas.microsoft.com/office/drawing/2014/main" id="{21FB4B3E-22CC-46E2-83D0-A667C5A98214}"/>
              </a:ext>
            </a:extLst>
          </p:cNvPr>
          <p:cNvSpPr txBox="1"/>
          <p:nvPr/>
        </p:nvSpPr>
        <p:spPr>
          <a:xfrm>
            <a:off x="7662863" y="2330580"/>
            <a:ext cx="11382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000" dirty="0"/>
              <a:t>事故等</a:t>
            </a:r>
          </a:p>
        </p:txBody>
      </p:sp>
      <p:cxnSp>
        <p:nvCxnSpPr>
          <p:cNvPr id="334" name="Straight Connector 333">
            <a:extLst>
              <a:ext uri="{FF2B5EF4-FFF2-40B4-BE49-F238E27FC236}">
                <a16:creationId xmlns:a16="http://schemas.microsoft.com/office/drawing/2014/main" id="{366455A8-4C32-48FE-8385-ECD1577246F4}"/>
              </a:ext>
            </a:extLst>
          </p:cNvPr>
          <p:cNvCxnSpPr/>
          <p:nvPr/>
        </p:nvCxnSpPr>
        <p:spPr>
          <a:xfrm>
            <a:off x="422275" y="2548521"/>
            <a:ext cx="35956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5" name="Straight Connector 334">
            <a:extLst>
              <a:ext uri="{FF2B5EF4-FFF2-40B4-BE49-F238E27FC236}">
                <a16:creationId xmlns:a16="http://schemas.microsoft.com/office/drawing/2014/main" id="{5F6569D0-5968-4A0D-99F3-0D9787F584CF}"/>
              </a:ext>
            </a:extLst>
          </p:cNvPr>
          <p:cNvCxnSpPr/>
          <p:nvPr/>
        </p:nvCxnSpPr>
        <p:spPr>
          <a:xfrm>
            <a:off x="4090988" y="2549893"/>
            <a:ext cx="359568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0" name="Straight Connector 339">
            <a:extLst>
              <a:ext uri="{FF2B5EF4-FFF2-40B4-BE49-F238E27FC236}">
                <a16:creationId xmlns:a16="http://schemas.microsoft.com/office/drawing/2014/main" id="{003D930C-03FB-4FC4-805D-7068D67608BC}"/>
              </a:ext>
            </a:extLst>
          </p:cNvPr>
          <p:cNvCxnSpPr>
            <a:cxnSpLocks/>
          </p:cNvCxnSpPr>
          <p:nvPr/>
        </p:nvCxnSpPr>
        <p:spPr>
          <a:xfrm>
            <a:off x="7745413" y="2538965"/>
            <a:ext cx="17526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46" name="TextBox 345">
            <a:extLst>
              <a:ext uri="{FF2B5EF4-FFF2-40B4-BE49-F238E27FC236}">
                <a16:creationId xmlns:a16="http://schemas.microsoft.com/office/drawing/2014/main" id="{3865EB3A-4E24-41F0-8562-860951DAA989}"/>
              </a:ext>
            </a:extLst>
          </p:cNvPr>
          <p:cNvSpPr txBox="1"/>
          <p:nvPr/>
        </p:nvSpPr>
        <p:spPr>
          <a:xfrm>
            <a:off x="9514682" y="5458304"/>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1.8</a:t>
            </a:r>
            <a:endParaRPr lang="ja-JP" altLang="en-US" sz="1000" dirty="0"/>
          </a:p>
        </p:txBody>
      </p:sp>
      <p:sp>
        <p:nvSpPr>
          <p:cNvPr id="347" name="TextBox 346">
            <a:extLst>
              <a:ext uri="{FF2B5EF4-FFF2-40B4-BE49-F238E27FC236}">
                <a16:creationId xmlns:a16="http://schemas.microsoft.com/office/drawing/2014/main" id="{0817A0B0-8D50-463B-8B53-0F62FDE66FC2}"/>
              </a:ext>
            </a:extLst>
          </p:cNvPr>
          <p:cNvSpPr txBox="1"/>
          <p:nvPr/>
        </p:nvSpPr>
        <p:spPr>
          <a:xfrm>
            <a:off x="9514682" y="5785487"/>
            <a:ext cx="5921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2.9</a:t>
            </a:r>
            <a:endParaRPr lang="ja-JP" altLang="en-US" sz="1000" dirty="0"/>
          </a:p>
        </p:txBody>
      </p:sp>
      <p:sp>
        <p:nvSpPr>
          <p:cNvPr id="348" name="TextBox 347">
            <a:extLst>
              <a:ext uri="{FF2B5EF4-FFF2-40B4-BE49-F238E27FC236}">
                <a16:creationId xmlns:a16="http://schemas.microsoft.com/office/drawing/2014/main" id="{D0987074-FAEE-4D6C-98A2-7FE7A6AD70B4}"/>
              </a:ext>
            </a:extLst>
          </p:cNvPr>
          <p:cNvSpPr txBox="1"/>
          <p:nvPr/>
        </p:nvSpPr>
        <p:spPr>
          <a:xfrm>
            <a:off x="9522619" y="5217876"/>
            <a:ext cx="59848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x 2.3</a:t>
            </a:r>
            <a:endParaRPr lang="ja-JP" altLang="en-US" sz="1000" dirty="0"/>
          </a:p>
        </p:txBody>
      </p:sp>
      <p:sp>
        <p:nvSpPr>
          <p:cNvPr id="153" name="TextBox 152">
            <a:extLst>
              <a:ext uri="{FF2B5EF4-FFF2-40B4-BE49-F238E27FC236}">
                <a16:creationId xmlns:a16="http://schemas.microsoft.com/office/drawing/2014/main" id="{6F2377A5-589B-4FEB-BD6A-0EA384EE0FB0}"/>
              </a:ext>
            </a:extLst>
          </p:cNvPr>
          <p:cNvSpPr txBox="1"/>
          <p:nvPr/>
        </p:nvSpPr>
        <p:spPr>
          <a:xfrm>
            <a:off x="8807796" y="4378137"/>
            <a:ext cx="1139825" cy="400110"/>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000" dirty="0"/>
              <a:t>1990</a:t>
            </a:r>
            <a:r>
              <a:rPr lang="ja-JP" altLang="en-US" sz="1000" dirty="0"/>
              <a:t>年から</a:t>
            </a:r>
            <a:r>
              <a:rPr lang="en-US" altLang="ja-JP" sz="1000" dirty="0"/>
              <a:t>2019</a:t>
            </a:r>
            <a:r>
              <a:rPr lang="ja-JP" altLang="en-US" sz="1000" dirty="0"/>
              <a:t>年の変化</a:t>
            </a:r>
          </a:p>
        </p:txBody>
      </p:sp>
    </p:spTree>
    <p:extLst>
      <p:ext uri="{BB962C8B-B14F-4D97-AF65-F5344CB8AC3E}">
        <p14:creationId xmlns:p14="http://schemas.microsoft.com/office/powerpoint/2010/main" val="11949739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77D802-6F91-4C08-B3ED-E4C872B8D9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473" imgH="473" progId="TCLayout.ActiveDocument.1">
                  <p:embed/>
                </p:oleObj>
              </mc:Choice>
              <mc:Fallback>
                <p:oleObj name="think-cell Slide" r:id="rId5" imgW="473" imgH="473" progId="TCLayout.ActiveDocument.1">
                  <p:embed/>
                  <p:pic>
                    <p:nvPicPr>
                      <p:cNvPr id="2" name="Object 1" hidden="1">
                        <a:extLst>
                          <a:ext uri="{FF2B5EF4-FFF2-40B4-BE49-F238E27FC236}">
                            <a16:creationId xmlns:a16="http://schemas.microsoft.com/office/drawing/2014/main" id="{7277D802-6F91-4C08-B3ED-E4C872B8D92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a:t>目次（</a:t>
            </a:r>
            <a:r>
              <a:rPr lang="en-US" altLang="ja-JP" dirty="0"/>
              <a:t>1/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2463602545"/>
              </p:ext>
            </p:extLst>
          </p:nvPr>
        </p:nvGraphicFramePr>
        <p:xfrm>
          <a:off x="200472" y="1152000"/>
          <a:ext cx="4500048" cy="3536877"/>
        </p:xfrm>
        <a:graphic>
          <a:graphicData uri="http://schemas.openxmlformats.org/drawingml/2006/table">
            <a:tbl>
              <a:tblPr firstRow="1" bandRow="1">
                <a:tableStyleId>{5940675A-B579-460E-94D1-54222C63F5DA}</a:tableStyleId>
              </a:tblPr>
              <a:tblGrid>
                <a:gridCol w="216024">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0">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25414486"/>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都市化率</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en-US" altLang="ja-JP" sz="1050" dirty="0"/>
                        <a:t>GDP</a:t>
                      </a:r>
                      <a:r>
                        <a:rPr lang="ja-JP" altLang="en-US" sz="1050" dirty="0"/>
                        <a:t>、</a:t>
                      </a:r>
                      <a:r>
                        <a:rPr lang="en-US" altLang="ja-JP" sz="1050" dirty="0"/>
                        <a:t>GDP</a:t>
                      </a:r>
                      <a:r>
                        <a:rPr lang="ja-JP" altLang="en-US" sz="1050" dirty="0"/>
                        <a:t>成長率、一人当たり</a:t>
                      </a:r>
                      <a:r>
                        <a:rPr lang="en-US" altLang="ja-JP" sz="1050" dirty="0"/>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インフレ率・為替レー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1249794"/>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09128621"/>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国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15274734"/>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会社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12828682"/>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為替管理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85377313"/>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60053713"/>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外資優遇措置</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54080610"/>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51740917"/>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103801631"/>
              </p:ext>
            </p:extLst>
          </p:nvPr>
        </p:nvGraphicFramePr>
        <p:xfrm>
          <a:off x="5205528" y="1152000"/>
          <a:ext cx="4500000" cy="5297029"/>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12297">
                <a:tc gridSpan="3">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200" kern="1200" dirty="0">
                          <a:solidFill>
                            <a:schemeClr val="tx1"/>
                          </a:solidFill>
                          <a:latin typeface="HGP創英角ｺﾞｼｯｸUB" panose="020B0900000000000000" pitchFamily="50" charset="-128"/>
                          <a:ea typeface="HGP創英角ｺﾞｼｯｸUB" panose="020B0900000000000000" pitchFamily="50" charset="-128"/>
                          <a:cs typeface="+mn-cs"/>
                        </a:rPr>
                        <a:t>医療関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67162808"/>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公衆衛生</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09581485"/>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健康水準および医療水準</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1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02884749"/>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医療費支出額</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1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06253924"/>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1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22982416"/>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1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15891510"/>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医療機関 </a:t>
                      </a:r>
                      <a:r>
                        <a:rPr lang="en-US" altLang="ja-JP" sz="1050" dirty="0"/>
                        <a:t>- </a:t>
                      </a:r>
                      <a:r>
                        <a:rPr lang="ja-JP" altLang="en-US" sz="1050" dirty="0"/>
                        <a:t>医療機関区分と施設数の推移</a:t>
                      </a:r>
                      <a:endParaRPr lang="en-US" altLang="ja-JP" sz="1050" dirty="0"/>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1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77514102"/>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医療機関 </a:t>
                      </a:r>
                      <a:r>
                        <a:rPr lang="en-US" altLang="ja-JP" sz="1050" dirty="0"/>
                        <a:t>- </a:t>
                      </a:r>
                      <a:r>
                        <a:rPr lang="ja-JP" altLang="en-US" sz="1050" dirty="0"/>
                        <a:t>主な公的および民間医療機関</a:t>
                      </a:r>
                      <a:endParaRPr lang="en-US" altLang="ja-JP" sz="1050" dirty="0"/>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77718332"/>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医療従事者</a:t>
                      </a:r>
                    </a:p>
                  </a:txBody>
                  <a:tcPr marL="36000" marR="36000" marT="36000" marB="360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現地の臨床工学技士や理学療法士などの資格の有無</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9337422"/>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spcBef>
                          <a:spcPts val="0"/>
                        </a:spcBef>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23669112"/>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spcBef>
                          <a:spcPts val="0"/>
                        </a:spcBef>
                      </a:pPr>
                      <a:r>
                        <a:rPr kumimoji="1" lang="ja-JP" altLang="en-US" sz="1050" dirty="0">
                          <a:solidFill>
                            <a:schemeClr val="tx1"/>
                          </a:solidFill>
                          <a:latin typeface="+mn-lt"/>
                          <a:ea typeface="+mj-ea"/>
                        </a:rPr>
                        <a:t>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公的保険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民間保険制度</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保健に関する制度・行政体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90000"/>
                        </a:lnSpc>
                      </a:pPr>
                      <a:r>
                        <a:rPr kumimoji="1" lang="ja-JP" altLang="en-US" sz="1050" kern="1200" dirty="0">
                          <a:solidFill>
                            <a:schemeClr val="tx1"/>
                          </a:solidFill>
                          <a:latin typeface="+mn-lt"/>
                          <a:ea typeface="+mn-ea"/>
                          <a:cs typeface="+mn-cs"/>
                        </a:rPr>
                        <a:t>医療機器に対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kern="1200" dirty="0">
                          <a:solidFill>
                            <a:schemeClr val="tx1"/>
                          </a:solidFill>
                          <a:latin typeface="+mn-lt"/>
                          <a:ea typeface="+mn-ea"/>
                          <a:cs typeface="+mn-cs"/>
                        </a:rPr>
                        <a:t>医薬品に対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kern="1200" dirty="0">
                          <a:solidFill>
                            <a:schemeClr val="tx1"/>
                          </a:solidFill>
                          <a:latin typeface="+mn-lt"/>
                          <a:ea typeface="+mn-ea"/>
                          <a:cs typeface="+mn-cs"/>
                        </a:rPr>
                        <a:t>臨床試験に関する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t>医療情報・個人情報保護に関する法規制</a:t>
                      </a: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3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65386">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t>医療現場で使用される言語に関する情報</a:t>
                      </a: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3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9657558"/>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ライセンス・教育水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3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5814639"/>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医師の社会的地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3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1619147"/>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外国人医師のライセン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3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4566603"/>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76792745"/>
                  </a:ext>
                </a:extLst>
              </a:tr>
            </a:tbl>
          </a:graphicData>
        </a:graphic>
      </p:graphicFrame>
      <p:cxnSp>
        <p:nvCxnSpPr>
          <p:cNvPr id="9" name="Straight Connector 8">
            <a:extLst>
              <a:ext uri="{FF2B5EF4-FFF2-40B4-BE49-F238E27FC236}">
                <a16:creationId xmlns:a16="http://schemas.microsoft.com/office/drawing/2014/main" id="{CB446258-9FDF-4541-ABF8-9B39F2185500}"/>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61739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FED1A8-8482-4AD4-9B8A-27671E02868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2BFED1A8-8482-4AD4-9B8A-27671E02868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公衆衛生</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dirty="0"/>
              <a:t>医療機関区分と施設数の推移</a:t>
            </a:r>
            <a:endParaRPr lang="en-US" altLang="ja-JP" dirty="0"/>
          </a:p>
        </p:txBody>
      </p:sp>
      <p:sp>
        <p:nvSpPr>
          <p:cNvPr id="25" name="テキスト ボックス 24"/>
          <p:cNvSpPr txBox="1"/>
          <p:nvPr/>
        </p:nvSpPr>
        <p:spPr>
          <a:xfrm>
            <a:off x="200472" y="1124744"/>
            <a:ext cx="9126408"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のプライマリケアは主に民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勤めるクリニックと公営のポリクリニックが担っ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近年、病院の数に大きな変化はない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営業停止措置となった私立急性期病院が医療体制を整えて営業を再開したため、急性期病院の数は現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戻っている。</a:t>
            </a:r>
          </a:p>
        </p:txBody>
      </p:sp>
      <p:grpSp>
        <p:nvGrpSpPr>
          <p:cNvPr id="26" name="グループ化 7"/>
          <p:cNvGrpSpPr/>
          <p:nvPr/>
        </p:nvGrpSpPr>
        <p:grpSpPr>
          <a:xfrm>
            <a:off x="200025" y="2129593"/>
            <a:ext cx="9289030" cy="288032"/>
            <a:chOff x="4803500" y="2185814"/>
            <a:chExt cx="5626916" cy="288032"/>
          </a:xfrm>
        </p:grpSpPr>
        <p:cxnSp>
          <p:nvCxnSpPr>
            <p:cNvPr id="27" name="直線コネクタ 2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85814"/>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機能による医療機関の分類</a:t>
              </a:r>
              <a:endParaRPr lang="en-US" altLang="ko-KR" sz="1400" dirty="0">
                <a:solidFill>
                  <a:srgbClr val="000000"/>
                </a:solidFill>
                <a:latin typeface="Arial Black" pitchFamily="34" charset="0"/>
                <a:ea typeface="HGP創英角ｺﾞｼｯｸUB" pitchFamily="50" charset="-128"/>
              </a:endParaRPr>
            </a:p>
          </p:txBody>
        </p:sp>
      </p:grpSp>
      <p:sp>
        <p:nvSpPr>
          <p:cNvPr id="29" name="テキスト ボックス 28"/>
          <p:cNvSpPr txBox="1"/>
          <p:nvPr/>
        </p:nvSpPr>
        <p:spPr>
          <a:xfrm>
            <a:off x="200025" y="6543668"/>
            <a:ext cx="9289032" cy="216661"/>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シンガポール保健省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www.moh.gov.sg/resources-statistics/singapore-health-facts/health-facilities</a:t>
            </a:r>
            <a:endParaRPr lang="ja-JP" altLang="ja-JP" sz="800" dirty="0"/>
          </a:p>
        </p:txBody>
      </p:sp>
      <p:graphicFrame>
        <p:nvGraphicFramePr>
          <p:cNvPr id="13" name="Object 12">
            <a:extLst>
              <a:ext uri="{FF2B5EF4-FFF2-40B4-BE49-F238E27FC236}">
                <a16:creationId xmlns:a16="http://schemas.microsoft.com/office/drawing/2014/main" id="{AFFC6ACC-C8DB-432D-9396-87496360F8B6}"/>
              </a:ext>
            </a:extLst>
          </p:cNvPr>
          <p:cNvGraphicFramePr>
            <a:graphicFrameLocks noChangeAspect="1"/>
          </p:cNvGraphicFramePr>
          <p:nvPr>
            <p:extLst>
              <p:ext uri="{D42A27DB-BD31-4B8C-83A1-F6EECF244321}">
                <p14:modId xmlns:p14="http://schemas.microsoft.com/office/powerpoint/2010/main" val="1865418919"/>
              </p:ext>
            </p:extLst>
          </p:nvPr>
        </p:nvGraphicFramePr>
        <p:xfrm>
          <a:off x="11289704" y="1988840"/>
          <a:ext cx="6699250" cy="3473450"/>
        </p:xfrm>
        <a:graphic>
          <a:graphicData uri="http://schemas.openxmlformats.org/presentationml/2006/ole">
            <mc:AlternateContent xmlns:mc="http://schemas.openxmlformats.org/markup-compatibility/2006">
              <mc:Choice xmlns:v="urn:schemas-microsoft-com:vml" Requires="v">
                <p:oleObj spid="_x0000_s19459" name="Worksheet" r:id="rId7" imgW="6699287" imgH="3473399" progId="Excel.Sheet.12">
                  <p:embed/>
                </p:oleObj>
              </mc:Choice>
              <mc:Fallback>
                <p:oleObj name="Worksheet" r:id="rId7" imgW="6699287" imgH="3473399" progId="Excel.Sheet.12">
                  <p:embed/>
                  <p:pic>
                    <p:nvPicPr>
                      <p:cNvPr id="13" name="Object 12">
                        <a:extLst>
                          <a:ext uri="{FF2B5EF4-FFF2-40B4-BE49-F238E27FC236}">
                            <a16:creationId xmlns:a16="http://schemas.microsoft.com/office/drawing/2014/main" id="{AFFC6ACC-C8DB-432D-9396-87496360F8B6}"/>
                          </a:ext>
                        </a:extLst>
                      </p:cNvPr>
                      <p:cNvPicPr/>
                      <p:nvPr/>
                    </p:nvPicPr>
                    <p:blipFill>
                      <a:blip r:embed="rId8"/>
                      <a:stretch>
                        <a:fillRect/>
                      </a:stretch>
                    </p:blipFill>
                    <p:spPr>
                      <a:xfrm>
                        <a:off x="11289704" y="1988840"/>
                        <a:ext cx="6699250" cy="3473450"/>
                      </a:xfrm>
                      <a:prstGeom prst="rect">
                        <a:avLst/>
                      </a:prstGeom>
                    </p:spPr>
                  </p:pic>
                </p:oleObj>
              </mc:Fallback>
            </mc:AlternateContent>
          </a:graphicData>
        </a:graphic>
      </p:graphicFrame>
      <p:sp>
        <p:nvSpPr>
          <p:cNvPr id="12" name="4. Footnote">
            <a:extLst>
              <a:ext uri="{FF2B5EF4-FFF2-40B4-BE49-F238E27FC236}">
                <a16:creationId xmlns:a16="http://schemas.microsoft.com/office/drawing/2014/main" id="{9ED35F9E-599A-4949-96E3-0A99BC468BBA}"/>
              </a:ext>
            </a:extLst>
          </p:cNvPr>
          <p:cNvSpPr txBox="1"/>
          <p:nvPr>
            <p:custDataLst>
              <p:tags r:id="rId3"/>
            </p:custDataLst>
          </p:nvPr>
        </p:nvSpPr>
        <p:spPr>
          <a:xfrm>
            <a:off x="200025" y="6383278"/>
            <a:ext cx="6485736" cy="123111"/>
          </a:xfrm>
          <a:prstGeom prst="rect">
            <a:avLst/>
          </a:prstGeom>
          <a:noFill/>
        </p:spPr>
        <p:txBody>
          <a:bodyPr vert="horz" wrap="square" lIns="0" tIns="0" rIns="0" bIns="0" rtlCol="0" anchor="b" anchorCtr="0">
            <a:spAutoFit/>
          </a:bodyPr>
          <a:lstStyle/>
          <a:p>
            <a:pPr marL="203200" indent="-21272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Restructure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ospital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とも呼ばれ、国が</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所有する私企業として運営されている</a:t>
            </a:r>
            <a:endParaRPr kumimoji="1" lang="en-CA"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Table 4">
            <a:extLst>
              <a:ext uri="{FF2B5EF4-FFF2-40B4-BE49-F238E27FC236}">
                <a16:creationId xmlns:a16="http://schemas.microsoft.com/office/drawing/2014/main" id="{58FD6E81-03C6-475B-803C-0D0AC9318612}"/>
              </a:ext>
            </a:extLst>
          </p:cNvPr>
          <p:cNvGraphicFramePr>
            <a:graphicFrameLocks noGrp="1"/>
          </p:cNvGraphicFramePr>
          <p:nvPr>
            <p:extLst>
              <p:ext uri="{D42A27DB-BD31-4B8C-83A1-F6EECF244321}">
                <p14:modId xmlns:p14="http://schemas.microsoft.com/office/powerpoint/2010/main" val="1542803133"/>
              </p:ext>
            </p:extLst>
          </p:nvPr>
        </p:nvGraphicFramePr>
        <p:xfrm>
          <a:off x="416496" y="2706188"/>
          <a:ext cx="8352930" cy="3282950"/>
        </p:xfrm>
        <a:graphic>
          <a:graphicData uri="http://schemas.openxmlformats.org/drawingml/2006/table">
            <a:tbl>
              <a:tblPr>
                <a:tableStyleId>{5C22544A-7EE6-4342-B048-85BDC9FD1C3A}</a:tableStyleId>
              </a:tblPr>
              <a:tblGrid>
                <a:gridCol w="1683170">
                  <a:extLst>
                    <a:ext uri="{9D8B030D-6E8A-4147-A177-3AD203B41FA5}">
                      <a16:colId xmlns:a16="http://schemas.microsoft.com/office/drawing/2014/main" val="4111482137"/>
                    </a:ext>
                  </a:extLst>
                </a:gridCol>
                <a:gridCol w="833720">
                  <a:extLst>
                    <a:ext uri="{9D8B030D-6E8A-4147-A177-3AD203B41FA5}">
                      <a16:colId xmlns:a16="http://schemas.microsoft.com/office/drawing/2014/main" val="1490750048"/>
                    </a:ext>
                  </a:extLst>
                </a:gridCol>
                <a:gridCol w="833720">
                  <a:extLst>
                    <a:ext uri="{9D8B030D-6E8A-4147-A177-3AD203B41FA5}">
                      <a16:colId xmlns:a16="http://schemas.microsoft.com/office/drawing/2014/main" val="3637699251"/>
                    </a:ext>
                  </a:extLst>
                </a:gridCol>
                <a:gridCol w="833720">
                  <a:extLst>
                    <a:ext uri="{9D8B030D-6E8A-4147-A177-3AD203B41FA5}">
                      <a16:colId xmlns:a16="http://schemas.microsoft.com/office/drawing/2014/main" val="4096824569"/>
                    </a:ext>
                  </a:extLst>
                </a:gridCol>
                <a:gridCol w="833720">
                  <a:extLst>
                    <a:ext uri="{9D8B030D-6E8A-4147-A177-3AD203B41FA5}">
                      <a16:colId xmlns:a16="http://schemas.microsoft.com/office/drawing/2014/main" val="3018956166"/>
                    </a:ext>
                  </a:extLst>
                </a:gridCol>
                <a:gridCol w="833720">
                  <a:extLst>
                    <a:ext uri="{9D8B030D-6E8A-4147-A177-3AD203B41FA5}">
                      <a16:colId xmlns:a16="http://schemas.microsoft.com/office/drawing/2014/main" val="1886476444"/>
                    </a:ext>
                  </a:extLst>
                </a:gridCol>
                <a:gridCol w="833720">
                  <a:extLst>
                    <a:ext uri="{9D8B030D-6E8A-4147-A177-3AD203B41FA5}">
                      <a16:colId xmlns:a16="http://schemas.microsoft.com/office/drawing/2014/main" val="3234927060"/>
                    </a:ext>
                  </a:extLst>
                </a:gridCol>
                <a:gridCol w="833720">
                  <a:extLst>
                    <a:ext uri="{9D8B030D-6E8A-4147-A177-3AD203B41FA5}">
                      <a16:colId xmlns:a16="http://schemas.microsoft.com/office/drawing/2014/main" val="3214330138"/>
                    </a:ext>
                  </a:extLst>
                </a:gridCol>
                <a:gridCol w="833720">
                  <a:extLst>
                    <a:ext uri="{9D8B030D-6E8A-4147-A177-3AD203B41FA5}">
                      <a16:colId xmlns:a16="http://schemas.microsoft.com/office/drawing/2014/main" val="3283424998"/>
                    </a:ext>
                  </a:extLst>
                </a:gridCol>
              </a:tblGrid>
              <a:tr h="190500">
                <a:tc>
                  <a:txBody>
                    <a:bodyPr/>
                    <a:lstStyle/>
                    <a:p>
                      <a:pPr marL="0" algn="l" defTabSz="914400" rtl="0" eaLnBrk="1" fontAlgn="b" latinLnBrk="0" hangingPunct="1"/>
                      <a:endParaRPr kumimoji="1" lang="ja-JP" altLang="en-US" sz="1000" b="1" kern="1200" dirty="0">
                        <a:solidFill>
                          <a:schemeClr val="lt1"/>
                        </a:solidFill>
                        <a:latin typeface="+mn-lt"/>
                        <a:ea typeface="+mn-ea"/>
                        <a:cs typeface="+mn-cs"/>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3D6AA7"/>
                    </a:solidFill>
                  </a:tcPr>
                </a:tc>
                <a:tc gridSpan="7">
                  <a:txBody>
                    <a:bodyPr/>
                    <a:lstStyle/>
                    <a:p>
                      <a:pPr marL="0" algn="l" defTabSz="914400" rtl="0" eaLnBrk="1" fontAlgn="b" latinLnBrk="0" hangingPunct="1"/>
                      <a:r>
                        <a:rPr kumimoji="1" lang="ja-JP" altLang="en-US" sz="1000" b="1" kern="1200" dirty="0">
                          <a:solidFill>
                            <a:schemeClr val="lt1"/>
                          </a:solidFill>
                          <a:latin typeface="+mn-lt"/>
                          <a:ea typeface="+mn-ea"/>
                          <a:cs typeface="+mn-cs"/>
                        </a:rPr>
                        <a:t>　施設数</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3D6AA7"/>
                    </a:solidFill>
                  </a:tcPr>
                </a:tc>
                <a:tc hMerge="1">
                  <a:txBody>
                    <a:bodyPr/>
                    <a:lstStyle/>
                    <a:p>
                      <a:pPr marL="0" algn="l" defTabSz="914400" rtl="0" eaLnBrk="1" fontAlgn="b" latinLnBrk="0" hangingPunct="1"/>
                      <a:endParaRPr kumimoji="1" lang="ja-JP" altLang="en-US" sz="1000" b="1" kern="1200">
                        <a:solidFill>
                          <a:schemeClr val="lt1"/>
                        </a:solidFill>
                        <a:latin typeface="+mn-lt"/>
                        <a:ea typeface="+mn-ea"/>
                        <a:cs typeface="+mn-cs"/>
                      </a:endParaRPr>
                    </a:p>
                  </a:txBody>
                  <a:tcPr marL="6350" marR="6350" marT="6350" marB="0" anchor="b">
                    <a:solidFill>
                      <a:schemeClr val="accent6"/>
                    </a:solidFill>
                  </a:tcPr>
                </a:tc>
                <a:tc hMerge="1">
                  <a:txBody>
                    <a:bodyPr/>
                    <a:lstStyle/>
                    <a:p>
                      <a:pPr marL="0" algn="l" defTabSz="914400" rtl="0" eaLnBrk="1" fontAlgn="b" latinLnBrk="0" hangingPunct="1"/>
                      <a:endParaRPr kumimoji="1" lang="ja-JP" altLang="en-US" sz="1000" b="1" kern="1200" dirty="0">
                        <a:solidFill>
                          <a:schemeClr val="lt1"/>
                        </a:solidFill>
                        <a:latin typeface="+mn-lt"/>
                        <a:ea typeface="+mn-ea"/>
                        <a:cs typeface="+mn-cs"/>
                      </a:endParaRPr>
                    </a:p>
                  </a:txBody>
                  <a:tcPr marL="6350" marR="6350" marT="6350" marB="0" anchor="b">
                    <a:solidFill>
                      <a:schemeClr val="accent6"/>
                    </a:solidFill>
                  </a:tcPr>
                </a:tc>
                <a:tc hMerge="1">
                  <a:txBody>
                    <a:bodyPr/>
                    <a:lstStyle/>
                    <a:p>
                      <a:pPr marL="0" algn="l" defTabSz="914400" rtl="0" eaLnBrk="1" fontAlgn="b" latinLnBrk="0" hangingPunct="1"/>
                      <a:endParaRPr kumimoji="1" lang="ja-JP" altLang="en-US" sz="1000" b="1" kern="1200" dirty="0">
                        <a:solidFill>
                          <a:schemeClr val="lt1"/>
                        </a:solidFill>
                        <a:latin typeface="+mn-lt"/>
                        <a:ea typeface="+mn-ea"/>
                        <a:cs typeface="+mn-cs"/>
                      </a:endParaRPr>
                    </a:p>
                  </a:txBody>
                  <a:tcPr marL="6350" marR="6350" marT="6350" marB="0" anchor="b">
                    <a:solidFill>
                      <a:schemeClr val="accent6"/>
                    </a:solidFill>
                  </a:tcPr>
                </a:tc>
                <a:tc hMerge="1">
                  <a:txBody>
                    <a:bodyPr/>
                    <a:lstStyle/>
                    <a:p>
                      <a:pPr marL="0" algn="l" defTabSz="914400" rtl="0" eaLnBrk="1" fontAlgn="b" latinLnBrk="0" hangingPunct="1"/>
                      <a:endParaRPr kumimoji="1" lang="ja-JP" altLang="en-US" sz="1000" b="1" kern="1200" dirty="0">
                        <a:solidFill>
                          <a:schemeClr val="lt1"/>
                        </a:solidFill>
                        <a:latin typeface="+mn-lt"/>
                        <a:ea typeface="+mn-ea"/>
                        <a:cs typeface="+mn-cs"/>
                      </a:endParaRPr>
                    </a:p>
                  </a:txBody>
                  <a:tcPr marL="6350" marR="6350" marT="6350" marB="0" anchor="b">
                    <a:solidFill>
                      <a:schemeClr val="accent6"/>
                    </a:solidFill>
                  </a:tcPr>
                </a:tc>
                <a:tc hMerge="1">
                  <a:txBody>
                    <a:bodyPr/>
                    <a:lstStyle/>
                    <a:p>
                      <a:pPr marL="0" algn="l" defTabSz="914400" rtl="0" eaLnBrk="1" fontAlgn="b" latinLnBrk="0" hangingPunct="1"/>
                      <a:endParaRPr kumimoji="1" lang="ja-JP" altLang="en-US" sz="1000" b="1" kern="1200" dirty="0">
                        <a:solidFill>
                          <a:schemeClr val="lt1"/>
                        </a:solidFill>
                        <a:latin typeface="+mn-lt"/>
                        <a:ea typeface="+mn-ea"/>
                        <a:cs typeface="+mn-cs"/>
                      </a:endParaRPr>
                    </a:p>
                  </a:txBody>
                  <a:tcPr marL="6350" marR="6350" marT="6350" marB="0" anchor="b">
                    <a:solidFill>
                      <a:schemeClr val="accent6"/>
                    </a:solidFill>
                  </a:tcPr>
                </a:tc>
                <a:tc hMerge="1">
                  <a:txBody>
                    <a:bodyPr/>
                    <a:lstStyle/>
                    <a:p>
                      <a:pPr marL="0" algn="l" defTabSz="914400" rtl="0" eaLnBrk="1" fontAlgn="b" latinLnBrk="0" hangingPunct="1"/>
                      <a:endParaRPr kumimoji="1" lang="ja-JP" altLang="en-US" sz="1000" b="1" kern="1200" dirty="0">
                        <a:solidFill>
                          <a:schemeClr val="lt1"/>
                        </a:solidFill>
                        <a:latin typeface="+mn-lt"/>
                        <a:ea typeface="+mn-ea"/>
                        <a:cs typeface="+mn-cs"/>
                      </a:endParaRPr>
                    </a:p>
                  </a:txBody>
                  <a:tcPr marL="6350" marR="6350" marT="6350" marB="0" anchor="b">
                    <a:solidFill>
                      <a:schemeClr val="accent6"/>
                    </a:solidFill>
                  </a:tcPr>
                </a:tc>
                <a:tc>
                  <a:txBody>
                    <a:bodyPr/>
                    <a:lstStyle/>
                    <a:p>
                      <a:pPr marL="0" algn="l" defTabSz="914400" rtl="0" eaLnBrk="1" fontAlgn="b" latinLnBrk="0" hangingPunct="1"/>
                      <a:r>
                        <a:rPr kumimoji="1" lang="ja-JP" altLang="en-US" sz="1000" b="1" kern="1200" dirty="0">
                          <a:solidFill>
                            <a:schemeClr val="lt1"/>
                          </a:solidFill>
                          <a:latin typeface="+mn-lt"/>
                          <a:ea typeface="+mn-ea"/>
                          <a:cs typeface="+mn-cs"/>
                        </a:rPr>
                        <a:t>　病床数</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3D6AA7"/>
                    </a:solidFill>
                  </a:tcPr>
                </a:tc>
                <a:extLst>
                  <a:ext uri="{0D108BD9-81ED-4DB2-BD59-A6C34878D82A}">
                    <a16:rowId xmlns:a16="http://schemas.microsoft.com/office/drawing/2014/main" val="2637186514"/>
                  </a:ext>
                </a:extLst>
              </a:tr>
              <a:tr h="190500">
                <a:tc>
                  <a:txBody>
                    <a:bodyPr/>
                    <a:lstStyle/>
                    <a:p>
                      <a:pPr algn="l" fontAlgn="b"/>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F2F2F2"/>
                    </a:solidFill>
                  </a:tcPr>
                </a:tc>
                <a:tc>
                  <a:txBody>
                    <a:bodyPr/>
                    <a:lstStyle/>
                    <a:p>
                      <a:pPr algn="r" fontAlgn="b"/>
                      <a:r>
                        <a:rPr lang="en-US" altLang="ja-JP" sz="1000" u="none" strike="noStrike" dirty="0">
                          <a:effectLst/>
                        </a:rPr>
                        <a:t>2014</a:t>
                      </a:r>
                      <a:endParaRPr lang="en-US" altLang="ja-JP" sz="10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F2F2F2"/>
                    </a:solidFill>
                  </a:tcPr>
                </a:tc>
                <a:tc>
                  <a:txBody>
                    <a:bodyPr/>
                    <a:lstStyle/>
                    <a:p>
                      <a:pPr algn="r" fontAlgn="b"/>
                      <a:r>
                        <a:rPr lang="en-US" altLang="ja-JP" sz="1000" u="none" strike="noStrike" dirty="0">
                          <a:effectLst/>
                        </a:rPr>
                        <a:t>2015</a:t>
                      </a:r>
                      <a:endParaRPr lang="en-US" altLang="ja-JP" sz="10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B w="12700" cap="flat" cmpd="sng" algn="ctr">
                      <a:solidFill>
                        <a:schemeClr val="tx1"/>
                      </a:solidFill>
                      <a:prstDash val="solid"/>
                      <a:round/>
                      <a:headEnd type="none" w="med" len="med"/>
                      <a:tailEnd type="none" w="med" len="med"/>
                    </a:lnB>
                    <a:solidFill>
                      <a:srgbClr val="F2F2F2"/>
                    </a:solidFill>
                  </a:tcPr>
                </a:tc>
                <a:tc>
                  <a:txBody>
                    <a:bodyPr/>
                    <a:lstStyle/>
                    <a:p>
                      <a:pPr algn="r" fontAlgn="b"/>
                      <a:r>
                        <a:rPr lang="en-US" altLang="ja-JP" sz="1000" u="none" strike="noStrike" dirty="0">
                          <a:effectLst/>
                        </a:rPr>
                        <a:t>2016</a:t>
                      </a:r>
                      <a:endParaRPr lang="en-US" altLang="ja-JP" sz="10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B w="12700" cap="flat" cmpd="sng" algn="ctr">
                      <a:solidFill>
                        <a:schemeClr val="tx1"/>
                      </a:solidFill>
                      <a:prstDash val="solid"/>
                      <a:round/>
                      <a:headEnd type="none" w="med" len="med"/>
                      <a:tailEnd type="none" w="med" len="med"/>
                    </a:lnB>
                    <a:solidFill>
                      <a:srgbClr val="F2F2F2"/>
                    </a:solidFill>
                  </a:tcPr>
                </a:tc>
                <a:tc>
                  <a:txBody>
                    <a:bodyPr/>
                    <a:lstStyle/>
                    <a:p>
                      <a:pPr algn="r" fontAlgn="b"/>
                      <a:r>
                        <a:rPr lang="en-US" altLang="ja-JP" sz="1000" u="none" strike="noStrike" dirty="0">
                          <a:effectLst/>
                        </a:rPr>
                        <a:t>2017</a:t>
                      </a:r>
                      <a:endParaRPr lang="en-US" altLang="ja-JP" sz="10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B w="12700" cap="flat" cmpd="sng" algn="ctr">
                      <a:solidFill>
                        <a:schemeClr val="tx1"/>
                      </a:solidFill>
                      <a:prstDash val="solid"/>
                      <a:round/>
                      <a:headEnd type="none" w="med" len="med"/>
                      <a:tailEnd type="none" w="med" len="med"/>
                    </a:lnB>
                    <a:solidFill>
                      <a:srgbClr val="F2F2F2"/>
                    </a:solidFill>
                  </a:tcPr>
                </a:tc>
                <a:tc>
                  <a:txBody>
                    <a:bodyPr/>
                    <a:lstStyle/>
                    <a:p>
                      <a:pPr algn="r" fontAlgn="b"/>
                      <a:r>
                        <a:rPr lang="en-US" altLang="ja-JP" sz="1000" u="none" strike="noStrike" dirty="0">
                          <a:effectLst/>
                        </a:rPr>
                        <a:t>2018</a:t>
                      </a:r>
                      <a:endParaRPr lang="en-US" altLang="ja-JP" sz="10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B w="12700" cap="flat" cmpd="sng" algn="ctr">
                      <a:solidFill>
                        <a:schemeClr val="tx1"/>
                      </a:solidFill>
                      <a:prstDash val="solid"/>
                      <a:round/>
                      <a:headEnd type="none" w="med" len="med"/>
                      <a:tailEnd type="none" w="med" len="med"/>
                    </a:lnB>
                    <a:solidFill>
                      <a:srgbClr val="F2F2F2"/>
                    </a:solidFill>
                  </a:tcPr>
                </a:tc>
                <a:tc>
                  <a:txBody>
                    <a:bodyPr/>
                    <a:lstStyle/>
                    <a:p>
                      <a:pPr algn="r" fontAlgn="b"/>
                      <a:r>
                        <a:rPr lang="en-US" altLang="ja-JP" sz="1000" u="none" strike="noStrike" dirty="0">
                          <a:effectLst/>
                        </a:rPr>
                        <a:t>2019</a:t>
                      </a:r>
                      <a:endParaRPr lang="en-US" altLang="ja-JP" sz="10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B w="12700" cap="flat" cmpd="sng" algn="ctr">
                      <a:solidFill>
                        <a:schemeClr val="tx1"/>
                      </a:solidFill>
                      <a:prstDash val="solid"/>
                      <a:round/>
                      <a:headEnd type="none" w="med" len="med"/>
                      <a:tailEnd type="none" w="med" len="med"/>
                    </a:lnB>
                    <a:solidFill>
                      <a:srgbClr val="F2F2F2"/>
                    </a:solidFill>
                  </a:tcPr>
                </a:tc>
                <a:tc>
                  <a:txBody>
                    <a:bodyPr/>
                    <a:lstStyle/>
                    <a:p>
                      <a:pPr algn="r" fontAlgn="b"/>
                      <a:r>
                        <a:rPr lang="en-US" altLang="ja-JP" sz="1000" u="none" strike="noStrike" dirty="0">
                          <a:effectLst/>
                        </a:rPr>
                        <a:t>2020</a:t>
                      </a:r>
                      <a:endParaRPr lang="en-US" altLang="ja-JP" sz="10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F2F2F2"/>
                    </a:solidFill>
                  </a:tcPr>
                </a:tc>
                <a:tc>
                  <a:txBody>
                    <a:bodyPr/>
                    <a:lstStyle/>
                    <a:p>
                      <a:pPr algn="r" fontAlgn="b"/>
                      <a:r>
                        <a:rPr lang="en-US" altLang="ja-JP" sz="1000" u="none" strike="noStrike" dirty="0">
                          <a:effectLst/>
                        </a:rPr>
                        <a:t>2020</a:t>
                      </a:r>
                      <a:endParaRPr lang="en-US" altLang="ja-JP" sz="10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4067573221"/>
                  </a:ext>
                </a:extLst>
              </a:tr>
              <a:tr h="190500">
                <a:tc>
                  <a:txBody>
                    <a:bodyPr/>
                    <a:lstStyle/>
                    <a:p>
                      <a:pPr algn="l" fontAlgn="b"/>
                      <a:r>
                        <a:rPr lang="ja-JP" altLang="en-US" sz="1000" b="1" u="none" strike="noStrike" dirty="0">
                          <a:effectLst/>
                        </a:rPr>
                        <a:t>急性期病院</a:t>
                      </a:r>
                      <a:endParaRPr lang="ja-JP" altLang="en-US" sz="10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2F2F2"/>
                    </a:solidFill>
                  </a:tcPr>
                </a:tc>
                <a:tc>
                  <a:txBody>
                    <a:bodyPr/>
                    <a:lstStyle/>
                    <a:p>
                      <a:pPr algn="r" fontAlgn="b"/>
                      <a:r>
                        <a:rPr lang="en-US" altLang="ja-JP" sz="1000" u="none" strike="noStrike" dirty="0">
                          <a:effectLst/>
                        </a:rPr>
                        <a:t>18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FFFFFF"/>
                    </a:solidFill>
                  </a:tcPr>
                </a:tc>
                <a:tc>
                  <a:txBody>
                    <a:bodyPr/>
                    <a:lstStyle/>
                    <a:p>
                      <a:pPr algn="r" fontAlgn="b"/>
                      <a:r>
                        <a:rPr lang="en-US" altLang="ja-JP" sz="1000" u="none" strike="noStrike">
                          <a:effectLst/>
                        </a:rPr>
                        <a:t>19 </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T w="12700" cap="flat" cmpd="sng" algn="ctr">
                      <a:solidFill>
                        <a:schemeClr val="tx1"/>
                      </a:solidFill>
                      <a:prstDash val="solid"/>
                      <a:round/>
                      <a:headEnd type="none" w="med" len="med"/>
                      <a:tailEnd type="none" w="med" len="med"/>
                    </a:lnT>
                    <a:solidFill>
                      <a:srgbClr val="FFFFFF"/>
                    </a:solidFill>
                  </a:tcPr>
                </a:tc>
                <a:tc>
                  <a:txBody>
                    <a:bodyPr/>
                    <a:lstStyle/>
                    <a:p>
                      <a:pPr algn="r" fontAlgn="b"/>
                      <a:r>
                        <a:rPr lang="en-US" altLang="ja-JP" sz="1000" u="none" strike="noStrike">
                          <a:effectLst/>
                        </a:rPr>
                        <a:t>19 </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T w="12700" cap="flat" cmpd="sng" algn="ctr">
                      <a:solidFill>
                        <a:schemeClr val="tx1"/>
                      </a:solidFill>
                      <a:prstDash val="solid"/>
                      <a:round/>
                      <a:headEnd type="none" w="med" len="med"/>
                      <a:tailEnd type="none" w="med" len="med"/>
                    </a:lnT>
                    <a:solidFill>
                      <a:srgbClr val="FFFFFF"/>
                    </a:solidFill>
                  </a:tcPr>
                </a:tc>
                <a:tc>
                  <a:txBody>
                    <a:bodyPr/>
                    <a:lstStyle/>
                    <a:p>
                      <a:pPr algn="r" fontAlgn="b"/>
                      <a:r>
                        <a:rPr lang="en-US" altLang="ja-JP" sz="1000" u="none" strike="noStrike">
                          <a:effectLst/>
                        </a:rPr>
                        <a:t>18 </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T w="12700" cap="flat" cmpd="sng" algn="ctr">
                      <a:solidFill>
                        <a:schemeClr val="tx1"/>
                      </a:solidFill>
                      <a:prstDash val="solid"/>
                      <a:round/>
                      <a:headEnd type="none" w="med" len="med"/>
                      <a:tailEnd type="none" w="med" len="med"/>
                    </a:lnT>
                    <a:solidFill>
                      <a:srgbClr val="FFFFFF"/>
                    </a:solidFill>
                  </a:tcPr>
                </a:tc>
                <a:tc>
                  <a:txBody>
                    <a:bodyPr/>
                    <a:lstStyle/>
                    <a:p>
                      <a:pPr algn="r" fontAlgn="b"/>
                      <a:r>
                        <a:rPr lang="en-US" altLang="ja-JP" sz="1000" u="none" strike="noStrike">
                          <a:effectLst/>
                        </a:rPr>
                        <a:t>19 </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T w="12700" cap="flat" cmpd="sng" algn="ctr">
                      <a:solidFill>
                        <a:schemeClr val="tx1"/>
                      </a:solidFill>
                      <a:prstDash val="solid"/>
                      <a:round/>
                      <a:headEnd type="none" w="med" len="med"/>
                      <a:tailEnd type="none" w="med" len="med"/>
                    </a:lnT>
                    <a:solidFill>
                      <a:srgbClr val="FFFFFF"/>
                    </a:solidFill>
                  </a:tcPr>
                </a:tc>
                <a:tc>
                  <a:txBody>
                    <a:bodyPr/>
                    <a:lstStyle/>
                    <a:p>
                      <a:pPr algn="r" fontAlgn="b"/>
                      <a:r>
                        <a:rPr lang="en-US" altLang="ja-JP" sz="1000" u="none" strike="noStrike" dirty="0">
                          <a:effectLst/>
                        </a:rPr>
                        <a:t>19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T w="12700" cap="flat" cmpd="sng" algn="ctr">
                      <a:solidFill>
                        <a:schemeClr val="tx1"/>
                      </a:solidFill>
                      <a:prstDash val="solid"/>
                      <a:round/>
                      <a:headEnd type="none" w="med" len="med"/>
                      <a:tailEnd type="none" w="med" len="med"/>
                    </a:lnT>
                    <a:solidFill>
                      <a:srgbClr val="FFFFFF"/>
                    </a:solidFill>
                  </a:tcPr>
                </a:tc>
                <a:tc>
                  <a:txBody>
                    <a:bodyPr/>
                    <a:lstStyle/>
                    <a:p>
                      <a:pPr algn="r" fontAlgn="b"/>
                      <a:r>
                        <a:rPr lang="en-US" altLang="ja-JP" sz="1000" u="none" strike="noStrike">
                          <a:effectLst/>
                        </a:rPr>
                        <a:t>18 </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FFFFF"/>
                    </a:solidFill>
                  </a:tcPr>
                </a:tc>
                <a:tc>
                  <a:txBody>
                    <a:bodyPr/>
                    <a:lstStyle/>
                    <a:p>
                      <a:pPr algn="r" fontAlgn="b"/>
                      <a:r>
                        <a:rPr lang="en-US" altLang="ja-JP" sz="1000" u="none" strike="noStrike" dirty="0">
                          <a:effectLst/>
                        </a:rPr>
                        <a:t>11,545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FFFFF"/>
                    </a:solidFill>
                  </a:tcPr>
                </a:tc>
                <a:extLst>
                  <a:ext uri="{0D108BD9-81ED-4DB2-BD59-A6C34878D82A}">
                    <a16:rowId xmlns:a16="http://schemas.microsoft.com/office/drawing/2014/main" val="851458119"/>
                  </a:ext>
                </a:extLst>
              </a:tr>
              <a:tr h="190500">
                <a:tc>
                  <a:txBody>
                    <a:bodyPr/>
                    <a:lstStyle/>
                    <a:p>
                      <a:pPr algn="l" fontAlgn="b"/>
                      <a:r>
                        <a:rPr lang="ja-JP" altLang="en-US" sz="1000" u="none" strike="noStrike" dirty="0">
                          <a:effectLst/>
                        </a:rPr>
                        <a:t>　公立病院</a:t>
                      </a:r>
                      <a:r>
                        <a:rPr lang="en-US" altLang="ja-JP" sz="1000" u="none" strike="noStrike" baseline="30000" dirty="0">
                          <a:effectLst/>
                        </a:rPr>
                        <a:t>1</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F2F2F2"/>
                    </a:solidFill>
                  </a:tcPr>
                </a:tc>
                <a:tc>
                  <a:txBody>
                    <a:bodyPr/>
                    <a:lstStyle/>
                    <a:p>
                      <a:pPr algn="r" fontAlgn="b"/>
                      <a:r>
                        <a:rPr lang="en-US" altLang="ja-JP" sz="1000" u="none" strike="noStrike" dirty="0">
                          <a:effectLst/>
                        </a:rPr>
                        <a:t>8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L w="12700" cap="flat" cmpd="sng" algn="ctr">
                      <a:solidFill>
                        <a:schemeClr val="tx1"/>
                      </a:solidFill>
                      <a:prstDash val="solid"/>
                      <a:round/>
                      <a:headEnd type="none" w="med" len="med"/>
                      <a:tailEnd type="none" w="med" len="med"/>
                    </a:lnL>
                    <a:solidFill>
                      <a:srgbClr val="FFFFFF"/>
                    </a:solidFill>
                  </a:tcPr>
                </a:tc>
                <a:tc>
                  <a:txBody>
                    <a:bodyPr/>
                    <a:lstStyle/>
                    <a:p>
                      <a:pPr algn="r" fontAlgn="b"/>
                      <a:r>
                        <a:rPr lang="en-US" altLang="ja-JP" sz="1000" u="none" strike="noStrike">
                          <a:effectLst/>
                        </a:rPr>
                        <a:t>9 </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solidFill>
                      <a:srgbClr val="FFFFFF"/>
                    </a:solidFill>
                  </a:tcPr>
                </a:tc>
                <a:tc>
                  <a:txBody>
                    <a:bodyPr/>
                    <a:lstStyle/>
                    <a:p>
                      <a:pPr algn="r" fontAlgn="b"/>
                      <a:r>
                        <a:rPr lang="en-US" altLang="ja-JP" sz="1000" u="none" strike="noStrike" dirty="0">
                          <a:effectLst/>
                        </a:rPr>
                        <a:t>9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solidFill>
                      <a:srgbClr val="FFFFFF"/>
                    </a:solidFill>
                  </a:tcPr>
                </a:tc>
                <a:tc>
                  <a:txBody>
                    <a:bodyPr/>
                    <a:lstStyle/>
                    <a:p>
                      <a:pPr algn="r" fontAlgn="b"/>
                      <a:r>
                        <a:rPr lang="en-US" altLang="ja-JP" sz="1000" u="none" strike="noStrike">
                          <a:effectLst/>
                        </a:rPr>
                        <a:t>9 </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solidFill>
                      <a:srgbClr val="FFFFFF"/>
                    </a:solidFill>
                  </a:tcPr>
                </a:tc>
                <a:tc>
                  <a:txBody>
                    <a:bodyPr/>
                    <a:lstStyle/>
                    <a:p>
                      <a:pPr algn="r" fontAlgn="b"/>
                      <a:r>
                        <a:rPr lang="en-US" altLang="ja-JP" sz="1000" u="none" strike="noStrike" dirty="0">
                          <a:effectLst/>
                        </a:rPr>
                        <a:t>10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solidFill>
                      <a:srgbClr val="FFFFFF"/>
                    </a:solidFill>
                  </a:tcPr>
                </a:tc>
                <a:tc>
                  <a:txBody>
                    <a:bodyPr/>
                    <a:lstStyle/>
                    <a:p>
                      <a:pPr algn="r" fontAlgn="b"/>
                      <a:r>
                        <a:rPr lang="en-US" altLang="ja-JP" sz="1000" u="none" strike="noStrike" dirty="0">
                          <a:effectLst/>
                        </a:rPr>
                        <a:t>10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solidFill>
                      <a:srgbClr val="FFFFFF"/>
                    </a:solidFill>
                  </a:tcPr>
                </a:tc>
                <a:tc>
                  <a:txBody>
                    <a:bodyPr/>
                    <a:lstStyle/>
                    <a:p>
                      <a:pPr algn="r" fontAlgn="b"/>
                      <a:r>
                        <a:rPr lang="en-US" altLang="ja-JP" sz="1000" u="none" strike="noStrike">
                          <a:effectLst/>
                        </a:rPr>
                        <a:t>10 </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R w="12700" cap="flat" cmpd="sng" algn="ctr">
                      <a:solidFill>
                        <a:schemeClr val="tx1"/>
                      </a:solidFill>
                      <a:prstDash val="solid"/>
                      <a:round/>
                      <a:headEnd type="none" w="med" len="med"/>
                      <a:tailEnd type="none" w="med" len="med"/>
                    </a:lnR>
                    <a:solidFill>
                      <a:srgbClr val="FFFFFF"/>
                    </a:solidFill>
                  </a:tcPr>
                </a:tc>
                <a:tc>
                  <a:txBody>
                    <a:bodyPr/>
                    <a:lstStyle/>
                    <a:p>
                      <a:pPr algn="r" fontAlgn="b"/>
                      <a:r>
                        <a:rPr lang="en-US" altLang="ja-JP" sz="1000" u="none" strike="noStrike">
                          <a:effectLst/>
                        </a:rPr>
                        <a:t>9,610 </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FFFFFF"/>
                    </a:solidFill>
                  </a:tcPr>
                </a:tc>
                <a:extLst>
                  <a:ext uri="{0D108BD9-81ED-4DB2-BD59-A6C34878D82A}">
                    <a16:rowId xmlns:a16="http://schemas.microsoft.com/office/drawing/2014/main" val="450787451"/>
                  </a:ext>
                </a:extLst>
              </a:tr>
              <a:tr h="190500">
                <a:tc>
                  <a:txBody>
                    <a:bodyPr/>
                    <a:lstStyle/>
                    <a:p>
                      <a:pPr algn="l" fontAlgn="b"/>
                      <a:r>
                        <a:rPr lang="ja-JP" altLang="en-US" sz="1000" u="none" strike="noStrike" dirty="0">
                          <a:effectLst/>
                        </a:rPr>
                        <a:t>　非営利法人</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F2F2F2"/>
                    </a:solidFill>
                  </a:tcPr>
                </a:tc>
                <a:tc>
                  <a:txBody>
                    <a:bodyPr/>
                    <a:lstStyle/>
                    <a:p>
                      <a:pPr algn="r" fontAlgn="b"/>
                      <a:r>
                        <a:rPr lang="en-US" altLang="ja-JP" sz="1000" u="none" strike="noStrike">
                          <a:effectLst/>
                        </a:rPr>
                        <a:t>1 </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L w="12700" cap="flat" cmpd="sng" algn="ctr">
                      <a:solidFill>
                        <a:schemeClr val="tx1"/>
                      </a:solidFill>
                      <a:prstDash val="solid"/>
                      <a:round/>
                      <a:headEnd type="none" w="med" len="med"/>
                      <a:tailEnd type="none" w="med" len="med"/>
                    </a:lnL>
                    <a:solidFill>
                      <a:srgbClr val="FFFFFF"/>
                    </a:solidFill>
                  </a:tcPr>
                </a:tc>
                <a:tc>
                  <a:txBody>
                    <a:bodyPr/>
                    <a:lstStyle/>
                    <a:p>
                      <a:pPr algn="r" fontAlgn="b"/>
                      <a:r>
                        <a:rPr lang="en-US" altLang="ja-JP" sz="1000" u="none" strike="noStrike" dirty="0">
                          <a:effectLst/>
                        </a:rPr>
                        <a:t>1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solidFill>
                      <a:srgbClr val="FFFFFF"/>
                    </a:solidFill>
                  </a:tcPr>
                </a:tc>
                <a:tc>
                  <a:txBody>
                    <a:bodyPr/>
                    <a:lstStyle/>
                    <a:p>
                      <a:pPr algn="r" fontAlgn="b"/>
                      <a:r>
                        <a:rPr lang="en-US" altLang="ja-JP" sz="1000" u="none" strike="noStrike" dirty="0">
                          <a:effectLst/>
                        </a:rPr>
                        <a:t>1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solidFill>
                      <a:srgbClr val="FFFFFF"/>
                    </a:solidFill>
                  </a:tcPr>
                </a:tc>
                <a:tc>
                  <a:txBody>
                    <a:bodyPr/>
                    <a:lstStyle/>
                    <a:p>
                      <a:pPr algn="r" fontAlgn="b"/>
                      <a:r>
                        <a:rPr lang="en-US" altLang="ja-JP" sz="1000" u="none" strike="noStrike">
                          <a:effectLst/>
                        </a:rPr>
                        <a:t>1 </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solidFill>
                      <a:srgbClr val="FFFFFF"/>
                    </a:solidFill>
                  </a:tcPr>
                </a:tc>
                <a:tc>
                  <a:txBody>
                    <a:bodyPr/>
                    <a:lstStyle/>
                    <a:p>
                      <a:pPr algn="r" fontAlgn="b"/>
                      <a:r>
                        <a:rPr lang="en-US" altLang="ja-JP" sz="1000" u="none" strike="noStrike">
                          <a:effectLst/>
                        </a:rPr>
                        <a:t>1 </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solidFill>
                      <a:srgbClr val="FFFFFF"/>
                    </a:solidFill>
                  </a:tcPr>
                </a:tc>
                <a:tc>
                  <a:txBody>
                    <a:bodyPr/>
                    <a:lstStyle/>
                    <a:p>
                      <a:pPr algn="r" fontAlgn="b"/>
                      <a:r>
                        <a:rPr lang="en-US" altLang="ja-JP" sz="1000" u="none" strike="noStrike">
                          <a:effectLst/>
                        </a:rPr>
                        <a:t>1 </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solidFill>
                      <a:srgbClr val="FFFFFF"/>
                    </a:solidFill>
                  </a:tcPr>
                </a:tc>
                <a:tc>
                  <a:txBody>
                    <a:bodyPr/>
                    <a:lstStyle/>
                    <a:p>
                      <a:pPr algn="r" fontAlgn="b"/>
                      <a:r>
                        <a:rPr lang="en-US" altLang="ja-JP" sz="1000" u="none" strike="noStrike" dirty="0">
                          <a:effectLst/>
                        </a:rPr>
                        <a:t>1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R w="12700" cap="flat" cmpd="sng" algn="ctr">
                      <a:solidFill>
                        <a:schemeClr val="tx1"/>
                      </a:solidFill>
                      <a:prstDash val="solid"/>
                      <a:round/>
                      <a:headEnd type="none" w="med" len="med"/>
                      <a:tailEnd type="none" w="med" len="med"/>
                    </a:lnR>
                    <a:solidFill>
                      <a:srgbClr val="FFFFFF"/>
                    </a:solidFill>
                  </a:tcPr>
                </a:tc>
                <a:tc>
                  <a:txBody>
                    <a:bodyPr/>
                    <a:lstStyle/>
                    <a:p>
                      <a:pPr algn="r" fontAlgn="b"/>
                      <a:r>
                        <a:rPr lang="en-US" altLang="ja-JP" sz="1000" u="none" strike="noStrike">
                          <a:effectLst/>
                        </a:rPr>
                        <a:t>285 </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FFFFFF"/>
                    </a:solidFill>
                  </a:tcPr>
                </a:tc>
                <a:extLst>
                  <a:ext uri="{0D108BD9-81ED-4DB2-BD59-A6C34878D82A}">
                    <a16:rowId xmlns:a16="http://schemas.microsoft.com/office/drawing/2014/main" val="4157699683"/>
                  </a:ext>
                </a:extLst>
              </a:tr>
              <a:tr h="190500">
                <a:tc>
                  <a:txBody>
                    <a:bodyPr/>
                    <a:lstStyle/>
                    <a:p>
                      <a:pPr algn="l" fontAlgn="b"/>
                      <a:r>
                        <a:rPr lang="ja-JP" altLang="en-US" sz="1000" u="none" strike="noStrike" dirty="0">
                          <a:effectLst/>
                        </a:rPr>
                        <a:t>　私立病院</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F2F2F2"/>
                    </a:solidFill>
                  </a:tcPr>
                </a:tc>
                <a:tc>
                  <a:txBody>
                    <a:bodyPr/>
                    <a:lstStyle/>
                    <a:p>
                      <a:pPr algn="r" fontAlgn="b"/>
                      <a:r>
                        <a:rPr lang="en-US" altLang="ja-JP" sz="1000" u="none" strike="noStrike" dirty="0">
                          <a:effectLst/>
                        </a:rPr>
                        <a:t>9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en-US" altLang="ja-JP" sz="1000" u="none" strike="noStrike">
                          <a:effectLst/>
                        </a:rPr>
                        <a:t>9 </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en-US" altLang="ja-JP" sz="1000" u="none" strike="noStrike" dirty="0">
                          <a:effectLst/>
                        </a:rPr>
                        <a:t>9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en-US" altLang="ja-JP" sz="1000" u="none" strike="noStrike">
                          <a:effectLst/>
                        </a:rPr>
                        <a:t>8 </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en-US" altLang="ja-JP" sz="1000" u="none" strike="noStrike">
                          <a:effectLst/>
                        </a:rPr>
                        <a:t>8 </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en-US" altLang="ja-JP" sz="1000" u="none" strike="noStrike" dirty="0">
                          <a:effectLst/>
                        </a:rPr>
                        <a:t>8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en-US" altLang="ja-JP" sz="1000" u="none" strike="noStrike" dirty="0">
                          <a:effectLst/>
                        </a:rPr>
                        <a:t>7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en-US" altLang="ja-JP" sz="1000" u="none" strike="noStrike" dirty="0">
                          <a:effectLst/>
                        </a:rPr>
                        <a:t>1,650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1529210186"/>
                  </a:ext>
                </a:extLst>
              </a:tr>
              <a:tr h="609600">
                <a:tc>
                  <a:txBody>
                    <a:bodyPr/>
                    <a:lstStyle/>
                    <a:p>
                      <a:pPr algn="l" fontAlgn="b"/>
                      <a:r>
                        <a:rPr lang="ja-JP" altLang="en-US" sz="1000" b="1" u="none" strike="noStrike" dirty="0">
                          <a:effectLst/>
                        </a:rPr>
                        <a:t>コミュニティ病院</a:t>
                      </a:r>
                      <a:br>
                        <a:rPr lang="ja-JP" altLang="en-US" sz="1000" u="none" strike="noStrike" dirty="0">
                          <a:effectLst/>
                        </a:rPr>
                      </a:br>
                      <a:r>
                        <a:rPr lang="ja-JP" altLang="en-US" sz="1000" u="none" strike="noStrike" dirty="0">
                          <a:effectLst/>
                        </a:rPr>
                        <a:t>（急性期病院を退院した後などの短期的療養・リハビリのための病院）</a:t>
                      </a:r>
                      <a:endParaRPr lang="ja-JP" altLang="en-US" sz="10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2F2F2"/>
                    </a:solidFill>
                  </a:tcPr>
                </a:tc>
                <a:tc>
                  <a:txBody>
                    <a:bodyPr/>
                    <a:lstStyle/>
                    <a:p>
                      <a:pPr algn="r" fontAlgn="b"/>
                      <a:r>
                        <a:rPr lang="en-US" altLang="ja-JP" sz="1000" u="none" strike="noStrike" dirty="0">
                          <a:effectLst/>
                        </a:rPr>
                        <a:t>6 </a:t>
                      </a:r>
                      <a:endParaRPr lang="en-US" altLang="ja-JP" sz="10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FFFFFF"/>
                    </a:solidFill>
                  </a:tcPr>
                </a:tc>
                <a:tc>
                  <a:txBody>
                    <a:bodyPr/>
                    <a:lstStyle/>
                    <a:p>
                      <a:pPr algn="r" fontAlgn="b"/>
                      <a:r>
                        <a:rPr lang="en-US" altLang="ja-JP" sz="1000" u="none" strike="noStrike" dirty="0">
                          <a:effectLst/>
                        </a:rPr>
                        <a:t>7 </a:t>
                      </a:r>
                      <a:endParaRPr lang="en-US" altLang="ja-JP" sz="10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ctr">
                    <a:lnT w="12700" cap="flat" cmpd="sng" algn="ctr">
                      <a:solidFill>
                        <a:schemeClr val="tx1"/>
                      </a:solidFill>
                      <a:prstDash val="solid"/>
                      <a:round/>
                      <a:headEnd type="none" w="med" len="med"/>
                      <a:tailEnd type="none" w="med" len="med"/>
                    </a:lnT>
                    <a:solidFill>
                      <a:srgbClr val="FFFFFF"/>
                    </a:solidFill>
                  </a:tcPr>
                </a:tc>
                <a:tc>
                  <a:txBody>
                    <a:bodyPr/>
                    <a:lstStyle/>
                    <a:p>
                      <a:pPr algn="r" fontAlgn="b"/>
                      <a:r>
                        <a:rPr lang="en-US" altLang="ja-JP" sz="1000" u="none" strike="noStrike" dirty="0">
                          <a:effectLst/>
                        </a:rPr>
                        <a:t>8 </a:t>
                      </a:r>
                      <a:endParaRPr lang="en-US" altLang="ja-JP" sz="10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ctr">
                    <a:lnT w="12700" cap="flat" cmpd="sng" algn="ctr">
                      <a:solidFill>
                        <a:schemeClr val="tx1"/>
                      </a:solidFill>
                      <a:prstDash val="solid"/>
                      <a:round/>
                      <a:headEnd type="none" w="med" len="med"/>
                      <a:tailEnd type="none" w="med" len="med"/>
                    </a:lnT>
                    <a:solidFill>
                      <a:srgbClr val="FFFFFF"/>
                    </a:solidFill>
                  </a:tcPr>
                </a:tc>
                <a:tc>
                  <a:txBody>
                    <a:bodyPr/>
                    <a:lstStyle/>
                    <a:p>
                      <a:pPr algn="r" fontAlgn="b"/>
                      <a:r>
                        <a:rPr lang="en-US" altLang="ja-JP" sz="1000" u="none" strike="noStrike" dirty="0">
                          <a:effectLst/>
                        </a:rPr>
                        <a:t>8 </a:t>
                      </a:r>
                      <a:endParaRPr lang="en-US" altLang="ja-JP" sz="10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ctr">
                    <a:lnT w="12700" cap="flat" cmpd="sng" algn="ctr">
                      <a:solidFill>
                        <a:schemeClr val="tx1"/>
                      </a:solidFill>
                      <a:prstDash val="solid"/>
                      <a:round/>
                      <a:headEnd type="none" w="med" len="med"/>
                      <a:tailEnd type="none" w="med" len="med"/>
                    </a:lnT>
                    <a:solidFill>
                      <a:srgbClr val="FFFFFF"/>
                    </a:solidFill>
                  </a:tcPr>
                </a:tc>
                <a:tc>
                  <a:txBody>
                    <a:bodyPr/>
                    <a:lstStyle/>
                    <a:p>
                      <a:pPr algn="r" fontAlgn="b"/>
                      <a:r>
                        <a:rPr lang="en-US" altLang="ja-JP" sz="1000" u="none" strike="noStrike" dirty="0">
                          <a:effectLst/>
                        </a:rPr>
                        <a:t>8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ctr">
                    <a:lnT w="12700" cap="flat" cmpd="sng" algn="ctr">
                      <a:solidFill>
                        <a:schemeClr val="tx1"/>
                      </a:solidFill>
                      <a:prstDash val="solid"/>
                      <a:round/>
                      <a:headEnd type="none" w="med" len="med"/>
                      <a:tailEnd type="none" w="med" len="med"/>
                    </a:lnT>
                    <a:solidFill>
                      <a:srgbClr val="FFFFFF"/>
                    </a:solidFill>
                  </a:tcPr>
                </a:tc>
                <a:tc>
                  <a:txBody>
                    <a:bodyPr/>
                    <a:lstStyle/>
                    <a:p>
                      <a:pPr algn="r" fontAlgn="b"/>
                      <a:r>
                        <a:rPr lang="en-US" altLang="ja-JP" sz="1000" u="none" strike="noStrike" dirty="0">
                          <a:effectLst/>
                        </a:rPr>
                        <a:t>9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ctr">
                    <a:lnT w="12700" cap="flat" cmpd="sng" algn="ctr">
                      <a:solidFill>
                        <a:schemeClr val="tx1"/>
                      </a:solidFill>
                      <a:prstDash val="solid"/>
                      <a:round/>
                      <a:headEnd type="none" w="med" len="med"/>
                      <a:tailEnd type="none" w="med" len="med"/>
                    </a:lnT>
                    <a:solidFill>
                      <a:srgbClr val="FFFFFF"/>
                    </a:solidFill>
                  </a:tcPr>
                </a:tc>
                <a:tc>
                  <a:txBody>
                    <a:bodyPr/>
                    <a:lstStyle/>
                    <a:p>
                      <a:pPr algn="r" fontAlgn="b"/>
                      <a:r>
                        <a:rPr lang="en-US" altLang="ja-JP" sz="1000" u="none" strike="noStrike" dirty="0">
                          <a:effectLst/>
                        </a:rPr>
                        <a:t>9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FFFFF"/>
                    </a:solidFill>
                  </a:tcPr>
                </a:tc>
                <a:tc>
                  <a:txBody>
                    <a:bodyPr/>
                    <a:lstStyle/>
                    <a:p>
                      <a:pPr algn="r" fontAlgn="b"/>
                      <a:r>
                        <a:rPr lang="en-US" altLang="ja-JP" sz="1000" u="none" strike="noStrike" dirty="0">
                          <a:effectLst/>
                        </a:rPr>
                        <a:t>2,069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FFFFF"/>
                    </a:solidFill>
                  </a:tcPr>
                </a:tc>
                <a:extLst>
                  <a:ext uri="{0D108BD9-81ED-4DB2-BD59-A6C34878D82A}">
                    <a16:rowId xmlns:a16="http://schemas.microsoft.com/office/drawing/2014/main" val="3163380375"/>
                  </a:ext>
                </a:extLst>
              </a:tr>
              <a:tr h="190500">
                <a:tc>
                  <a:txBody>
                    <a:bodyPr/>
                    <a:lstStyle/>
                    <a:p>
                      <a:pPr algn="l" fontAlgn="b"/>
                      <a:r>
                        <a:rPr lang="ja-JP" altLang="en-US" sz="1000" u="none" strike="noStrike" dirty="0">
                          <a:effectLst/>
                        </a:rPr>
                        <a:t>　公立病院</a:t>
                      </a:r>
                      <a:r>
                        <a:rPr lang="en-US" altLang="ja-JP" sz="1000" u="none" strike="noStrike" baseline="30000" dirty="0">
                          <a:effectLst/>
                        </a:rPr>
                        <a:t>1</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F2F2F2"/>
                    </a:solidFill>
                  </a:tcPr>
                </a:tc>
                <a:tc>
                  <a:txBody>
                    <a:bodyPr/>
                    <a:lstStyle/>
                    <a:p>
                      <a:pPr algn="r" fontAlgn="b"/>
                      <a:r>
                        <a:rPr lang="en-US" altLang="ja-JP" sz="1000" u="none" strike="noStrike">
                          <a:effectLst/>
                        </a:rPr>
                        <a:t>1 </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L w="12700" cap="flat" cmpd="sng" algn="ctr">
                      <a:solidFill>
                        <a:schemeClr val="tx1"/>
                      </a:solidFill>
                      <a:prstDash val="solid"/>
                      <a:round/>
                      <a:headEnd type="none" w="med" len="med"/>
                      <a:tailEnd type="none" w="med" len="med"/>
                    </a:lnL>
                    <a:solidFill>
                      <a:srgbClr val="FFFFFF"/>
                    </a:solidFill>
                  </a:tcPr>
                </a:tc>
                <a:tc>
                  <a:txBody>
                    <a:bodyPr/>
                    <a:lstStyle/>
                    <a:p>
                      <a:pPr algn="r" fontAlgn="b"/>
                      <a:r>
                        <a:rPr lang="en-US" altLang="ja-JP" sz="1000" u="none" strike="noStrike">
                          <a:effectLst/>
                        </a:rPr>
                        <a:t>3 </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solidFill>
                      <a:srgbClr val="FFFFFF"/>
                    </a:solidFill>
                  </a:tcPr>
                </a:tc>
                <a:tc>
                  <a:txBody>
                    <a:bodyPr/>
                    <a:lstStyle/>
                    <a:p>
                      <a:pPr algn="r" fontAlgn="b"/>
                      <a:r>
                        <a:rPr lang="en-US" altLang="ja-JP" sz="1000" u="none" strike="noStrike" dirty="0">
                          <a:effectLst/>
                        </a:rPr>
                        <a:t>3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solidFill>
                      <a:srgbClr val="FFFFFF"/>
                    </a:solidFill>
                  </a:tcPr>
                </a:tc>
                <a:tc>
                  <a:txBody>
                    <a:bodyPr/>
                    <a:lstStyle/>
                    <a:p>
                      <a:pPr algn="r" fontAlgn="b"/>
                      <a:r>
                        <a:rPr lang="en-US" altLang="ja-JP" sz="1000" u="none" strike="noStrike" dirty="0">
                          <a:effectLst/>
                        </a:rPr>
                        <a:t>3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solidFill>
                      <a:srgbClr val="FFFFFF"/>
                    </a:solidFill>
                  </a:tcPr>
                </a:tc>
                <a:tc>
                  <a:txBody>
                    <a:bodyPr/>
                    <a:lstStyle/>
                    <a:p>
                      <a:pPr algn="r" fontAlgn="b"/>
                      <a:r>
                        <a:rPr lang="en-US" altLang="ja-JP" sz="1000" u="none" strike="noStrike">
                          <a:effectLst/>
                        </a:rPr>
                        <a:t>4 </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solidFill>
                      <a:srgbClr val="FFFFFF"/>
                    </a:solidFill>
                  </a:tcPr>
                </a:tc>
                <a:tc>
                  <a:txBody>
                    <a:bodyPr/>
                    <a:lstStyle/>
                    <a:p>
                      <a:pPr algn="r" fontAlgn="b"/>
                      <a:r>
                        <a:rPr lang="en-US" altLang="ja-JP" sz="1000" u="none" strike="noStrike">
                          <a:effectLst/>
                        </a:rPr>
                        <a:t>5 </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solidFill>
                      <a:srgbClr val="FFFFFF"/>
                    </a:solidFill>
                  </a:tcPr>
                </a:tc>
                <a:tc>
                  <a:txBody>
                    <a:bodyPr/>
                    <a:lstStyle/>
                    <a:p>
                      <a:pPr algn="r" fontAlgn="b"/>
                      <a:r>
                        <a:rPr lang="en-US" altLang="ja-JP" sz="1000" u="none" strike="noStrike">
                          <a:effectLst/>
                        </a:rPr>
                        <a:t>5 </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R w="12700" cap="flat" cmpd="sng" algn="ctr">
                      <a:solidFill>
                        <a:schemeClr val="tx1"/>
                      </a:solidFill>
                      <a:prstDash val="solid"/>
                      <a:round/>
                      <a:headEnd type="none" w="med" len="med"/>
                      <a:tailEnd type="none" w="med" len="med"/>
                    </a:lnR>
                    <a:solidFill>
                      <a:srgbClr val="FFFFFF"/>
                    </a:solidFill>
                  </a:tcPr>
                </a:tc>
                <a:tc>
                  <a:txBody>
                    <a:bodyPr/>
                    <a:lstStyle/>
                    <a:p>
                      <a:pPr algn="r" fontAlgn="b"/>
                      <a:r>
                        <a:rPr lang="en-US" altLang="ja-JP" sz="1000" u="none" strike="noStrike">
                          <a:effectLst/>
                        </a:rPr>
                        <a:t>1,130 </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FFFFFF"/>
                    </a:solidFill>
                  </a:tcPr>
                </a:tc>
                <a:extLst>
                  <a:ext uri="{0D108BD9-81ED-4DB2-BD59-A6C34878D82A}">
                    <a16:rowId xmlns:a16="http://schemas.microsoft.com/office/drawing/2014/main" val="361468059"/>
                  </a:ext>
                </a:extLst>
              </a:tr>
              <a:tr h="190500">
                <a:tc>
                  <a:txBody>
                    <a:bodyPr/>
                    <a:lstStyle/>
                    <a:p>
                      <a:pPr algn="l" fontAlgn="b"/>
                      <a:r>
                        <a:rPr lang="ja-JP" altLang="en-US" sz="1000" u="none" strike="noStrike" dirty="0">
                          <a:effectLst/>
                        </a:rPr>
                        <a:t>　非営利法人</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F2F2F2"/>
                    </a:solidFill>
                  </a:tcPr>
                </a:tc>
                <a:tc>
                  <a:txBody>
                    <a:bodyPr/>
                    <a:lstStyle/>
                    <a:p>
                      <a:pPr algn="r" fontAlgn="b"/>
                      <a:r>
                        <a:rPr lang="en-US" altLang="ja-JP" sz="1000" u="none" strike="noStrike">
                          <a:effectLst/>
                        </a:rPr>
                        <a:t>4 </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L w="12700" cap="flat" cmpd="sng" algn="ctr">
                      <a:solidFill>
                        <a:schemeClr val="tx1"/>
                      </a:solidFill>
                      <a:prstDash val="solid"/>
                      <a:round/>
                      <a:headEnd type="none" w="med" len="med"/>
                      <a:tailEnd type="none" w="med" len="med"/>
                    </a:lnL>
                    <a:solidFill>
                      <a:srgbClr val="FFFFFF"/>
                    </a:solidFill>
                  </a:tcPr>
                </a:tc>
                <a:tc>
                  <a:txBody>
                    <a:bodyPr/>
                    <a:lstStyle/>
                    <a:p>
                      <a:pPr algn="r" fontAlgn="b"/>
                      <a:r>
                        <a:rPr lang="en-US" altLang="ja-JP" sz="1000" u="none" strike="noStrike" dirty="0">
                          <a:effectLst/>
                        </a:rPr>
                        <a:t>4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solidFill>
                      <a:srgbClr val="FFFFFF"/>
                    </a:solidFill>
                  </a:tcPr>
                </a:tc>
                <a:tc>
                  <a:txBody>
                    <a:bodyPr/>
                    <a:lstStyle/>
                    <a:p>
                      <a:pPr algn="r" fontAlgn="b"/>
                      <a:r>
                        <a:rPr lang="en-US" altLang="ja-JP" sz="1000" u="none" strike="noStrike">
                          <a:effectLst/>
                        </a:rPr>
                        <a:t>4 </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solidFill>
                      <a:srgbClr val="FFFFFF"/>
                    </a:solidFill>
                  </a:tcPr>
                </a:tc>
                <a:tc>
                  <a:txBody>
                    <a:bodyPr/>
                    <a:lstStyle/>
                    <a:p>
                      <a:pPr algn="r" fontAlgn="b"/>
                      <a:r>
                        <a:rPr lang="en-US" altLang="ja-JP" sz="1000" u="none" strike="noStrike" dirty="0">
                          <a:effectLst/>
                        </a:rPr>
                        <a:t>4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solidFill>
                      <a:srgbClr val="FFFFFF"/>
                    </a:solidFill>
                  </a:tcPr>
                </a:tc>
                <a:tc>
                  <a:txBody>
                    <a:bodyPr/>
                    <a:lstStyle/>
                    <a:p>
                      <a:pPr algn="r" fontAlgn="b"/>
                      <a:r>
                        <a:rPr lang="en-US" altLang="ja-JP" sz="1000" u="none" strike="noStrike" dirty="0">
                          <a:effectLst/>
                        </a:rPr>
                        <a:t>4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solidFill>
                      <a:srgbClr val="FFFFFF"/>
                    </a:solidFill>
                  </a:tcPr>
                </a:tc>
                <a:tc>
                  <a:txBody>
                    <a:bodyPr/>
                    <a:lstStyle/>
                    <a:p>
                      <a:pPr algn="r" fontAlgn="b"/>
                      <a:r>
                        <a:rPr lang="en-US" altLang="ja-JP" sz="1000" u="none" strike="noStrike" dirty="0">
                          <a:effectLst/>
                        </a:rPr>
                        <a:t>4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solidFill>
                      <a:srgbClr val="FFFFFF"/>
                    </a:solidFill>
                  </a:tcPr>
                </a:tc>
                <a:tc>
                  <a:txBody>
                    <a:bodyPr/>
                    <a:lstStyle/>
                    <a:p>
                      <a:pPr algn="r" fontAlgn="b"/>
                      <a:r>
                        <a:rPr lang="en-US" altLang="ja-JP" sz="1000" u="none" strike="noStrike" dirty="0">
                          <a:effectLst/>
                        </a:rPr>
                        <a:t>4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R w="12700" cap="flat" cmpd="sng" algn="ctr">
                      <a:solidFill>
                        <a:schemeClr val="tx1"/>
                      </a:solidFill>
                      <a:prstDash val="solid"/>
                      <a:round/>
                      <a:headEnd type="none" w="med" len="med"/>
                      <a:tailEnd type="none" w="med" len="med"/>
                    </a:lnR>
                    <a:solidFill>
                      <a:srgbClr val="FFFFFF"/>
                    </a:solidFill>
                  </a:tcPr>
                </a:tc>
                <a:tc>
                  <a:txBody>
                    <a:bodyPr/>
                    <a:lstStyle/>
                    <a:p>
                      <a:pPr algn="r" fontAlgn="b"/>
                      <a:r>
                        <a:rPr lang="en-US" altLang="ja-JP" sz="1000" u="none" strike="noStrike" dirty="0">
                          <a:effectLst/>
                        </a:rPr>
                        <a:t>939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FFFFFF"/>
                    </a:solidFill>
                  </a:tcPr>
                </a:tc>
                <a:extLst>
                  <a:ext uri="{0D108BD9-81ED-4DB2-BD59-A6C34878D82A}">
                    <a16:rowId xmlns:a16="http://schemas.microsoft.com/office/drawing/2014/main" val="3161483064"/>
                  </a:ext>
                </a:extLst>
              </a:tr>
              <a:tr h="190500">
                <a:tc>
                  <a:txBody>
                    <a:bodyPr/>
                    <a:lstStyle/>
                    <a:p>
                      <a:pPr algn="l" fontAlgn="b"/>
                      <a:r>
                        <a:rPr lang="ja-JP" altLang="en-US" sz="1000" u="none" strike="noStrike" dirty="0">
                          <a:effectLst/>
                        </a:rPr>
                        <a:t>　私立病院</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F2F2F2"/>
                    </a:solidFill>
                  </a:tcPr>
                </a:tc>
                <a:tc>
                  <a:txBody>
                    <a:bodyPr/>
                    <a:lstStyle/>
                    <a:p>
                      <a:pPr algn="r" fontAlgn="b"/>
                      <a:r>
                        <a:rPr lang="en-US" altLang="ja-JP" sz="1000" u="none" strike="noStrike">
                          <a:effectLst/>
                        </a:rPr>
                        <a:t>1 </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en-US" altLang="ja-JP" sz="1000" u="none" strike="noStrike">
                          <a:effectLst/>
                        </a:rPr>
                        <a:t>0 </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en-US" altLang="ja-JP" sz="1000" u="none" strike="noStrike">
                          <a:effectLst/>
                        </a:rPr>
                        <a:t>1 </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en-US" altLang="ja-JP" sz="1000" u="none" strike="noStrike">
                          <a:effectLst/>
                        </a:rPr>
                        <a:t>1 </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en-US" altLang="ja-JP" sz="1000" u="none" strike="noStrike" dirty="0">
                          <a:effectLst/>
                        </a:rPr>
                        <a:t>0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en-US" altLang="ja-JP" sz="1000" u="none" strike="noStrike" dirty="0">
                          <a:effectLst/>
                        </a:rPr>
                        <a:t>0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en-US" altLang="ja-JP" sz="1000" u="none" strike="noStrike" dirty="0">
                          <a:effectLst/>
                        </a:rPr>
                        <a:t>0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en-US" altLang="ja-JP" sz="1000" u="none" strike="noStrike" dirty="0">
                          <a:effectLst/>
                        </a:rPr>
                        <a:t>0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3641860682"/>
                  </a:ext>
                </a:extLst>
              </a:tr>
              <a:tr h="190500">
                <a:tc>
                  <a:txBody>
                    <a:bodyPr/>
                    <a:lstStyle/>
                    <a:p>
                      <a:pPr algn="l" fontAlgn="b"/>
                      <a:r>
                        <a:rPr lang="ja-JP" altLang="en-US" sz="1000" b="1" u="none" strike="noStrike" dirty="0">
                          <a:effectLst/>
                        </a:rPr>
                        <a:t>精神科病院</a:t>
                      </a:r>
                      <a:endParaRPr lang="ja-JP" altLang="en-US" sz="10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2F2F2"/>
                    </a:solidFill>
                  </a:tcPr>
                </a:tc>
                <a:tc>
                  <a:txBody>
                    <a:bodyPr/>
                    <a:lstStyle/>
                    <a:p>
                      <a:pPr algn="r" fontAlgn="b"/>
                      <a:r>
                        <a:rPr lang="en-US" altLang="ja-JP" sz="1000" u="none" strike="noStrike" dirty="0">
                          <a:effectLst/>
                        </a:rPr>
                        <a:t>1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FFFFFF"/>
                    </a:solidFill>
                  </a:tcPr>
                </a:tc>
                <a:tc>
                  <a:txBody>
                    <a:bodyPr/>
                    <a:lstStyle/>
                    <a:p>
                      <a:pPr algn="r" fontAlgn="b"/>
                      <a:r>
                        <a:rPr lang="en-US" altLang="ja-JP" sz="1000" u="none" strike="noStrike">
                          <a:effectLst/>
                        </a:rPr>
                        <a:t>1 </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T w="12700" cap="flat" cmpd="sng" algn="ctr">
                      <a:solidFill>
                        <a:schemeClr val="tx1"/>
                      </a:solidFill>
                      <a:prstDash val="solid"/>
                      <a:round/>
                      <a:headEnd type="none" w="med" len="med"/>
                      <a:tailEnd type="none" w="med" len="med"/>
                    </a:lnT>
                    <a:solidFill>
                      <a:srgbClr val="FFFFFF"/>
                    </a:solidFill>
                  </a:tcPr>
                </a:tc>
                <a:tc>
                  <a:txBody>
                    <a:bodyPr/>
                    <a:lstStyle/>
                    <a:p>
                      <a:pPr algn="r" fontAlgn="b"/>
                      <a:r>
                        <a:rPr lang="en-US" altLang="ja-JP" sz="1000" u="none" strike="noStrike">
                          <a:effectLst/>
                        </a:rPr>
                        <a:t>1 </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T w="12700" cap="flat" cmpd="sng" algn="ctr">
                      <a:solidFill>
                        <a:schemeClr val="tx1"/>
                      </a:solidFill>
                      <a:prstDash val="solid"/>
                      <a:round/>
                      <a:headEnd type="none" w="med" len="med"/>
                      <a:tailEnd type="none" w="med" len="med"/>
                    </a:lnT>
                    <a:solidFill>
                      <a:srgbClr val="FFFFFF"/>
                    </a:solidFill>
                  </a:tcPr>
                </a:tc>
                <a:tc>
                  <a:txBody>
                    <a:bodyPr/>
                    <a:lstStyle/>
                    <a:p>
                      <a:pPr algn="r" fontAlgn="b"/>
                      <a:r>
                        <a:rPr lang="en-US" altLang="ja-JP" sz="1000" u="none" strike="noStrike">
                          <a:effectLst/>
                        </a:rPr>
                        <a:t>1 </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T w="12700" cap="flat" cmpd="sng" algn="ctr">
                      <a:solidFill>
                        <a:schemeClr val="tx1"/>
                      </a:solidFill>
                      <a:prstDash val="solid"/>
                      <a:round/>
                      <a:headEnd type="none" w="med" len="med"/>
                      <a:tailEnd type="none" w="med" len="med"/>
                    </a:lnT>
                    <a:solidFill>
                      <a:srgbClr val="FFFFFF"/>
                    </a:solidFill>
                  </a:tcPr>
                </a:tc>
                <a:tc>
                  <a:txBody>
                    <a:bodyPr/>
                    <a:lstStyle/>
                    <a:p>
                      <a:pPr algn="r" fontAlgn="b"/>
                      <a:r>
                        <a:rPr lang="en-US" altLang="ja-JP" sz="1000" u="none" strike="noStrike">
                          <a:effectLst/>
                        </a:rPr>
                        <a:t>1 </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T w="12700" cap="flat" cmpd="sng" algn="ctr">
                      <a:solidFill>
                        <a:schemeClr val="tx1"/>
                      </a:solidFill>
                      <a:prstDash val="solid"/>
                      <a:round/>
                      <a:headEnd type="none" w="med" len="med"/>
                      <a:tailEnd type="none" w="med" len="med"/>
                    </a:lnT>
                    <a:solidFill>
                      <a:srgbClr val="FFFFFF"/>
                    </a:solidFill>
                  </a:tcPr>
                </a:tc>
                <a:tc>
                  <a:txBody>
                    <a:bodyPr/>
                    <a:lstStyle/>
                    <a:p>
                      <a:pPr algn="r" fontAlgn="b"/>
                      <a:r>
                        <a:rPr lang="en-US" altLang="ja-JP" sz="1000" u="none" strike="noStrike" dirty="0">
                          <a:effectLst/>
                        </a:rPr>
                        <a:t>1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T w="12700" cap="flat" cmpd="sng" algn="ctr">
                      <a:solidFill>
                        <a:schemeClr val="tx1"/>
                      </a:solidFill>
                      <a:prstDash val="solid"/>
                      <a:round/>
                      <a:headEnd type="none" w="med" len="med"/>
                      <a:tailEnd type="none" w="med" len="med"/>
                    </a:lnT>
                    <a:solidFill>
                      <a:srgbClr val="FFFFFF"/>
                    </a:solidFill>
                  </a:tcPr>
                </a:tc>
                <a:tc>
                  <a:txBody>
                    <a:bodyPr/>
                    <a:lstStyle/>
                    <a:p>
                      <a:pPr algn="r" fontAlgn="b"/>
                      <a:r>
                        <a:rPr lang="en-US" altLang="ja-JP" sz="1000" u="none" strike="noStrike" dirty="0">
                          <a:effectLst/>
                        </a:rPr>
                        <a:t>1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FFFFF"/>
                    </a:solidFill>
                  </a:tcPr>
                </a:tc>
                <a:tc>
                  <a:txBody>
                    <a:bodyPr/>
                    <a:lstStyle/>
                    <a:p>
                      <a:pPr algn="r" fontAlgn="b"/>
                      <a:r>
                        <a:rPr lang="en-US" altLang="ja-JP" sz="1000" u="none" strike="noStrike" dirty="0">
                          <a:effectLst/>
                        </a:rPr>
                        <a:t>1,950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FFFFF"/>
                    </a:solidFill>
                  </a:tcPr>
                </a:tc>
                <a:extLst>
                  <a:ext uri="{0D108BD9-81ED-4DB2-BD59-A6C34878D82A}">
                    <a16:rowId xmlns:a16="http://schemas.microsoft.com/office/drawing/2014/main" val="3003509936"/>
                  </a:ext>
                </a:extLst>
              </a:tr>
              <a:tr h="190500">
                <a:tc>
                  <a:txBody>
                    <a:bodyPr/>
                    <a:lstStyle/>
                    <a:p>
                      <a:pPr algn="l" fontAlgn="b"/>
                      <a:r>
                        <a:rPr lang="ja-JP" altLang="en-US" sz="1000" u="none" strike="noStrike" dirty="0">
                          <a:effectLst/>
                        </a:rPr>
                        <a:t>　公立病院</a:t>
                      </a:r>
                      <a:r>
                        <a:rPr lang="en-US" altLang="ja-JP" sz="1000" u="none" strike="noStrike" baseline="30000" dirty="0">
                          <a:effectLst/>
                        </a:rPr>
                        <a:t>1</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F2F2F2"/>
                    </a:solidFill>
                  </a:tcPr>
                </a:tc>
                <a:tc>
                  <a:txBody>
                    <a:bodyPr/>
                    <a:lstStyle/>
                    <a:p>
                      <a:pPr algn="r" fontAlgn="b"/>
                      <a:r>
                        <a:rPr lang="en-US" altLang="ja-JP" sz="1000" u="none" strike="noStrike" dirty="0">
                          <a:effectLst/>
                        </a:rPr>
                        <a:t>1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en-US" altLang="ja-JP" sz="1000" u="none" strike="noStrike" dirty="0">
                          <a:effectLst/>
                        </a:rPr>
                        <a:t>1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en-US" altLang="ja-JP" sz="1000" u="none" strike="noStrike">
                          <a:effectLst/>
                        </a:rPr>
                        <a:t>1 </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en-US" altLang="ja-JP" sz="1000" u="none" strike="noStrike">
                          <a:effectLst/>
                        </a:rPr>
                        <a:t>1 </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en-US" altLang="ja-JP" sz="1000" u="none" strike="noStrike" dirty="0">
                          <a:effectLst/>
                        </a:rPr>
                        <a:t>1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en-US" altLang="ja-JP" sz="1000" u="none" strike="noStrike" dirty="0">
                          <a:effectLst/>
                        </a:rPr>
                        <a:t>1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en-US" altLang="ja-JP" sz="1000" u="none" strike="noStrike" dirty="0">
                          <a:effectLst/>
                        </a:rPr>
                        <a:t>1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en-US" altLang="ja-JP" sz="1000" u="none" strike="noStrike" dirty="0">
                          <a:effectLst/>
                        </a:rPr>
                        <a:t>1,950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4016347205"/>
                  </a:ext>
                </a:extLst>
              </a:tr>
              <a:tr h="190500">
                <a:tc>
                  <a:txBody>
                    <a:bodyPr/>
                    <a:lstStyle/>
                    <a:p>
                      <a:pPr algn="l" fontAlgn="b"/>
                      <a:r>
                        <a:rPr lang="ja-JP" altLang="en-US" sz="1000" b="1" u="none" strike="noStrike" dirty="0">
                          <a:effectLst/>
                        </a:rPr>
                        <a:t>プライマリーケア</a:t>
                      </a:r>
                      <a:endParaRPr lang="ja-JP" altLang="en-US" sz="10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2F2F2"/>
                    </a:solidFill>
                  </a:tcPr>
                </a:tc>
                <a:tc>
                  <a:txBody>
                    <a:bodyPr/>
                    <a:lstStyle/>
                    <a:p>
                      <a:pPr algn="l" fontAlgn="b"/>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FFFFFF"/>
                    </a:solidFill>
                  </a:tcPr>
                </a:tc>
                <a:tc>
                  <a:txBody>
                    <a:bodyPr/>
                    <a:lstStyle/>
                    <a:p>
                      <a:pPr algn="l" fontAlgn="b"/>
                      <a:endPar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T w="12700" cap="flat" cmpd="sng" algn="ctr">
                      <a:solidFill>
                        <a:schemeClr val="tx1"/>
                      </a:solidFill>
                      <a:prstDash val="solid"/>
                      <a:round/>
                      <a:headEnd type="none" w="med" len="med"/>
                      <a:tailEnd type="none" w="med" len="med"/>
                    </a:lnT>
                    <a:solidFill>
                      <a:srgbClr val="FFFFFF"/>
                    </a:solidFill>
                  </a:tcPr>
                </a:tc>
                <a:tc>
                  <a:txBody>
                    <a:bodyPr/>
                    <a:lstStyle/>
                    <a:p>
                      <a:pPr algn="l" fontAlgn="b"/>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T w="12700" cap="flat" cmpd="sng" algn="ctr">
                      <a:solidFill>
                        <a:schemeClr val="tx1"/>
                      </a:solidFill>
                      <a:prstDash val="solid"/>
                      <a:round/>
                      <a:headEnd type="none" w="med" len="med"/>
                      <a:tailEnd type="none" w="med" len="med"/>
                    </a:lnT>
                    <a:solidFill>
                      <a:srgbClr val="FFFFFF"/>
                    </a:solidFill>
                  </a:tcPr>
                </a:tc>
                <a:tc>
                  <a:txBody>
                    <a:bodyPr/>
                    <a:lstStyle/>
                    <a:p>
                      <a:pPr algn="l" fontAlgn="b"/>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T w="12700" cap="flat" cmpd="sng" algn="ctr">
                      <a:solidFill>
                        <a:schemeClr val="tx1"/>
                      </a:solidFill>
                      <a:prstDash val="solid"/>
                      <a:round/>
                      <a:headEnd type="none" w="med" len="med"/>
                      <a:tailEnd type="none" w="med" len="med"/>
                    </a:lnT>
                    <a:solidFill>
                      <a:srgbClr val="FFFFFF"/>
                    </a:solidFill>
                  </a:tcPr>
                </a:tc>
                <a:tc>
                  <a:txBody>
                    <a:bodyPr/>
                    <a:lstStyle/>
                    <a:p>
                      <a:pPr algn="l" fontAlgn="b"/>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T w="12700" cap="flat" cmpd="sng" algn="ctr">
                      <a:solidFill>
                        <a:schemeClr val="tx1"/>
                      </a:solidFill>
                      <a:prstDash val="solid"/>
                      <a:round/>
                      <a:headEnd type="none" w="med" len="med"/>
                      <a:tailEnd type="none" w="med" len="med"/>
                    </a:lnT>
                    <a:solidFill>
                      <a:srgbClr val="FFFFFF"/>
                    </a:solidFill>
                  </a:tcPr>
                </a:tc>
                <a:tc>
                  <a:txBody>
                    <a:bodyPr/>
                    <a:lstStyle/>
                    <a:p>
                      <a:pPr algn="l" fontAlgn="b"/>
                      <a:endParaRPr lang="ja-JP" altLang="en-US"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T w="12700" cap="flat" cmpd="sng" algn="ctr">
                      <a:solidFill>
                        <a:schemeClr val="tx1"/>
                      </a:solidFill>
                      <a:prstDash val="solid"/>
                      <a:round/>
                      <a:headEnd type="none" w="med" len="med"/>
                      <a:tailEnd type="none" w="med" len="med"/>
                    </a:lnT>
                    <a:solidFill>
                      <a:srgbClr val="FFFFFF"/>
                    </a:solidFill>
                  </a:tcPr>
                </a:tc>
                <a:tc>
                  <a:txBody>
                    <a:bodyPr/>
                    <a:lstStyle/>
                    <a:p>
                      <a:pPr algn="l" fontAlgn="b"/>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FFFFF"/>
                    </a:solidFill>
                  </a:tcPr>
                </a:tc>
                <a:tc>
                  <a:txBody>
                    <a:bodyPr/>
                    <a:lstStyle/>
                    <a:p>
                      <a:pPr algn="l" fontAlgn="b"/>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FFFFF"/>
                    </a:solidFill>
                  </a:tcPr>
                </a:tc>
                <a:extLst>
                  <a:ext uri="{0D108BD9-81ED-4DB2-BD59-A6C34878D82A}">
                    <a16:rowId xmlns:a16="http://schemas.microsoft.com/office/drawing/2014/main" val="2596211962"/>
                  </a:ext>
                </a:extLst>
              </a:tr>
              <a:tr h="190500">
                <a:tc>
                  <a:txBody>
                    <a:bodyPr/>
                    <a:lstStyle/>
                    <a:p>
                      <a:pPr algn="l" fontAlgn="b"/>
                      <a:r>
                        <a:rPr lang="ja-JP" altLang="en-US" sz="1000" u="none" strike="noStrike" dirty="0">
                          <a:effectLst/>
                        </a:rPr>
                        <a:t>　公営ポリクリニック</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F2F2F2"/>
                    </a:solidFill>
                  </a:tcPr>
                </a:tc>
                <a:tc>
                  <a:txBody>
                    <a:bodyPr/>
                    <a:lstStyle/>
                    <a:p>
                      <a:pPr algn="r" fontAlgn="b"/>
                      <a:r>
                        <a:rPr lang="en-US" altLang="ja-JP" sz="1000" u="none" strike="noStrike" dirty="0">
                          <a:effectLst/>
                        </a:rPr>
                        <a:t>18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L w="12700" cap="flat" cmpd="sng" algn="ctr">
                      <a:solidFill>
                        <a:schemeClr val="tx1"/>
                      </a:solidFill>
                      <a:prstDash val="solid"/>
                      <a:round/>
                      <a:headEnd type="none" w="med" len="med"/>
                      <a:tailEnd type="none" w="med" len="med"/>
                    </a:lnL>
                    <a:solidFill>
                      <a:srgbClr val="FFFFFF"/>
                    </a:solidFill>
                  </a:tcPr>
                </a:tc>
                <a:tc>
                  <a:txBody>
                    <a:bodyPr/>
                    <a:lstStyle/>
                    <a:p>
                      <a:pPr algn="r" fontAlgn="b"/>
                      <a:r>
                        <a:rPr lang="en-US" altLang="ja-JP" sz="1000" u="none" strike="noStrike" dirty="0">
                          <a:effectLst/>
                        </a:rPr>
                        <a:t>18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solidFill>
                      <a:srgbClr val="FFFFFF"/>
                    </a:solidFill>
                  </a:tcPr>
                </a:tc>
                <a:tc>
                  <a:txBody>
                    <a:bodyPr/>
                    <a:lstStyle/>
                    <a:p>
                      <a:pPr algn="r" fontAlgn="b"/>
                      <a:r>
                        <a:rPr lang="en-US" altLang="ja-JP" sz="1000" u="none" strike="noStrike">
                          <a:effectLst/>
                        </a:rPr>
                        <a:t>18 </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solidFill>
                      <a:srgbClr val="FFFFFF"/>
                    </a:solidFill>
                  </a:tcPr>
                </a:tc>
                <a:tc>
                  <a:txBody>
                    <a:bodyPr/>
                    <a:lstStyle/>
                    <a:p>
                      <a:pPr algn="r" fontAlgn="b"/>
                      <a:r>
                        <a:rPr lang="en-US" altLang="ja-JP" sz="1000" u="none" strike="noStrike" dirty="0">
                          <a:effectLst/>
                        </a:rPr>
                        <a:t>20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solidFill>
                      <a:srgbClr val="FFFFFF"/>
                    </a:solidFill>
                  </a:tcPr>
                </a:tc>
                <a:tc>
                  <a:txBody>
                    <a:bodyPr/>
                    <a:lstStyle/>
                    <a:p>
                      <a:pPr algn="r" fontAlgn="b"/>
                      <a:r>
                        <a:rPr lang="en-US" altLang="ja-JP" sz="1000" u="none" strike="noStrike" dirty="0">
                          <a:effectLst/>
                        </a:rPr>
                        <a:t>20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solidFill>
                      <a:srgbClr val="FFFFFF"/>
                    </a:solidFill>
                  </a:tcPr>
                </a:tc>
                <a:tc>
                  <a:txBody>
                    <a:bodyPr/>
                    <a:lstStyle/>
                    <a:p>
                      <a:pPr algn="r" fontAlgn="b"/>
                      <a:r>
                        <a:rPr lang="en-US" altLang="ja-JP" sz="1000" u="none" strike="noStrike" dirty="0">
                          <a:effectLst/>
                        </a:rPr>
                        <a:t>20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solidFill>
                      <a:srgbClr val="FFFFFF"/>
                    </a:solidFill>
                  </a:tcPr>
                </a:tc>
                <a:tc>
                  <a:txBody>
                    <a:bodyPr/>
                    <a:lstStyle/>
                    <a:p>
                      <a:pPr algn="r" fontAlgn="b"/>
                      <a:r>
                        <a:rPr lang="en-US" altLang="ja-JP" sz="1000" u="none" strike="noStrike" dirty="0">
                          <a:effectLst/>
                        </a:rPr>
                        <a:t>20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R w="12700" cap="flat" cmpd="sng" algn="ctr">
                      <a:solidFill>
                        <a:schemeClr val="tx1"/>
                      </a:solidFill>
                      <a:prstDash val="solid"/>
                      <a:round/>
                      <a:headEnd type="none" w="med" len="med"/>
                      <a:tailEnd type="none" w="med" len="med"/>
                    </a:lnR>
                    <a:solidFill>
                      <a:srgbClr val="FFFFFF"/>
                    </a:solidFill>
                  </a:tcPr>
                </a:tc>
                <a:tc>
                  <a:txBody>
                    <a:bodyPr/>
                    <a:lstStyle/>
                    <a:p>
                      <a:pPr algn="l" fontAlgn="b"/>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rgbClr val="FFFFFF"/>
                    </a:solidFill>
                  </a:tcPr>
                </a:tc>
                <a:extLst>
                  <a:ext uri="{0D108BD9-81ED-4DB2-BD59-A6C34878D82A}">
                    <a16:rowId xmlns:a16="http://schemas.microsoft.com/office/drawing/2014/main" val="2541033914"/>
                  </a:ext>
                </a:extLst>
              </a:tr>
              <a:tr h="190500">
                <a:tc>
                  <a:txBody>
                    <a:bodyPr/>
                    <a:lstStyle/>
                    <a:p>
                      <a:pPr algn="l" fontAlgn="b"/>
                      <a:r>
                        <a:rPr lang="ja-JP" altLang="en-US" sz="1000" u="none" strike="noStrike" dirty="0">
                          <a:effectLst/>
                        </a:rPr>
                        <a:t>　民間クリニック（</a:t>
                      </a:r>
                      <a:r>
                        <a:rPr lang="en-US" altLang="ja-JP" sz="1000" u="none" strike="noStrike" dirty="0">
                          <a:effectLst/>
                        </a:rPr>
                        <a:t>GP</a:t>
                      </a:r>
                      <a:r>
                        <a:rPr lang="ja-JP" altLang="en-US" sz="1000" u="none" strike="noStrike" dirty="0">
                          <a:effectLst/>
                        </a:rPr>
                        <a:t>）</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F2F2F2"/>
                    </a:solidFill>
                  </a:tcPr>
                </a:tc>
                <a:tc>
                  <a:txBody>
                    <a:bodyPr/>
                    <a:lstStyle/>
                    <a:p>
                      <a:pPr algn="r" fontAlgn="b"/>
                      <a:r>
                        <a:rPr lang="en-US" altLang="ja-JP" sz="1000" u="none" strike="noStrike">
                          <a:effectLst/>
                        </a:rPr>
                        <a:t>1,868 </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en-US" altLang="ja-JP" sz="1000" u="none" strike="noStrike">
                          <a:effectLst/>
                        </a:rPr>
                        <a:t>1,933 </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en-US" altLang="ja-JP" sz="1000" u="none" strike="noStrike">
                          <a:effectLst/>
                        </a:rPr>
                        <a:t>2,025 </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en-US" altLang="ja-JP" sz="1000" u="none" strike="noStrike">
                          <a:effectLst/>
                        </a:rPr>
                        <a:t>2,116 </a:t>
                      </a:r>
                      <a:endParaRPr lang="en-US" altLang="ja-JP" sz="1000" b="0" i="0" u="none" strike="noStrike">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en-US" altLang="ja-JP" sz="1000" u="none" strike="noStrike" dirty="0">
                          <a:effectLst/>
                        </a:rPr>
                        <a:t>2,222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en-US" altLang="ja-JP" sz="1000" u="none" strike="noStrike" dirty="0">
                          <a:effectLst/>
                        </a:rPr>
                        <a:t>2,304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en-US" altLang="ja-JP" sz="1000" u="none" strike="noStrike" dirty="0">
                          <a:effectLst/>
                        </a:rPr>
                        <a:t>2,343 </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FFFFFF"/>
                    </a:solidFill>
                  </a:tcPr>
                </a:tc>
                <a:tc>
                  <a:txBody>
                    <a:bodyPr/>
                    <a:lstStyle/>
                    <a:p>
                      <a:pPr algn="l" fontAlgn="b"/>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2993542766"/>
                  </a:ext>
                </a:extLst>
              </a:tr>
            </a:tbl>
          </a:graphicData>
        </a:graphic>
      </p:graphicFrame>
    </p:spTree>
    <p:extLst>
      <p:ext uri="{BB962C8B-B14F-4D97-AF65-F5344CB8AC3E}">
        <p14:creationId xmlns:p14="http://schemas.microsoft.com/office/powerpoint/2010/main" val="9041655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7ED988B-71B5-4EE4-B9F7-5CDAD3E0DF3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5" imgW="395" imgH="396" progId="TCLayout.ActiveDocument.1">
                  <p:embed/>
                </p:oleObj>
              </mc:Choice>
              <mc:Fallback>
                <p:oleObj name="think-cell Slide" r:id="rId5" imgW="395" imgH="396" progId="TCLayout.ActiveDocument.1">
                  <p:embed/>
                  <p:pic>
                    <p:nvPicPr>
                      <p:cNvPr id="2" name="Object 1" hidden="1">
                        <a:extLst>
                          <a:ext uri="{FF2B5EF4-FFF2-40B4-BE49-F238E27FC236}">
                            <a16:creationId xmlns:a16="http://schemas.microsoft.com/office/drawing/2014/main" id="{E7ED988B-71B5-4EE4-B9F7-5CDAD3E0DF3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公衆衛生</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関 </a:t>
            </a:r>
            <a:r>
              <a:rPr lang="en-US" altLang="ja-JP" dirty="0"/>
              <a:t>– </a:t>
            </a:r>
            <a:r>
              <a:rPr lang="ja-JP" altLang="en-US" sz="2000" dirty="0"/>
              <a:t>主な公的および民間医療機関</a:t>
            </a:r>
            <a:endParaRPr lang="en-US" altLang="ja-JP" dirty="0"/>
          </a:p>
        </p:txBody>
      </p:sp>
      <p:sp>
        <p:nvSpPr>
          <p:cNvPr id="15" name="テキスト ボックス 14"/>
          <p:cNvSpPr txBox="1"/>
          <p:nvPr/>
        </p:nvSpPr>
        <p:spPr>
          <a:xfrm>
            <a:off x="200472" y="6669360"/>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OH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cs typeface="Arial" panose="020B0604020202020204" pitchFamily="34" charset="0"/>
              </a:rPr>
              <a:t>各病院ホームページ</a:t>
            </a:r>
            <a:endParaRPr lang="ja-JP" altLang="ja-JP" sz="800" dirty="0"/>
          </a:p>
        </p:txBody>
      </p:sp>
      <p:sp>
        <p:nvSpPr>
          <p:cNvPr id="11" name="テキスト ボックス 10"/>
          <p:cNvSpPr txBox="1"/>
          <p:nvPr/>
        </p:nvSpPr>
        <p:spPr>
          <a:xfrm>
            <a:off x="200472" y="1124744"/>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シンガポールの病院は厳密にはすべて私企業による運営であるが、政府が全額出資している</a:t>
            </a:r>
            <a:r>
              <a:rPr lang="en-US" altLang="ja-JP" sz="1400" dirty="0"/>
              <a:t>National Healthcare Group, National University health System, </a:t>
            </a:r>
            <a:r>
              <a:rPr lang="en-US" altLang="ja-JP" sz="1400" dirty="0" err="1"/>
              <a:t>SingHealth</a:t>
            </a:r>
            <a:r>
              <a:rPr lang="ja-JP" altLang="en-US" sz="1400" dirty="0"/>
              <a:t>傘下の病院は「公立病院」の性格を持っ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病院は国際的に展開している企業グループにより運営されているものが多い。公立病院に比べてベッド数は少ないが、より高度かつ快適な医療サービスを提供することにより、海外からの患者も集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Rectangle 6">
            <a:extLst>
              <a:ext uri="{FF2B5EF4-FFF2-40B4-BE49-F238E27FC236}">
                <a16:creationId xmlns:a16="http://schemas.microsoft.com/office/drawing/2014/main" id="{8618C1D2-518B-43B3-94D1-AF6DDFDCC520}"/>
              </a:ext>
            </a:extLst>
          </p:cNvPr>
          <p:cNvSpPr/>
          <p:nvPr/>
        </p:nvSpPr>
        <p:spPr>
          <a:xfrm>
            <a:off x="704528" y="2916295"/>
            <a:ext cx="1152128" cy="576064"/>
          </a:xfrm>
          <a:prstGeom prst="rect">
            <a:avLst/>
          </a:prstGeom>
          <a:solidFill>
            <a:schemeClr val="accent6">
              <a:lumMod val="20000"/>
              <a:lumOff val="80000"/>
            </a:schemeClr>
          </a:solidFill>
        </p:spPr>
        <p:txBody>
          <a:bodyPr wrap="square" rtlCol="0" anchor="ctr">
            <a:noAutofit/>
          </a:bodyPr>
          <a:lstStyle/>
          <a:p>
            <a:pPr marL="0" algn="ctr" fontAlgn="ctr">
              <a:lnSpc>
                <a:spcPct val="114000"/>
              </a:lnSpc>
              <a:spcAft>
                <a:spcPts val="400"/>
              </a:spcAft>
            </a:pPr>
            <a:r>
              <a:rPr kumimoji="1" lang="ja-JP" altLang="en-US" sz="1000" dirty="0"/>
              <a:t>公立病院</a:t>
            </a:r>
            <a:r>
              <a:rPr kumimoji="1" lang="en-US" altLang="ja-JP" sz="1000" baseline="30000" dirty="0"/>
              <a:t>1</a:t>
            </a:r>
            <a:r>
              <a:rPr kumimoji="1" lang="en-US" altLang="ja-JP" sz="1000" dirty="0"/>
              <a:t> </a:t>
            </a:r>
            <a:endParaRPr kumimoji="1" lang="en-CA" sz="1000" dirty="0"/>
          </a:p>
        </p:txBody>
      </p:sp>
      <p:sp>
        <p:nvSpPr>
          <p:cNvPr id="16" name="Rectangle 15">
            <a:extLst>
              <a:ext uri="{FF2B5EF4-FFF2-40B4-BE49-F238E27FC236}">
                <a16:creationId xmlns:a16="http://schemas.microsoft.com/office/drawing/2014/main" id="{EC0BD816-FC89-46D6-A280-3AA74F6D5851}"/>
              </a:ext>
            </a:extLst>
          </p:cNvPr>
          <p:cNvSpPr/>
          <p:nvPr/>
        </p:nvSpPr>
        <p:spPr>
          <a:xfrm>
            <a:off x="704528" y="4574039"/>
            <a:ext cx="1152128" cy="576064"/>
          </a:xfrm>
          <a:prstGeom prst="rect">
            <a:avLst/>
          </a:prstGeom>
          <a:solidFill>
            <a:schemeClr val="accent6">
              <a:lumMod val="20000"/>
              <a:lumOff val="80000"/>
            </a:schemeClr>
          </a:solidFill>
        </p:spPr>
        <p:txBody>
          <a:bodyPr wrap="square" rtlCol="0" anchor="ctr">
            <a:noAutofit/>
          </a:bodyPr>
          <a:lstStyle/>
          <a:p>
            <a:pPr marL="0" algn="ctr" fontAlgn="ctr">
              <a:lnSpc>
                <a:spcPct val="114000"/>
              </a:lnSpc>
              <a:spcAft>
                <a:spcPts val="400"/>
              </a:spcAft>
            </a:pPr>
            <a:r>
              <a:rPr lang="ja-JP" altLang="en-US" sz="1000" dirty="0"/>
              <a:t>私立病院</a:t>
            </a:r>
          </a:p>
        </p:txBody>
      </p:sp>
      <p:sp>
        <p:nvSpPr>
          <p:cNvPr id="4" name="4. Footnote">
            <a:extLst>
              <a:ext uri="{FF2B5EF4-FFF2-40B4-BE49-F238E27FC236}">
                <a16:creationId xmlns:a16="http://schemas.microsoft.com/office/drawing/2014/main" id="{8C1795C0-B97D-47E4-88E1-790410F6BB03}"/>
              </a:ext>
            </a:extLst>
          </p:cNvPr>
          <p:cNvSpPr txBox="1"/>
          <p:nvPr>
            <p:custDataLst>
              <p:tags r:id="rId3"/>
            </p:custDataLst>
          </p:nvPr>
        </p:nvSpPr>
        <p:spPr>
          <a:xfrm>
            <a:off x="196498" y="6503198"/>
            <a:ext cx="6485736" cy="123111"/>
          </a:xfrm>
          <a:prstGeom prst="rect">
            <a:avLst/>
          </a:prstGeom>
          <a:noFill/>
        </p:spPr>
        <p:txBody>
          <a:bodyPr vert="horz" wrap="square" lIns="0" tIns="0" rIns="0" bIns="0" rtlCol="0" anchor="b" anchorCtr="0">
            <a:spAutoFit/>
          </a:bodyPr>
          <a:lstStyle/>
          <a:p>
            <a:pPr marL="203200" indent="-21272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Restructure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ospital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とも呼ばれ、国が</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所有する私企業として運営されている</a:t>
            </a:r>
            <a:endParaRPr kumimoji="1" lang="en-CA"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TextBox 18">
            <a:extLst>
              <a:ext uri="{FF2B5EF4-FFF2-40B4-BE49-F238E27FC236}">
                <a16:creationId xmlns:a16="http://schemas.microsoft.com/office/drawing/2014/main" id="{836FD507-3350-4053-AF18-D8A5BBFB0337}"/>
              </a:ext>
            </a:extLst>
          </p:cNvPr>
          <p:cNvSpPr txBox="1"/>
          <p:nvPr/>
        </p:nvSpPr>
        <p:spPr>
          <a:xfrm>
            <a:off x="2343989" y="3330493"/>
            <a:ext cx="2520279" cy="246221"/>
          </a:xfrm>
          <a:prstGeom prst="rect">
            <a:avLst/>
          </a:prstGeom>
          <a:noFill/>
        </p:spPr>
        <p:txBody>
          <a:bodyPr wrap="square">
            <a:spAutoFit/>
          </a:bodyPr>
          <a:lstStyle/>
          <a:p>
            <a:r>
              <a:rPr lang="en-US" altLang="ja-JP" sz="1000" dirty="0"/>
              <a:t>National University Health System</a:t>
            </a:r>
          </a:p>
        </p:txBody>
      </p:sp>
      <p:sp>
        <p:nvSpPr>
          <p:cNvPr id="24" name="TextBox 23">
            <a:extLst>
              <a:ext uri="{FF2B5EF4-FFF2-40B4-BE49-F238E27FC236}">
                <a16:creationId xmlns:a16="http://schemas.microsoft.com/office/drawing/2014/main" id="{4C25D70C-C297-4759-98BE-54D998E963A7}"/>
              </a:ext>
            </a:extLst>
          </p:cNvPr>
          <p:cNvSpPr txBox="1"/>
          <p:nvPr/>
        </p:nvSpPr>
        <p:spPr>
          <a:xfrm>
            <a:off x="2343989" y="2867874"/>
            <a:ext cx="2272445" cy="246221"/>
          </a:xfrm>
          <a:prstGeom prst="rect">
            <a:avLst/>
          </a:prstGeom>
          <a:noFill/>
        </p:spPr>
        <p:txBody>
          <a:bodyPr wrap="square">
            <a:spAutoFit/>
          </a:bodyPr>
          <a:lstStyle/>
          <a:p>
            <a:r>
              <a:rPr lang="en-US" altLang="ja-JP" sz="1000" dirty="0"/>
              <a:t>National Healthcare Group</a:t>
            </a:r>
          </a:p>
        </p:txBody>
      </p:sp>
      <p:sp>
        <p:nvSpPr>
          <p:cNvPr id="27" name="TextBox 26">
            <a:extLst>
              <a:ext uri="{FF2B5EF4-FFF2-40B4-BE49-F238E27FC236}">
                <a16:creationId xmlns:a16="http://schemas.microsoft.com/office/drawing/2014/main" id="{EDC1285C-4744-4F7E-876C-7E218D12A109}"/>
              </a:ext>
            </a:extLst>
          </p:cNvPr>
          <p:cNvSpPr txBox="1"/>
          <p:nvPr/>
        </p:nvSpPr>
        <p:spPr>
          <a:xfrm>
            <a:off x="2343989" y="3873812"/>
            <a:ext cx="2272445" cy="246221"/>
          </a:xfrm>
          <a:prstGeom prst="rect">
            <a:avLst/>
          </a:prstGeom>
          <a:noFill/>
        </p:spPr>
        <p:txBody>
          <a:bodyPr wrap="square">
            <a:spAutoFit/>
          </a:bodyPr>
          <a:lstStyle/>
          <a:p>
            <a:r>
              <a:rPr lang="en-US" altLang="ja-JP" sz="1000" dirty="0" err="1"/>
              <a:t>SingHealth</a:t>
            </a:r>
            <a:endParaRPr lang="en-US" altLang="ja-JP" sz="1000" dirty="0"/>
          </a:p>
        </p:txBody>
      </p:sp>
      <p:sp>
        <p:nvSpPr>
          <p:cNvPr id="30" name="TextBox 29">
            <a:extLst>
              <a:ext uri="{FF2B5EF4-FFF2-40B4-BE49-F238E27FC236}">
                <a16:creationId xmlns:a16="http://schemas.microsoft.com/office/drawing/2014/main" id="{663ABBAF-1F74-4BC4-A09F-BD8ED4D0D155}"/>
              </a:ext>
            </a:extLst>
          </p:cNvPr>
          <p:cNvSpPr txBox="1"/>
          <p:nvPr/>
        </p:nvSpPr>
        <p:spPr>
          <a:xfrm>
            <a:off x="5097016" y="2867874"/>
            <a:ext cx="1860938" cy="400110"/>
          </a:xfrm>
          <a:prstGeom prst="rect">
            <a:avLst/>
          </a:prstGeom>
          <a:noFill/>
        </p:spPr>
        <p:txBody>
          <a:bodyPr wrap="square">
            <a:spAutoFit/>
          </a:bodyPr>
          <a:lstStyle/>
          <a:p>
            <a:r>
              <a:rPr lang="en-US" altLang="ja-JP" sz="1000" dirty="0"/>
              <a:t>Tan</a:t>
            </a:r>
            <a:r>
              <a:rPr lang="ja-JP" altLang="en-US" sz="1000" dirty="0"/>
              <a:t> </a:t>
            </a:r>
            <a:r>
              <a:rPr lang="en-US" altLang="ja-JP" sz="1000" dirty="0"/>
              <a:t>Tock</a:t>
            </a:r>
            <a:r>
              <a:rPr lang="ja-JP" altLang="en-US" sz="1000" dirty="0"/>
              <a:t> </a:t>
            </a:r>
            <a:r>
              <a:rPr lang="en-US" altLang="ja-JP" sz="1000" dirty="0"/>
              <a:t>Seng</a:t>
            </a:r>
            <a:r>
              <a:rPr lang="ja-JP" altLang="en-US" sz="1000" dirty="0"/>
              <a:t> </a:t>
            </a:r>
            <a:r>
              <a:rPr lang="en-US" altLang="ja-JP" sz="1000" dirty="0"/>
              <a:t>Hospital</a:t>
            </a:r>
          </a:p>
          <a:p>
            <a:r>
              <a:rPr lang="en-US" altLang="ja-JP" sz="1000" dirty="0"/>
              <a:t>Khoo Tech </a:t>
            </a:r>
            <a:r>
              <a:rPr lang="en-US" altLang="ja-JP" sz="1000" dirty="0" err="1"/>
              <a:t>Puat</a:t>
            </a:r>
            <a:r>
              <a:rPr lang="en-US" altLang="ja-JP" sz="1000" dirty="0"/>
              <a:t> Hospital</a:t>
            </a:r>
          </a:p>
        </p:txBody>
      </p:sp>
      <p:sp>
        <p:nvSpPr>
          <p:cNvPr id="31" name="TextBox 30">
            <a:extLst>
              <a:ext uri="{FF2B5EF4-FFF2-40B4-BE49-F238E27FC236}">
                <a16:creationId xmlns:a16="http://schemas.microsoft.com/office/drawing/2014/main" id="{46A22226-6B84-4DC1-BD7C-0142DB9B57FF}"/>
              </a:ext>
            </a:extLst>
          </p:cNvPr>
          <p:cNvSpPr txBox="1"/>
          <p:nvPr/>
        </p:nvSpPr>
        <p:spPr>
          <a:xfrm>
            <a:off x="5097016" y="3288949"/>
            <a:ext cx="2725035" cy="553998"/>
          </a:xfrm>
          <a:prstGeom prst="rect">
            <a:avLst/>
          </a:prstGeom>
          <a:noFill/>
        </p:spPr>
        <p:txBody>
          <a:bodyPr wrap="square">
            <a:spAutoFit/>
          </a:bodyPr>
          <a:lstStyle/>
          <a:p>
            <a:r>
              <a:rPr lang="en-US" altLang="ja-JP" sz="1000" dirty="0"/>
              <a:t>National University Hospital</a:t>
            </a:r>
          </a:p>
          <a:p>
            <a:r>
              <a:rPr lang="en-US" altLang="ja-JP" sz="1000" dirty="0"/>
              <a:t>Ng Teng Fong General Hospital</a:t>
            </a:r>
          </a:p>
          <a:p>
            <a:r>
              <a:rPr lang="en-US" altLang="ja-JP" sz="1000" dirty="0"/>
              <a:t>Alexandra Hospital</a:t>
            </a:r>
          </a:p>
        </p:txBody>
      </p:sp>
      <p:sp>
        <p:nvSpPr>
          <p:cNvPr id="32" name="TextBox 31">
            <a:extLst>
              <a:ext uri="{FF2B5EF4-FFF2-40B4-BE49-F238E27FC236}">
                <a16:creationId xmlns:a16="http://schemas.microsoft.com/office/drawing/2014/main" id="{899B496C-4903-4862-9522-46AF519840C0}"/>
              </a:ext>
            </a:extLst>
          </p:cNvPr>
          <p:cNvSpPr txBox="1"/>
          <p:nvPr/>
        </p:nvSpPr>
        <p:spPr>
          <a:xfrm>
            <a:off x="5097016" y="3863912"/>
            <a:ext cx="2725035" cy="553998"/>
          </a:xfrm>
          <a:prstGeom prst="rect">
            <a:avLst/>
          </a:prstGeom>
          <a:noFill/>
        </p:spPr>
        <p:txBody>
          <a:bodyPr wrap="square">
            <a:spAutoFit/>
          </a:bodyPr>
          <a:lstStyle/>
          <a:p>
            <a:r>
              <a:rPr lang="en-US" altLang="ja-JP" sz="1000" dirty="0"/>
              <a:t>Singapore general Hospital</a:t>
            </a:r>
          </a:p>
          <a:p>
            <a:r>
              <a:rPr lang="en-US" altLang="ja-JP" sz="1000" dirty="0"/>
              <a:t>Changi General Hospital</a:t>
            </a:r>
          </a:p>
          <a:p>
            <a:r>
              <a:rPr lang="en-US" altLang="ja-JP" sz="1000" dirty="0"/>
              <a:t>KK Women’s and Children’s Hospital</a:t>
            </a:r>
          </a:p>
        </p:txBody>
      </p:sp>
      <p:sp>
        <p:nvSpPr>
          <p:cNvPr id="33" name="TextBox 32">
            <a:extLst>
              <a:ext uri="{FF2B5EF4-FFF2-40B4-BE49-F238E27FC236}">
                <a16:creationId xmlns:a16="http://schemas.microsoft.com/office/drawing/2014/main" id="{2C203BF1-1EA2-45A5-AA85-03B2662428BC}"/>
              </a:ext>
            </a:extLst>
          </p:cNvPr>
          <p:cNvSpPr txBox="1"/>
          <p:nvPr/>
        </p:nvSpPr>
        <p:spPr>
          <a:xfrm>
            <a:off x="8048176" y="2867874"/>
            <a:ext cx="606444" cy="400110"/>
          </a:xfrm>
          <a:prstGeom prst="rect">
            <a:avLst/>
          </a:prstGeom>
          <a:noFill/>
        </p:spPr>
        <p:txBody>
          <a:bodyPr wrap="square">
            <a:spAutoFit/>
          </a:bodyPr>
          <a:lstStyle/>
          <a:p>
            <a:r>
              <a:rPr lang="en-US" altLang="ja-JP" sz="1000" dirty="0"/>
              <a:t>1,500</a:t>
            </a:r>
          </a:p>
          <a:p>
            <a:r>
              <a:rPr lang="en-US" altLang="ja-JP" sz="1000" dirty="0"/>
              <a:t>   795</a:t>
            </a:r>
          </a:p>
        </p:txBody>
      </p:sp>
      <p:sp>
        <p:nvSpPr>
          <p:cNvPr id="34" name="TextBox 33">
            <a:extLst>
              <a:ext uri="{FF2B5EF4-FFF2-40B4-BE49-F238E27FC236}">
                <a16:creationId xmlns:a16="http://schemas.microsoft.com/office/drawing/2014/main" id="{8BBFAE91-C80F-4175-BF42-61194E825061}"/>
              </a:ext>
            </a:extLst>
          </p:cNvPr>
          <p:cNvSpPr txBox="1"/>
          <p:nvPr/>
        </p:nvSpPr>
        <p:spPr>
          <a:xfrm>
            <a:off x="8048176" y="3274073"/>
            <a:ext cx="606444" cy="553998"/>
          </a:xfrm>
          <a:prstGeom prst="rect">
            <a:avLst/>
          </a:prstGeom>
          <a:noFill/>
        </p:spPr>
        <p:txBody>
          <a:bodyPr wrap="square">
            <a:spAutoFit/>
          </a:bodyPr>
          <a:lstStyle/>
          <a:p>
            <a:r>
              <a:rPr lang="en-US" altLang="ja-JP" sz="1000" dirty="0"/>
              <a:t>1,239</a:t>
            </a:r>
          </a:p>
          <a:p>
            <a:r>
              <a:rPr lang="en-US" altLang="ja-JP" sz="1000" dirty="0"/>
              <a:t>   700</a:t>
            </a:r>
          </a:p>
          <a:p>
            <a:r>
              <a:rPr lang="en-US" altLang="ja-JP" sz="1000" dirty="0"/>
              <a:t>   326</a:t>
            </a:r>
          </a:p>
        </p:txBody>
      </p:sp>
      <p:sp>
        <p:nvSpPr>
          <p:cNvPr id="35" name="TextBox 34">
            <a:extLst>
              <a:ext uri="{FF2B5EF4-FFF2-40B4-BE49-F238E27FC236}">
                <a16:creationId xmlns:a16="http://schemas.microsoft.com/office/drawing/2014/main" id="{56084207-B578-4B99-9943-C6184F4C5756}"/>
              </a:ext>
            </a:extLst>
          </p:cNvPr>
          <p:cNvSpPr txBox="1"/>
          <p:nvPr/>
        </p:nvSpPr>
        <p:spPr>
          <a:xfrm>
            <a:off x="8048174" y="3863912"/>
            <a:ext cx="606446" cy="553998"/>
          </a:xfrm>
          <a:prstGeom prst="rect">
            <a:avLst/>
          </a:prstGeom>
          <a:noFill/>
        </p:spPr>
        <p:txBody>
          <a:bodyPr wrap="square">
            <a:spAutoFit/>
          </a:bodyPr>
          <a:lstStyle/>
          <a:p>
            <a:r>
              <a:rPr lang="en-US" altLang="ja-JP" sz="1000" dirty="0"/>
              <a:t>1,785</a:t>
            </a:r>
          </a:p>
          <a:p>
            <a:r>
              <a:rPr lang="en-US" altLang="ja-JP" sz="1000" dirty="0"/>
              <a:t>1,000</a:t>
            </a:r>
          </a:p>
          <a:p>
            <a:r>
              <a:rPr lang="en-US" altLang="ja-JP" sz="1000" dirty="0"/>
              <a:t>   830</a:t>
            </a:r>
          </a:p>
        </p:txBody>
      </p:sp>
      <p:sp>
        <p:nvSpPr>
          <p:cNvPr id="37" name="TextBox 36">
            <a:extLst>
              <a:ext uri="{FF2B5EF4-FFF2-40B4-BE49-F238E27FC236}">
                <a16:creationId xmlns:a16="http://schemas.microsoft.com/office/drawing/2014/main" id="{BA3A7765-CB4E-40A7-9577-C29FB5A96D43}"/>
              </a:ext>
            </a:extLst>
          </p:cNvPr>
          <p:cNvSpPr txBox="1"/>
          <p:nvPr/>
        </p:nvSpPr>
        <p:spPr>
          <a:xfrm>
            <a:off x="7867621" y="2532904"/>
            <a:ext cx="786999" cy="246221"/>
          </a:xfrm>
          <a:prstGeom prst="rect">
            <a:avLst/>
          </a:prstGeom>
          <a:noFill/>
        </p:spPr>
        <p:txBody>
          <a:bodyPr wrap="square">
            <a:spAutoFit/>
          </a:bodyPr>
          <a:lstStyle/>
          <a:p>
            <a:r>
              <a:rPr lang="ja-JP" altLang="en-US" sz="1000" dirty="0"/>
              <a:t>ベッド数</a:t>
            </a:r>
            <a:endParaRPr lang="en-US" altLang="ja-JP" sz="1000" dirty="0"/>
          </a:p>
        </p:txBody>
      </p:sp>
      <p:sp>
        <p:nvSpPr>
          <p:cNvPr id="38" name="TextBox 37">
            <a:extLst>
              <a:ext uri="{FF2B5EF4-FFF2-40B4-BE49-F238E27FC236}">
                <a16:creationId xmlns:a16="http://schemas.microsoft.com/office/drawing/2014/main" id="{7FC9081B-B264-4964-8F9A-67C16B051BF2}"/>
              </a:ext>
            </a:extLst>
          </p:cNvPr>
          <p:cNvSpPr txBox="1"/>
          <p:nvPr/>
        </p:nvSpPr>
        <p:spPr>
          <a:xfrm>
            <a:off x="2346467" y="2476185"/>
            <a:ext cx="1227113" cy="246221"/>
          </a:xfrm>
          <a:prstGeom prst="rect">
            <a:avLst/>
          </a:prstGeom>
          <a:noFill/>
        </p:spPr>
        <p:txBody>
          <a:bodyPr wrap="square">
            <a:spAutoFit/>
          </a:bodyPr>
          <a:lstStyle/>
          <a:p>
            <a:r>
              <a:rPr lang="ja-JP" altLang="en-US" sz="1000" dirty="0"/>
              <a:t>運営グループ</a:t>
            </a:r>
            <a:endParaRPr lang="en-US" altLang="ja-JP" sz="1000" dirty="0"/>
          </a:p>
        </p:txBody>
      </p:sp>
      <p:sp>
        <p:nvSpPr>
          <p:cNvPr id="39" name="TextBox 38">
            <a:extLst>
              <a:ext uri="{FF2B5EF4-FFF2-40B4-BE49-F238E27FC236}">
                <a16:creationId xmlns:a16="http://schemas.microsoft.com/office/drawing/2014/main" id="{56D6E2D3-149D-4F87-A682-F5AAE6D71302}"/>
              </a:ext>
            </a:extLst>
          </p:cNvPr>
          <p:cNvSpPr txBox="1"/>
          <p:nvPr/>
        </p:nvSpPr>
        <p:spPr>
          <a:xfrm>
            <a:off x="5097016" y="2479049"/>
            <a:ext cx="786999" cy="246221"/>
          </a:xfrm>
          <a:prstGeom prst="rect">
            <a:avLst/>
          </a:prstGeom>
          <a:noFill/>
        </p:spPr>
        <p:txBody>
          <a:bodyPr wrap="square">
            <a:spAutoFit/>
          </a:bodyPr>
          <a:lstStyle/>
          <a:p>
            <a:r>
              <a:rPr lang="ja-JP" altLang="en-US" sz="1000" dirty="0"/>
              <a:t>病院名</a:t>
            </a:r>
            <a:endParaRPr lang="en-US" altLang="ja-JP" sz="1000" dirty="0"/>
          </a:p>
        </p:txBody>
      </p:sp>
      <p:cxnSp>
        <p:nvCxnSpPr>
          <p:cNvPr id="40" name="Straight Connector 39">
            <a:extLst>
              <a:ext uri="{FF2B5EF4-FFF2-40B4-BE49-F238E27FC236}">
                <a16:creationId xmlns:a16="http://schemas.microsoft.com/office/drawing/2014/main" id="{6CA48371-D2DE-4296-9571-B6C7B040D7A2}"/>
              </a:ext>
            </a:extLst>
          </p:cNvPr>
          <p:cNvCxnSpPr>
            <a:cxnSpLocks/>
          </p:cNvCxnSpPr>
          <p:nvPr/>
        </p:nvCxnSpPr>
        <p:spPr>
          <a:xfrm>
            <a:off x="2343989" y="2785989"/>
            <a:ext cx="237626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DC8A757-8281-49CE-897D-889A95EAC57A}"/>
              </a:ext>
            </a:extLst>
          </p:cNvPr>
          <p:cNvCxnSpPr>
            <a:cxnSpLocks/>
          </p:cNvCxnSpPr>
          <p:nvPr/>
        </p:nvCxnSpPr>
        <p:spPr>
          <a:xfrm>
            <a:off x="5157756" y="2785989"/>
            <a:ext cx="237626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400087B-8B9B-4926-950E-68D92740DD96}"/>
              </a:ext>
            </a:extLst>
          </p:cNvPr>
          <p:cNvCxnSpPr>
            <a:cxnSpLocks/>
          </p:cNvCxnSpPr>
          <p:nvPr/>
        </p:nvCxnSpPr>
        <p:spPr>
          <a:xfrm>
            <a:off x="7894060" y="2785989"/>
            <a:ext cx="72008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EC3275B9-9F76-4FE6-9AC3-DBDDB8D38205}"/>
              </a:ext>
            </a:extLst>
          </p:cNvPr>
          <p:cNvSpPr txBox="1"/>
          <p:nvPr/>
        </p:nvSpPr>
        <p:spPr>
          <a:xfrm>
            <a:off x="5097016" y="5080056"/>
            <a:ext cx="2272445" cy="246221"/>
          </a:xfrm>
          <a:prstGeom prst="rect">
            <a:avLst/>
          </a:prstGeom>
          <a:noFill/>
        </p:spPr>
        <p:txBody>
          <a:bodyPr wrap="square">
            <a:spAutoFit/>
          </a:bodyPr>
          <a:lstStyle/>
          <a:p>
            <a:r>
              <a:rPr lang="en-US" altLang="ja-JP" sz="1000" dirty="0"/>
              <a:t>Raffles Hospital</a:t>
            </a:r>
          </a:p>
        </p:txBody>
      </p:sp>
      <p:sp>
        <p:nvSpPr>
          <p:cNvPr id="54" name="TextBox 53">
            <a:extLst>
              <a:ext uri="{FF2B5EF4-FFF2-40B4-BE49-F238E27FC236}">
                <a16:creationId xmlns:a16="http://schemas.microsoft.com/office/drawing/2014/main" id="{957B15BF-7109-4E5C-ADE0-AF76D6253C8A}"/>
              </a:ext>
            </a:extLst>
          </p:cNvPr>
          <p:cNvSpPr txBox="1"/>
          <p:nvPr/>
        </p:nvSpPr>
        <p:spPr>
          <a:xfrm>
            <a:off x="8170845" y="5091173"/>
            <a:ext cx="443295" cy="246221"/>
          </a:xfrm>
          <a:prstGeom prst="rect">
            <a:avLst/>
          </a:prstGeom>
          <a:noFill/>
        </p:spPr>
        <p:txBody>
          <a:bodyPr wrap="square">
            <a:spAutoFit/>
          </a:bodyPr>
          <a:lstStyle/>
          <a:p>
            <a:r>
              <a:rPr lang="en-US" altLang="ja-JP" sz="1000" dirty="0"/>
              <a:t>380</a:t>
            </a:r>
          </a:p>
        </p:txBody>
      </p:sp>
      <p:sp>
        <p:nvSpPr>
          <p:cNvPr id="55" name="TextBox 54">
            <a:extLst>
              <a:ext uri="{FF2B5EF4-FFF2-40B4-BE49-F238E27FC236}">
                <a16:creationId xmlns:a16="http://schemas.microsoft.com/office/drawing/2014/main" id="{260D446C-C21B-42E3-A775-4EA6A68D2B3D}"/>
              </a:ext>
            </a:extLst>
          </p:cNvPr>
          <p:cNvSpPr txBox="1"/>
          <p:nvPr/>
        </p:nvSpPr>
        <p:spPr>
          <a:xfrm>
            <a:off x="5097016" y="4648403"/>
            <a:ext cx="2272445" cy="400110"/>
          </a:xfrm>
          <a:prstGeom prst="rect">
            <a:avLst/>
          </a:prstGeom>
          <a:noFill/>
        </p:spPr>
        <p:txBody>
          <a:bodyPr wrap="square">
            <a:spAutoFit/>
          </a:bodyPr>
          <a:lstStyle/>
          <a:p>
            <a:r>
              <a:rPr lang="en-US" altLang="ja-JP" sz="1000" dirty="0"/>
              <a:t>Mount Elizabeth Hospital</a:t>
            </a:r>
          </a:p>
          <a:p>
            <a:r>
              <a:rPr lang="en-US" altLang="ja-JP" sz="1000" dirty="0"/>
              <a:t>Gleneagles Hospital</a:t>
            </a:r>
          </a:p>
        </p:txBody>
      </p:sp>
      <p:sp>
        <p:nvSpPr>
          <p:cNvPr id="57" name="TextBox 56">
            <a:extLst>
              <a:ext uri="{FF2B5EF4-FFF2-40B4-BE49-F238E27FC236}">
                <a16:creationId xmlns:a16="http://schemas.microsoft.com/office/drawing/2014/main" id="{5E0EB516-C050-416A-B148-1B1568581DE6}"/>
              </a:ext>
            </a:extLst>
          </p:cNvPr>
          <p:cNvSpPr txBox="1"/>
          <p:nvPr/>
        </p:nvSpPr>
        <p:spPr>
          <a:xfrm>
            <a:off x="8183742" y="4629211"/>
            <a:ext cx="443295" cy="400110"/>
          </a:xfrm>
          <a:prstGeom prst="rect">
            <a:avLst/>
          </a:prstGeom>
          <a:noFill/>
        </p:spPr>
        <p:txBody>
          <a:bodyPr wrap="square">
            <a:spAutoFit/>
          </a:bodyPr>
          <a:lstStyle/>
          <a:p>
            <a:r>
              <a:rPr lang="en-US" altLang="ja-JP" sz="1000" dirty="0"/>
              <a:t>345</a:t>
            </a:r>
          </a:p>
          <a:p>
            <a:r>
              <a:rPr lang="en-US" altLang="ja-JP" sz="1000" dirty="0"/>
              <a:t>211</a:t>
            </a:r>
          </a:p>
        </p:txBody>
      </p:sp>
      <p:sp>
        <p:nvSpPr>
          <p:cNvPr id="65" name="TextBox 64">
            <a:extLst>
              <a:ext uri="{FF2B5EF4-FFF2-40B4-BE49-F238E27FC236}">
                <a16:creationId xmlns:a16="http://schemas.microsoft.com/office/drawing/2014/main" id="{201A44D2-4454-4079-9531-CA071378C7D6}"/>
              </a:ext>
            </a:extLst>
          </p:cNvPr>
          <p:cNvSpPr txBox="1"/>
          <p:nvPr/>
        </p:nvSpPr>
        <p:spPr>
          <a:xfrm>
            <a:off x="2343989" y="5080056"/>
            <a:ext cx="2272445" cy="246221"/>
          </a:xfrm>
          <a:prstGeom prst="rect">
            <a:avLst/>
          </a:prstGeom>
          <a:noFill/>
        </p:spPr>
        <p:txBody>
          <a:bodyPr wrap="square">
            <a:spAutoFit/>
          </a:bodyPr>
          <a:lstStyle/>
          <a:p>
            <a:r>
              <a:rPr lang="en-US" altLang="ja-JP" sz="1000" dirty="0"/>
              <a:t>Raffles</a:t>
            </a:r>
            <a:r>
              <a:rPr lang="ja-JP" altLang="en-US" sz="1000" dirty="0"/>
              <a:t> </a:t>
            </a:r>
            <a:r>
              <a:rPr lang="en-US" altLang="ja-JP" sz="1000" dirty="0"/>
              <a:t>Medical</a:t>
            </a:r>
            <a:r>
              <a:rPr lang="ja-JP" altLang="en-US" sz="1000" dirty="0"/>
              <a:t> </a:t>
            </a:r>
            <a:r>
              <a:rPr lang="en-US" altLang="ja-JP" sz="1000" dirty="0"/>
              <a:t>Group</a:t>
            </a:r>
          </a:p>
        </p:txBody>
      </p:sp>
      <p:sp>
        <p:nvSpPr>
          <p:cNvPr id="66" name="TextBox 65">
            <a:extLst>
              <a:ext uri="{FF2B5EF4-FFF2-40B4-BE49-F238E27FC236}">
                <a16:creationId xmlns:a16="http://schemas.microsoft.com/office/drawing/2014/main" id="{BD7CFF7E-ECBB-4325-8BB8-A6D12496461B}"/>
              </a:ext>
            </a:extLst>
          </p:cNvPr>
          <p:cNvSpPr txBox="1"/>
          <p:nvPr/>
        </p:nvSpPr>
        <p:spPr>
          <a:xfrm>
            <a:off x="2343989" y="4648403"/>
            <a:ext cx="2272445" cy="246221"/>
          </a:xfrm>
          <a:prstGeom prst="rect">
            <a:avLst/>
          </a:prstGeom>
          <a:noFill/>
        </p:spPr>
        <p:txBody>
          <a:bodyPr wrap="square">
            <a:spAutoFit/>
          </a:bodyPr>
          <a:lstStyle/>
          <a:p>
            <a:r>
              <a:rPr lang="en-US" altLang="ja-JP" sz="1000" dirty="0"/>
              <a:t>IHH Healthcare</a:t>
            </a:r>
          </a:p>
        </p:txBody>
      </p:sp>
    </p:spTree>
    <p:extLst>
      <p:ext uri="{BB962C8B-B14F-4D97-AF65-F5344CB8AC3E}">
        <p14:creationId xmlns:p14="http://schemas.microsoft.com/office/powerpoint/2010/main" val="39465387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9146294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6" name="think-cell Slide" r:id="rId61" imgW="360" imgH="360" progId="TCLayout.ActiveDocument.1">
                  <p:embed/>
                </p:oleObj>
              </mc:Choice>
              <mc:Fallback>
                <p:oleObj name="think-cell Slide" r:id="rId61" imgW="360" imgH="360" progId="TCLayout.ActiveDocument.1">
                  <p:embed/>
                  <p:pic>
                    <p:nvPicPr>
                      <p:cNvPr id="8" name="Object 7" hidden="1"/>
                      <p:cNvPicPr>
                        <a:picLocks noChangeAspect="1" noChangeArrowheads="1"/>
                      </p:cNvPicPr>
                      <p:nvPr/>
                    </p:nvPicPr>
                    <p:blipFill>
                      <a:blip r:embed="rId6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従事者</a:t>
            </a:r>
          </a:p>
        </p:txBody>
      </p:sp>
      <p:sp>
        <p:nvSpPr>
          <p:cNvPr id="28" name="テキスト ボックス 2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における医療従事者の数は、医師、看護師・助産師を中心に緩やかな増加傾向にある。</a:t>
            </a:r>
          </a:p>
        </p:txBody>
      </p:sp>
      <p:grpSp>
        <p:nvGrpSpPr>
          <p:cNvPr id="39" name="グループ化 7"/>
          <p:cNvGrpSpPr/>
          <p:nvPr/>
        </p:nvGrpSpPr>
        <p:grpSpPr>
          <a:xfrm>
            <a:off x="200471" y="1988840"/>
            <a:ext cx="4536507" cy="288032"/>
            <a:chOff x="4803500" y="2113806"/>
            <a:chExt cx="2954133" cy="288032"/>
          </a:xfrm>
        </p:grpSpPr>
        <p:cxnSp>
          <p:nvCxnSpPr>
            <p:cNvPr id="41" name="直線コネクタ 4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43" name="グループ化 42"/>
          <p:cNvGrpSpPr/>
          <p:nvPr/>
        </p:nvGrpSpPr>
        <p:grpSpPr>
          <a:xfrm>
            <a:off x="5169024" y="1988840"/>
            <a:ext cx="4536507" cy="288032"/>
            <a:chOff x="4803500" y="2113806"/>
            <a:chExt cx="2954133" cy="288032"/>
          </a:xfrm>
        </p:grpSpPr>
        <p:cxnSp>
          <p:nvCxnSpPr>
            <p:cNvPr id="44" name="直線コネクタ 4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あ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46" name="テキスト ボックス 45"/>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 (GHO) data</a:t>
            </a:r>
            <a:r>
              <a:rPr kumimoji="0" lang="ja-JP" altLang="en-US" sz="800" dirty="0" bmk=""/>
              <a:t>」 </a:t>
            </a:r>
            <a:r>
              <a:rPr kumimoji="0" lang="en-US" altLang="ja-JP" sz="800" dirty="0" bmk=""/>
              <a:t>(2022</a:t>
            </a:r>
            <a:r>
              <a:rPr kumimoji="0" lang="ja-JP" altLang="en-US" sz="800" dirty="0" bmk=""/>
              <a:t>年</a:t>
            </a:r>
            <a:r>
              <a:rPr kumimoji="0" lang="en-US" altLang="ja-JP" sz="800" dirty="0" bmk=""/>
              <a:t>11</a:t>
            </a:r>
            <a:r>
              <a:rPr kumimoji="0" lang="ja-JP" altLang="en-US" sz="800" dirty="0" bmk=""/>
              <a:t>月現在</a:t>
            </a:r>
            <a:r>
              <a:rPr kumimoji="0" lang="en-US" altLang="ja-JP" sz="800" dirty="0" bmk=""/>
              <a:t>https://www.who.int/data/gho/data/themes/topics/health-workforce</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テキスト ボックス 46"/>
          <p:cNvSpPr txBox="1"/>
          <p:nvPr/>
        </p:nvSpPr>
        <p:spPr>
          <a:xfrm>
            <a:off x="208890" y="2276871"/>
            <a:ext cx="387626" cy="157411"/>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万人）</a:t>
            </a:r>
          </a:p>
        </p:txBody>
      </p:sp>
      <p:sp>
        <p:nvSpPr>
          <p:cNvPr id="48" name="テキスト ボックス 47"/>
          <p:cNvSpPr txBox="1"/>
          <p:nvPr/>
        </p:nvSpPr>
        <p:spPr>
          <a:xfrm>
            <a:off x="5241032" y="2276871"/>
            <a:ext cx="576064" cy="157411"/>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graphicFrame>
        <p:nvGraphicFramePr>
          <p:cNvPr id="147" name="Chart 146">
            <a:extLst>
              <a:ext uri="{FF2B5EF4-FFF2-40B4-BE49-F238E27FC236}">
                <a16:creationId xmlns:a16="http://schemas.microsoft.com/office/drawing/2014/main" id="{6C901262-459B-4B14-AF79-CCB3D2B1C70C}"/>
              </a:ext>
            </a:extLst>
          </p:cNvPr>
          <p:cNvGraphicFramePr/>
          <p:nvPr>
            <p:custDataLst>
              <p:tags r:id="rId4"/>
            </p:custDataLst>
            <p:extLst>
              <p:ext uri="{D42A27DB-BD31-4B8C-83A1-F6EECF244321}">
                <p14:modId xmlns:p14="http://schemas.microsoft.com/office/powerpoint/2010/main" val="2565975988"/>
              </p:ext>
            </p:extLst>
          </p:nvPr>
        </p:nvGraphicFramePr>
        <p:xfrm>
          <a:off x="-7938" y="2395538"/>
          <a:ext cx="4948237" cy="3795712"/>
        </p:xfrm>
        <a:graphic>
          <a:graphicData uri="http://schemas.openxmlformats.org/drawingml/2006/chart">
            <c:chart xmlns:c="http://schemas.openxmlformats.org/drawingml/2006/chart" xmlns:r="http://schemas.openxmlformats.org/officeDocument/2006/relationships" r:id="rId63"/>
          </a:graphicData>
        </a:graphic>
      </p:graphicFrame>
      <p:sp>
        <p:nvSpPr>
          <p:cNvPr id="30" name="テキスト プレースホルダ 9"/>
          <p:cNvSpPr>
            <a:spLocks noGrp="1"/>
          </p:cNvSpPr>
          <p:nvPr>
            <p:custDataLst>
              <p:tags r:id="rId5"/>
            </p:custDataLst>
          </p:nvPr>
        </p:nvSpPr>
        <p:spPr bwMode="auto">
          <a:xfrm>
            <a:off x="450850" y="61785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C02AD88-8EA9-44DA-9595-220415F2B069}" type="datetime'''''''''''''''''''''''''''''''''''''''2''0''1''''''''''0'''">
              <a:rPr lang="ja-JP" altLang="en-US" sz="1000" smtClean="0"/>
              <a:pPr/>
              <a:t>2010</a:t>
            </a:fld>
            <a:endParaRPr kumimoji="0" lang="ja-JP" altLang="en-US" sz="1000" dirty="0">
              <a:sym typeface="+mn-lt"/>
            </a:endParaRPr>
          </a:p>
        </p:txBody>
      </p:sp>
      <p:sp useBgFill="1">
        <p:nvSpPr>
          <p:cNvPr id="61" name="テキスト プレースホルダ 9">
            <a:extLst>
              <a:ext uri="{FF2B5EF4-FFF2-40B4-BE49-F238E27FC236}">
                <a16:creationId xmlns:a16="http://schemas.microsoft.com/office/drawing/2014/main" id="{DB24E674-573C-4EFC-9288-26FD68A64633}"/>
              </a:ext>
            </a:extLst>
          </p:cNvPr>
          <p:cNvSpPr>
            <a:spLocks noGrp="1"/>
          </p:cNvSpPr>
          <p:nvPr>
            <p:custDataLst>
              <p:tags r:id="rId6"/>
            </p:custDataLst>
          </p:nvPr>
        </p:nvSpPr>
        <p:spPr bwMode="gray">
          <a:xfrm>
            <a:off x="976313" y="5983288"/>
            <a:ext cx="285750" cy="122238"/>
          </a:xfrm>
          <a:prstGeom prst="rect">
            <a:avLst/>
          </a:prstGeom>
          <a:ln>
            <a:noFill/>
          </a:ln>
          <a:effectLst/>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45BEACD-B411-4EBC-8385-739A546F718B}" type="datetime'''1'',''''''''''''''''''''47''''''''''''''''''8'''''''''''''">
              <a:rPr lang="ja-JP" altLang="en-US" sz="800" smtClean="0">
                <a:effectLst/>
              </a:rPr>
              <a:pPr marL="0" indent="0">
                <a:spcBef>
                  <a:spcPct val="0"/>
                </a:spcBef>
                <a:buNone/>
              </a:pPr>
              <a:t>1,478</a:t>
            </a:fld>
            <a:endParaRPr lang="ja-JP" altLang="en-US" sz="800" dirty="0">
              <a:sym typeface="+mn-lt"/>
            </a:endParaRPr>
          </a:p>
        </p:txBody>
      </p:sp>
      <p:sp useBgFill="1">
        <p:nvSpPr>
          <p:cNvPr id="139" name="テキスト プレースホルダ 9">
            <a:extLst>
              <a:ext uri="{FF2B5EF4-FFF2-40B4-BE49-F238E27FC236}">
                <a16:creationId xmlns:a16="http://schemas.microsoft.com/office/drawing/2014/main" id="{C37BFC64-AF68-4E0C-B46C-9DBDE7F24F30}"/>
              </a:ext>
            </a:extLst>
          </p:cNvPr>
          <p:cNvSpPr>
            <a:spLocks noGrp="1"/>
          </p:cNvSpPr>
          <p:nvPr>
            <p:custDataLst>
              <p:tags r:id="rId7"/>
            </p:custDataLst>
          </p:nvPr>
        </p:nvSpPr>
        <p:spPr bwMode="gray">
          <a:xfrm>
            <a:off x="606425" y="5786438"/>
            <a:ext cx="285750" cy="122238"/>
          </a:xfrm>
          <a:prstGeom prst="rect">
            <a:avLst/>
          </a:prstGeom>
          <a:ln>
            <a:noFill/>
          </a:ln>
          <a:effectLst/>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68A7F0B-8E59-4AE3-8908-91EF08117BC2}" type="datetime'1'''',''''''''''''''81''''''''4'''''''''''''''''''''''''''''">
              <a:rPr lang="ja-JP" altLang="en-US" sz="800" smtClean="0">
                <a:effectLst/>
                <a:sym typeface="+mn-lt"/>
              </a:rPr>
              <a:pPr marL="0" indent="0">
                <a:spcBef>
                  <a:spcPct val="0"/>
                </a:spcBef>
                <a:buNone/>
              </a:pPr>
              <a:t>1,814</a:t>
            </a:fld>
            <a:endParaRPr lang="ja-JP" altLang="en-US" sz="800" dirty="0">
              <a:sym typeface="+mn-lt"/>
            </a:endParaRPr>
          </a:p>
        </p:txBody>
      </p:sp>
      <p:sp useBgFill="1">
        <p:nvSpPr>
          <p:cNvPr id="143" name="テキスト プレースホルダ 9">
            <a:extLst>
              <a:ext uri="{FF2B5EF4-FFF2-40B4-BE49-F238E27FC236}">
                <a16:creationId xmlns:a16="http://schemas.microsoft.com/office/drawing/2014/main" id="{E8F70ABD-6F67-410A-9EAE-948D969A0334}"/>
              </a:ext>
            </a:extLst>
          </p:cNvPr>
          <p:cNvSpPr>
            <a:spLocks noGrp="1"/>
          </p:cNvSpPr>
          <p:nvPr>
            <p:custDataLst>
              <p:tags r:id="rId8"/>
            </p:custDataLst>
          </p:nvPr>
        </p:nvSpPr>
        <p:spPr bwMode="gray">
          <a:xfrm>
            <a:off x="914400" y="5753100"/>
            <a:ext cx="285750" cy="122238"/>
          </a:xfrm>
          <a:prstGeom prst="rect">
            <a:avLst/>
          </a:prstGeom>
          <a:ln>
            <a:noFill/>
          </a:ln>
          <a:effectLst/>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338AE0D-33CB-440A-B513-35304E779F27}" type="datetime'''''''''''''2'''''''',''''''''''''''''''0''''13'">
              <a:rPr lang="ja-JP" altLang="en-US" sz="800" smtClean="0">
                <a:effectLst/>
                <a:sym typeface="+mn-lt"/>
              </a:rPr>
              <a:pPr marL="0" indent="0">
                <a:spcBef>
                  <a:spcPct val="0"/>
                </a:spcBef>
                <a:buNone/>
              </a:pPr>
              <a:t>2,013</a:t>
            </a:fld>
            <a:endParaRPr lang="ja-JP" altLang="en-US" sz="800" dirty="0">
              <a:sym typeface="+mn-lt"/>
            </a:endParaRPr>
          </a:p>
        </p:txBody>
      </p:sp>
      <p:sp useBgFill="1">
        <p:nvSpPr>
          <p:cNvPr id="122" name="テキスト プレースホルダ 9">
            <a:extLst>
              <a:ext uri="{FF2B5EF4-FFF2-40B4-BE49-F238E27FC236}">
                <a16:creationId xmlns:a16="http://schemas.microsoft.com/office/drawing/2014/main" id="{6C0D5DC1-EE43-41E8-94A5-F25A3F2F72C3}"/>
              </a:ext>
            </a:extLst>
          </p:cNvPr>
          <p:cNvSpPr>
            <a:spLocks noGrp="1"/>
          </p:cNvSpPr>
          <p:nvPr>
            <p:custDataLst>
              <p:tags r:id="rId9"/>
            </p:custDataLst>
          </p:nvPr>
        </p:nvSpPr>
        <p:spPr bwMode="gray">
          <a:xfrm>
            <a:off x="609600" y="5953125"/>
            <a:ext cx="285750" cy="122238"/>
          </a:xfrm>
          <a:prstGeom prst="rect">
            <a:avLst/>
          </a:prstGeom>
          <a:ln>
            <a:noFill/>
          </a:ln>
          <a:effectLst/>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749F79-0C2A-4AD4-9B2A-4ABA18480E07}" type="datetime'1'''''''''''''''''''''''',''''5''''''''''''''6''8'''''''">
              <a:rPr lang="ja-JP" altLang="en-US" sz="800" smtClean="0">
                <a:effectLst/>
                <a:sym typeface="+mn-lt"/>
              </a:rPr>
              <a:pPr marL="0" indent="0">
                <a:spcBef>
                  <a:spcPct val="0"/>
                </a:spcBef>
                <a:buNone/>
              </a:pPr>
              <a:t>1,568</a:t>
            </a:fld>
            <a:endParaRPr lang="ja-JP" altLang="en-US" sz="800" dirty="0">
              <a:sym typeface="+mn-lt"/>
            </a:endParaRPr>
          </a:p>
        </p:txBody>
      </p:sp>
      <p:sp>
        <p:nvSpPr>
          <p:cNvPr id="19" name="テキスト プレースホルダ 9"/>
          <p:cNvSpPr>
            <a:spLocks noGrp="1"/>
          </p:cNvSpPr>
          <p:nvPr>
            <p:custDataLst>
              <p:tags r:id="rId10"/>
            </p:custDataLst>
          </p:nvPr>
        </p:nvSpPr>
        <p:spPr bwMode="auto">
          <a:xfrm>
            <a:off x="28209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864F48-E7CC-495B-90D8-39943B41FD15}" type="datetime'''''1''''''''''''''''''''''5'''''''''''''''''''''''''''''">
              <a:rPr lang="ja-JP" altLang="en-US" sz="1000" smtClean="0"/>
              <a:pPr/>
              <a:t>15</a:t>
            </a:fld>
            <a:endParaRPr kumimoji="0" lang="ja-JP" altLang="en-US" sz="1000" dirty="0">
              <a:sym typeface="+mn-lt"/>
            </a:endParaRPr>
          </a:p>
        </p:txBody>
      </p:sp>
      <p:sp useBgFill="1">
        <p:nvSpPr>
          <p:cNvPr id="96" name="テキスト プレースホルダ 9">
            <a:extLst>
              <a:ext uri="{FF2B5EF4-FFF2-40B4-BE49-F238E27FC236}">
                <a16:creationId xmlns:a16="http://schemas.microsoft.com/office/drawing/2014/main" id="{9B76FF25-4C61-42A6-8F41-2F00387B7139}"/>
              </a:ext>
            </a:extLst>
          </p:cNvPr>
          <p:cNvSpPr>
            <a:spLocks noGrp="1"/>
          </p:cNvSpPr>
          <p:nvPr>
            <p:custDataLst>
              <p:tags r:id="rId11"/>
            </p:custDataLst>
          </p:nvPr>
        </p:nvSpPr>
        <p:spPr bwMode="gray">
          <a:xfrm>
            <a:off x="1446213" y="5997575"/>
            <a:ext cx="285750" cy="122238"/>
          </a:xfrm>
          <a:prstGeom prst="rect">
            <a:avLst/>
          </a:prstGeom>
          <a:ln>
            <a:noFill/>
          </a:ln>
          <a:effectLst/>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F135CFA-0C9F-40C6-8E39-E10AF96CCB8E}" type="datetime'''''1'',''''''''''''''''''''5''''''''7''''''''''''2'">
              <a:rPr lang="ja-JP" altLang="en-US" sz="800" smtClean="0">
                <a:effectLst/>
                <a:sym typeface="+mn-lt"/>
              </a:rPr>
              <a:pPr marL="0" indent="0">
                <a:spcBef>
                  <a:spcPct val="0"/>
                </a:spcBef>
                <a:buNone/>
              </a:pPr>
              <a:t>1,572</a:t>
            </a:fld>
            <a:endParaRPr lang="ja-JP" altLang="en-US" sz="800" dirty="0">
              <a:sym typeface="+mn-lt"/>
            </a:endParaRPr>
          </a:p>
        </p:txBody>
      </p:sp>
      <p:sp>
        <p:nvSpPr>
          <p:cNvPr id="27" name="テキスト プレースホルダ 9"/>
          <p:cNvSpPr>
            <a:spLocks noGrp="1"/>
          </p:cNvSpPr>
          <p:nvPr>
            <p:custDataLst>
              <p:tags r:id="rId12"/>
            </p:custDataLst>
          </p:nvPr>
        </p:nvSpPr>
        <p:spPr bwMode="auto">
          <a:xfrm>
            <a:off x="9810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6C14EBF-01EA-4BC8-9B53-F9E4CA0DAAE7}" type="datetime'''''''''''1''''''1'''''''''''''''''">
              <a:rPr lang="ja-JP" altLang="en-US" sz="1000" smtClean="0"/>
              <a:pPr/>
              <a:t>11</a:t>
            </a:fld>
            <a:endParaRPr kumimoji="0" lang="ja-JP" altLang="en-US" sz="1000" dirty="0">
              <a:sym typeface="+mn-lt"/>
            </a:endParaRPr>
          </a:p>
        </p:txBody>
      </p:sp>
      <p:sp>
        <p:nvSpPr>
          <p:cNvPr id="25" name="テキスト プレースホルダ 9"/>
          <p:cNvSpPr>
            <a:spLocks noGrp="1"/>
          </p:cNvSpPr>
          <p:nvPr>
            <p:custDataLst>
              <p:tags r:id="rId13"/>
            </p:custDataLst>
          </p:nvPr>
        </p:nvSpPr>
        <p:spPr bwMode="auto">
          <a:xfrm>
            <a:off x="144145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600C70A-9B4C-45A4-97A6-D63F8705017C}" type="datetime'''''''''''''''''''''''''''''''''''''1''''2'''''''''''''''''''">
              <a:rPr lang="ja-JP" altLang="en-US" sz="1000" smtClean="0"/>
              <a:pPr/>
              <a:t>12</a:t>
            </a:fld>
            <a:endParaRPr kumimoji="0" lang="ja-JP" altLang="en-US" sz="1000" dirty="0">
              <a:sym typeface="+mn-lt"/>
            </a:endParaRPr>
          </a:p>
        </p:txBody>
      </p:sp>
      <p:sp>
        <p:nvSpPr>
          <p:cNvPr id="23" name="テキスト プレースホルダ 9"/>
          <p:cNvSpPr>
            <a:spLocks noGrp="1"/>
          </p:cNvSpPr>
          <p:nvPr>
            <p:custDataLst>
              <p:tags r:id="rId14"/>
            </p:custDataLst>
          </p:nvPr>
        </p:nvSpPr>
        <p:spPr bwMode="auto">
          <a:xfrm>
            <a:off x="190023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7CCEF8-5146-435E-92A1-8633B8977211}" type="datetime'1''''''3'''''''''''''''''''''''''''''''''''">
              <a:rPr lang="ja-JP" altLang="en-US" sz="1000" smtClean="0"/>
              <a:pPr/>
              <a:t>13</a:t>
            </a:fld>
            <a:endParaRPr kumimoji="0" lang="ja-JP" altLang="en-US" sz="1000" dirty="0">
              <a:sym typeface="+mn-lt"/>
            </a:endParaRPr>
          </a:p>
        </p:txBody>
      </p:sp>
      <p:sp>
        <p:nvSpPr>
          <p:cNvPr id="21" name="テキスト プレースホルダ 9"/>
          <p:cNvSpPr>
            <a:spLocks noGrp="1"/>
          </p:cNvSpPr>
          <p:nvPr>
            <p:custDataLst>
              <p:tags r:id="rId15"/>
            </p:custDataLst>
          </p:nvPr>
        </p:nvSpPr>
        <p:spPr bwMode="auto">
          <a:xfrm>
            <a:off x="236061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D99EDA2-E8D4-47A2-81CC-0C2891BA41E8}" type="datetime'''''''''''''''''''''''''''14'''''''''''">
              <a:rPr lang="ja-JP" altLang="en-US" sz="1000" smtClean="0"/>
              <a:pPr/>
              <a:t>14</a:t>
            </a:fld>
            <a:endParaRPr kumimoji="0" lang="ja-JP" altLang="en-US" sz="1000" dirty="0">
              <a:sym typeface="+mn-lt"/>
            </a:endParaRPr>
          </a:p>
        </p:txBody>
      </p:sp>
      <p:sp>
        <p:nvSpPr>
          <p:cNvPr id="78" name="テキスト プレースホルダ 9"/>
          <p:cNvSpPr>
            <a:spLocks noGrp="1"/>
          </p:cNvSpPr>
          <p:nvPr>
            <p:custDataLst>
              <p:tags r:id="rId16"/>
            </p:custDataLst>
          </p:nvPr>
        </p:nvSpPr>
        <p:spPr bwMode="auto">
          <a:xfrm>
            <a:off x="328136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BB4FFB5-1C07-4213-8EB1-B46B1C5D2F4A}" type="datetime'''''''''''''''''''''''''''''''''''''''''''''''''1''6'">
              <a:rPr lang="ja-JP" altLang="en-US" sz="1000" smtClean="0"/>
              <a:pPr/>
              <a:t>16</a:t>
            </a:fld>
            <a:endParaRPr kumimoji="0" lang="ja-JP" altLang="en-US" sz="1000" dirty="0">
              <a:sym typeface="+mn-lt"/>
            </a:endParaRPr>
          </a:p>
        </p:txBody>
      </p:sp>
      <p:sp>
        <p:nvSpPr>
          <p:cNvPr id="57" name="テキスト プレースホルダ 9"/>
          <p:cNvSpPr>
            <a:spLocks noGrp="1"/>
          </p:cNvSpPr>
          <p:nvPr>
            <p:custDataLst>
              <p:tags r:id="rId17"/>
            </p:custDataLst>
          </p:nvPr>
        </p:nvSpPr>
        <p:spPr bwMode="auto">
          <a:xfrm>
            <a:off x="374015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27CD62-1EE8-4936-9403-90AE2A562515}" type="datetime'''''''''''''1''''''''''7'''''''''''''''">
              <a:rPr lang="ja-JP" altLang="en-US" sz="1000" smtClean="0"/>
              <a:pPr/>
              <a:t>17</a:t>
            </a:fld>
            <a:endParaRPr kumimoji="0" lang="ja-JP" altLang="en-US" sz="1000" dirty="0">
              <a:sym typeface="+mn-lt"/>
            </a:endParaRPr>
          </a:p>
        </p:txBody>
      </p:sp>
      <p:sp>
        <p:nvSpPr>
          <p:cNvPr id="68" name="テキスト プレースホルダ 9">
            <a:extLst>
              <a:ext uri="{FF2B5EF4-FFF2-40B4-BE49-F238E27FC236}">
                <a16:creationId xmlns:a16="http://schemas.microsoft.com/office/drawing/2014/main" id="{84C4C9B7-D43B-4B58-8C20-18FC50416850}"/>
              </a:ext>
            </a:extLst>
          </p:cNvPr>
          <p:cNvSpPr>
            <a:spLocks noGrp="1"/>
          </p:cNvSpPr>
          <p:nvPr>
            <p:custDataLst>
              <p:tags r:id="rId18"/>
            </p:custDataLst>
          </p:nvPr>
        </p:nvSpPr>
        <p:spPr bwMode="auto">
          <a:xfrm>
            <a:off x="420052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6259255-C7D9-4832-A339-F91F27C9A4B4}" type="datetime'''1''''''''''''''''''8'''''''''''''''''''">
              <a:rPr kumimoji="0" lang="ja-JP" altLang="en-US" sz="1000" smtClean="0"/>
              <a:pPr/>
              <a:t>18</a:t>
            </a:fld>
            <a:endParaRPr kumimoji="0" lang="ja-JP" altLang="en-US" sz="1000" dirty="0">
              <a:sym typeface="+mn-lt"/>
            </a:endParaRPr>
          </a:p>
        </p:txBody>
      </p:sp>
      <p:sp>
        <p:nvSpPr>
          <p:cNvPr id="69" name="テキスト プレースホルダ 9">
            <a:extLst>
              <a:ext uri="{FF2B5EF4-FFF2-40B4-BE49-F238E27FC236}">
                <a16:creationId xmlns:a16="http://schemas.microsoft.com/office/drawing/2014/main" id="{459ABDF9-988A-409E-9420-519D8272B12A}"/>
              </a:ext>
            </a:extLst>
          </p:cNvPr>
          <p:cNvSpPr>
            <a:spLocks noGrp="1"/>
          </p:cNvSpPr>
          <p:nvPr>
            <p:custDataLst>
              <p:tags r:id="rId19"/>
            </p:custDataLst>
          </p:nvPr>
        </p:nvSpPr>
        <p:spPr bwMode="auto">
          <a:xfrm>
            <a:off x="46609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E13DFC-BAC7-43E0-957A-D74A00E74D37}" type="datetime'''''''''''1''''''''''''9'''''''''''''''''''">
              <a:rPr kumimoji="0" lang="ja-JP" altLang="en-US" sz="1000" smtClean="0"/>
              <a:pPr/>
              <a:t>19</a:t>
            </a:fld>
            <a:endParaRPr kumimoji="0" lang="ja-JP" altLang="en-US" sz="1000" dirty="0">
              <a:sym typeface="+mn-lt"/>
            </a:endParaRPr>
          </a:p>
        </p:txBody>
      </p:sp>
      <p:sp useBgFill="1">
        <p:nvSpPr>
          <p:cNvPr id="85" name="テキスト プレースホルダ 9">
            <a:extLst>
              <a:ext uri="{FF2B5EF4-FFF2-40B4-BE49-F238E27FC236}">
                <a16:creationId xmlns:a16="http://schemas.microsoft.com/office/drawing/2014/main" id="{6DDA41EA-AD33-4A49-8225-2F7461FB4D3B}"/>
              </a:ext>
            </a:extLst>
          </p:cNvPr>
          <p:cNvSpPr>
            <a:spLocks noGrp="1"/>
          </p:cNvSpPr>
          <p:nvPr>
            <p:custDataLst>
              <p:tags r:id="rId20"/>
            </p:custDataLst>
          </p:nvPr>
        </p:nvSpPr>
        <p:spPr bwMode="gray">
          <a:xfrm>
            <a:off x="3192463" y="5899150"/>
            <a:ext cx="285750" cy="122238"/>
          </a:xfrm>
          <a:prstGeom prst="rect">
            <a:avLst/>
          </a:prstGeom>
          <a:ln>
            <a:noFill/>
          </a:ln>
          <a:effectLst/>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2AB0EFC-0390-4464-9985-BE80D1F2B95A}" type="datetime'''2'''''''''',''198'''''''''''''''''''''''''''''''''''''''">
              <a:rPr lang="ja-JP" altLang="en-US" sz="800" smtClean="0">
                <a:effectLst/>
                <a:sym typeface="+mn-lt"/>
              </a:rPr>
              <a:pPr marL="0" indent="0">
                <a:spcBef>
                  <a:spcPct val="0"/>
                </a:spcBef>
                <a:buNone/>
              </a:pPr>
              <a:t>2,198</a:t>
            </a:fld>
            <a:endParaRPr lang="ja-JP" altLang="en-US" sz="800" dirty="0">
              <a:sym typeface="+mn-lt"/>
            </a:endParaRPr>
          </a:p>
        </p:txBody>
      </p:sp>
      <p:cxnSp>
        <p:nvCxnSpPr>
          <p:cNvPr id="11" name="Straight Connector 10">
            <a:extLst>
              <a:ext uri="{FF2B5EF4-FFF2-40B4-BE49-F238E27FC236}">
                <a16:creationId xmlns:a16="http://schemas.microsoft.com/office/drawing/2014/main" id="{478D8398-BD2F-4058-A095-6F7BB508397F}"/>
              </a:ext>
            </a:extLst>
          </p:cNvPr>
          <p:cNvCxnSpPr/>
          <p:nvPr>
            <p:custDataLst>
              <p:tags r:id="rId21"/>
            </p:custDataLst>
          </p:nvPr>
        </p:nvCxnSpPr>
        <p:spPr bwMode="gray">
          <a:xfrm>
            <a:off x="3549650" y="3249613"/>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CB8E8B40-2C81-40EA-A18B-74E65D406E84}"/>
              </a:ext>
            </a:extLst>
          </p:cNvPr>
          <p:cNvCxnSpPr/>
          <p:nvPr>
            <p:custDataLst>
              <p:tags r:id="rId22"/>
            </p:custDataLst>
          </p:nvPr>
        </p:nvCxnSpPr>
        <p:spPr bwMode="gray">
          <a:xfrm>
            <a:off x="3549650" y="3046413"/>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2468D93-43EF-48C9-BED0-7F7CCE660F4C}"/>
              </a:ext>
            </a:extLst>
          </p:cNvPr>
          <p:cNvCxnSpPr/>
          <p:nvPr>
            <p:custDataLst>
              <p:tags r:id="rId23"/>
            </p:custDataLst>
          </p:nvPr>
        </p:nvCxnSpPr>
        <p:spPr bwMode="gray">
          <a:xfrm>
            <a:off x="3549650" y="3452813"/>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3D74E7FD-8836-426B-BF9A-77A845954F82}"/>
              </a:ext>
            </a:extLst>
          </p:cNvPr>
          <p:cNvCxnSpPr/>
          <p:nvPr>
            <p:custDataLst>
              <p:tags r:id="rId24"/>
            </p:custDataLst>
          </p:nvPr>
        </p:nvCxnSpPr>
        <p:spPr bwMode="gray">
          <a:xfrm>
            <a:off x="3549650" y="3656013"/>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0" name="Oval 39"/>
          <p:cNvSpPr/>
          <p:nvPr>
            <p:custDataLst>
              <p:tags r:id="rId25"/>
            </p:custDataLst>
          </p:nvPr>
        </p:nvSpPr>
        <p:spPr bwMode="gray">
          <a:xfrm>
            <a:off x="3638550" y="3008313"/>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Rectangle 37"/>
          <p:cNvSpPr/>
          <p:nvPr>
            <p:custDataLst>
              <p:tags r:id="rId26"/>
            </p:custDataLst>
          </p:nvPr>
        </p:nvSpPr>
        <p:spPr bwMode="gray">
          <a:xfrm>
            <a:off x="3638550" y="3211513"/>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4" name="Isosceles Triangle 143">
            <a:extLst>
              <a:ext uri="{FF2B5EF4-FFF2-40B4-BE49-F238E27FC236}">
                <a16:creationId xmlns:a16="http://schemas.microsoft.com/office/drawing/2014/main" id="{0C9365DB-219B-4354-82FD-E11FBC4D131E}"/>
              </a:ext>
            </a:extLst>
          </p:cNvPr>
          <p:cNvSpPr/>
          <p:nvPr>
            <p:custDataLst>
              <p:tags r:id="rId27"/>
            </p:custDataLst>
          </p:nvPr>
        </p:nvSpPr>
        <p:spPr bwMode="auto">
          <a:xfrm>
            <a:off x="3638550" y="3414713"/>
            <a:ext cx="76200" cy="76200"/>
          </a:xfrm>
          <a:prstGeom prst="triangle">
            <a:avLst/>
          </a:prstGeom>
          <a:solidFill>
            <a:srgbClr val="655939"/>
          </a:solidFill>
          <a:ln w="9525" algn="ctr">
            <a:solidFill>
              <a:srgbClr val="655939"/>
            </a:solidFill>
          </a:ln>
          <a:effectLst/>
        </p:spPr>
        <p:txBody>
          <a:bodyPr wrap="square" rtlCol="0" anchor="ctr">
            <a:noAutofit/>
          </a:bodyPr>
          <a:lstStyle/>
          <a:p>
            <a:pPr marL="0" algn="ctr" fontAlgn="ctr">
              <a:lnSpc>
                <a:spcPct val="114000"/>
              </a:lnSpc>
              <a:spcAft>
                <a:spcPts val="400"/>
              </a:spcAft>
            </a:pPr>
            <a:endParaRPr kumimoji="1" lang="en-CA" sz="1200" dirty="0"/>
          </a:p>
        </p:txBody>
      </p:sp>
      <p:sp>
        <p:nvSpPr>
          <p:cNvPr id="111" name="Diamond 110">
            <a:extLst>
              <a:ext uri="{FF2B5EF4-FFF2-40B4-BE49-F238E27FC236}">
                <a16:creationId xmlns:a16="http://schemas.microsoft.com/office/drawing/2014/main" id="{7EFF38F8-1C52-4964-8C89-C5707076F988}"/>
              </a:ext>
            </a:extLst>
          </p:cNvPr>
          <p:cNvSpPr/>
          <p:nvPr>
            <p:custDataLst>
              <p:tags r:id="rId28"/>
            </p:custDataLst>
          </p:nvPr>
        </p:nvSpPr>
        <p:spPr bwMode="auto">
          <a:xfrm>
            <a:off x="3638550" y="3617913"/>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52" name="テキスト プレースホルダ 9"/>
          <p:cNvSpPr>
            <a:spLocks noGrp="1"/>
          </p:cNvSpPr>
          <p:nvPr>
            <p:custDataLst>
              <p:tags r:id="rId29"/>
            </p:custDataLst>
          </p:nvPr>
        </p:nvSpPr>
        <p:spPr bwMode="auto">
          <a:xfrm>
            <a:off x="3860800" y="2974975"/>
            <a:ext cx="825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813918C-E601-4C13-8887-8E889288DDC0}" type="datetime'''''''''看''''護''''''''''師''''''''・助''''''''産''師'''''''''">
              <a:rPr lang="ja-JP" altLang="en-US" sz="1000" smtClean="0"/>
              <a:pPr/>
              <a:t>看護師・助産師</a:t>
            </a:fld>
            <a:endParaRPr kumimoji="0" lang="ja-JP" altLang="en-US" sz="1000" dirty="0">
              <a:sym typeface="+mn-lt"/>
            </a:endParaRPr>
          </a:p>
        </p:txBody>
      </p:sp>
      <p:sp>
        <p:nvSpPr>
          <p:cNvPr id="51" name="テキスト プレースホルダ 9"/>
          <p:cNvSpPr>
            <a:spLocks noGrp="1"/>
          </p:cNvSpPr>
          <p:nvPr>
            <p:custDataLst>
              <p:tags r:id="rId30"/>
            </p:custDataLst>
          </p:nvPr>
        </p:nvSpPr>
        <p:spPr bwMode="auto">
          <a:xfrm>
            <a:off x="3860800" y="3178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E39EACD-CCC1-4648-8E21-D5713C8B4DB7}" type="datetime'''''医''''''''''''''''''師'''''''''''''''''''''''''''''''''''">
              <a:rPr lang="ja-JP" altLang="en-US" sz="1000" smtClean="0"/>
              <a:pPr/>
              <a:t>医師</a:t>
            </a:fld>
            <a:endParaRPr kumimoji="0" lang="ja-JP" altLang="en-US" sz="1000" dirty="0">
              <a:sym typeface="+mn-lt"/>
            </a:endParaRPr>
          </a:p>
        </p:txBody>
      </p:sp>
      <p:sp>
        <p:nvSpPr>
          <p:cNvPr id="50" name="テキスト プレースホルダ 9"/>
          <p:cNvSpPr>
            <a:spLocks noGrp="1"/>
          </p:cNvSpPr>
          <p:nvPr>
            <p:custDataLst>
              <p:tags r:id="rId31"/>
            </p:custDataLst>
          </p:nvPr>
        </p:nvSpPr>
        <p:spPr bwMode="auto">
          <a:xfrm>
            <a:off x="3860800" y="33813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578E021-626C-422A-B3DF-62D778DA5EB3}" type="datetime'''薬''''剤''''''''''''''師'''''''''''''''''''''''''''''">
              <a:rPr lang="ja-JP" altLang="en-US" sz="1000"/>
              <a:pPr marL="0" indent="0">
                <a:spcBef>
                  <a:spcPct val="0"/>
                </a:spcBef>
                <a:buNone/>
              </a:pPr>
              <a:t>薬剤師</a:t>
            </a:fld>
            <a:endParaRPr kumimoji="0" lang="ja-JP" altLang="en-US" sz="1000" dirty="0">
              <a:sym typeface="+mn-lt"/>
            </a:endParaRPr>
          </a:p>
        </p:txBody>
      </p:sp>
      <p:sp>
        <p:nvSpPr>
          <p:cNvPr id="107" name="テキスト プレースホルダ 9">
            <a:extLst>
              <a:ext uri="{FF2B5EF4-FFF2-40B4-BE49-F238E27FC236}">
                <a16:creationId xmlns:a16="http://schemas.microsoft.com/office/drawing/2014/main" id="{779D776E-EF8A-466A-97E2-6E43E4C05A3E}"/>
              </a:ext>
            </a:extLst>
          </p:cNvPr>
          <p:cNvSpPr>
            <a:spLocks noGrp="1"/>
          </p:cNvSpPr>
          <p:nvPr>
            <p:custDataLst>
              <p:tags r:id="rId32"/>
            </p:custDataLst>
          </p:nvPr>
        </p:nvSpPr>
        <p:spPr bwMode="auto">
          <a:xfrm>
            <a:off x="3860800" y="35845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5609B3B-E118-4E50-ADC5-2428958BCFEB}" type="datetime'''''歯''''''''''科''医'''''''''">
              <a:rPr kumimoji="0" lang="ja-JP" altLang="en-US" sz="1000" smtClean="0"/>
              <a:pPr/>
              <a:t>歯科医</a:t>
            </a:fld>
            <a:endParaRPr kumimoji="0" lang="ja-JP" altLang="en-US" sz="1000" dirty="0">
              <a:sym typeface="+mn-lt"/>
            </a:endParaRPr>
          </a:p>
        </p:txBody>
      </p:sp>
      <p:graphicFrame>
        <p:nvGraphicFramePr>
          <p:cNvPr id="180" name="Chart 179">
            <a:extLst>
              <a:ext uri="{FF2B5EF4-FFF2-40B4-BE49-F238E27FC236}">
                <a16:creationId xmlns:a16="http://schemas.microsoft.com/office/drawing/2014/main" id="{48745595-299C-45EF-B3D0-0A4EB56B53E0}"/>
              </a:ext>
            </a:extLst>
          </p:cNvPr>
          <p:cNvGraphicFramePr/>
          <p:nvPr>
            <p:custDataLst>
              <p:tags r:id="rId33"/>
            </p:custDataLst>
            <p:extLst>
              <p:ext uri="{D42A27DB-BD31-4B8C-83A1-F6EECF244321}">
                <p14:modId xmlns:p14="http://schemas.microsoft.com/office/powerpoint/2010/main" val="2900345336"/>
              </p:ext>
            </p:extLst>
          </p:nvPr>
        </p:nvGraphicFramePr>
        <p:xfrm>
          <a:off x="5240338" y="2498725"/>
          <a:ext cx="4568825" cy="3692525"/>
        </p:xfrm>
        <a:graphic>
          <a:graphicData uri="http://schemas.openxmlformats.org/drawingml/2006/chart">
            <c:chart xmlns:c="http://schemas.openxmlformats.org/drawingml/2006/chart" xmlns:r="http://schemas.openxmlformats.org/officeDocument/2006/relationships" r:id="rId64"/>
          </a:graphicData>
        </a:graphic>
      </p:graphicFrame>
      <p:sp useBgFill="1">
        <p:nvSpPr>
          <p:cNvPr id="120" name="テキスト プレースホルダ 9">
            <a:extLst>
              <a:ext uri="{FF2B5EF4-FFF2-40B4-BE49-F238E27FC236}">
                <a16:creationId xmlns:a16="http://schemas.microsoft.com/office/drawing/2014/main" id="{DB7A222C-6789-4996-A3E1-72906F13D111}"/>
              </a:ext>
            </a:extLst>
          </p:cNvPr>
          <p:cNvSpPr>
            <a:spLocks noGrp="1"/>
          </p:cNvSpPr>
          <p:nvPr>
            <p:custDataLst>
              <p:tags r:id="rId34"/>
            </p:custDataLst>
          </p:nvPr>
        </p:nvSpPr>
        <p:spPr bwMode="gray">
          <a:xfrm>
            <a:off x="6462713" y="5949950"/>
            <a:ext cx="85725" cy="122238"/>
          </a:xfrm>
          <a:prstGeom prst="rect">
            <a:avLst/>
          </a:prstGeom>
          <a:ln>
            <a:noFill/>
          </a:ln>
          <a:effectLst/>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21886BC-6BED-44D9-891F-09AB640F8BFD}" type="datetime'''''''''''''''''''''''''''''''''''''''''''''3'''''">
              <a:rPr lang="ja-JP" altLang="en-US" sz="800" smtClean="0">
                <a:effectLst/>
                <a:sym typeface="+mn-lt"/>
              </a:rPr>
              <a:pPr marL="0" indent="0">
                <a:spcBef>
                  <a:spcPct val="0"/>
                </a:spcBef>
                <a:buNone/>
              </a:pPr>
              <a:t>3</a:t>
            </a:fld>
            <a:endParaRPr lang="ja-JP" altLang="en-US" sz="800" dirty="0">
              <a:sym typeface="+mn-lt"/>
            </a:endParaRPr>
          </a:p>
        </p:txBody>
      </p:sp>
      <p:sp>
        <p:nvSpPr>
          <p:cNvPr id="58" name="テキスト プレースホルダ 9"/>
          <p:cNvSpPr>
            <a:spLocks noGrp="1"/>
          </p:cNvSpPr>
          <p:nvPr>
            <p:custDataLst>
              <p:tags r:id="rId35"/>
            </p:custDataLst>
          </p:nvPr>
        </p:nvSpPr>
        <p:spPr bwMode="auto">
          <a:xfrm>
            <a:off x="689292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CD0AC52-D7D5-4A9E-8B4D-585F2355DD32}" type="datetime'''''''''''''''''''''''''''1''''''''''''''''''''''''''3'">
              <a:rPr lang="ja-JP" altLang="en-US" sz="1000" smtClean="0"/>
              <a:pPr/>
              <a:t>13</a:t>
            </a:fld>
            <a:endParaRPr kumimoji="0" lang="ja-JP" altLang="en-US" sz="1000" dirty="0">
              <a:sym typeface="+mn-lt"/>
            </a:endParaRPr>
          </a:p>
        </p:txBody>
      </p:sp>
      <p:sp>
        <p:nvSpPr>
          <p:cNvPr id="64" name="テキスト プレースホルダ 9"/>
          <p:cNvSpPr>
            <a:spLocks noGrp="1"/>
          </p:cNvSpPr>
          <p:nvPr>
            <p:custDataLst>
              <p:tags r:id="rId36"/>
            </p:custDataLst>
          </p:nvPr>
        </p:nvSpPr>
        <p:spPr bwMode="auto">
          <a:xfrm>
            <a:off x="5454650" y="61785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891BFE0-03B5-457D-8862-612E2571D97D}" type="datetime'''''''''''2''''''''''''0''''''''1''''''''0'''">
              <a:rPr lang="ja-JP" altLang="en-US" sz="1000" smtClean="0"/>
              <a:pPr/>
              <a:t>2010</a:t>
            </a:fld>
            <a:endParaRPr kumimoji="0" lang="ja-JP" altLang="en-US" sz="1000" dirty="0">
              <a:sym typeface="+mn-lt"/>
            </a:endParaRPr>
          </a:p>
        </p:txBody>
      </p:sp>
      <p:sp>
        <p:nvSpPr>
          <p:cNvPr id="62" name="テキスト プレースホルダ 9"/>
          <p:cNvSpPr>
            <a:spLocks noGrp="1"/>
          </p:cNvSpPr>
          <p:nvPr>
            <p:custDataLst>
              <p:tags r:id="rId37"/>
            </p:custDataLst>
          </p:nvPr>
        </p:nvSpPr>
        <p:spPr bwMode="auto">
          <a:xfrm>
            <a:off x="598011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87390CB-AEAC-4D80-93AF-714CFFBA8927}" type="datetime'''''''''''''''1''''''''''1'''''''''''''''''''''''''''''">
              <a:rPr lang="ja-JP" altLang="en-US" sz="1000" smtClean="0"/>
              <a:pPr/>
              <a:t>11</a:t>
            </a:fld>
            <a:endParaRPr kumimoji="0" lang="ja-JP" altLang="en-US" sz="1000" dirty="0">
              <a:sym typeface="+mn-lt"/>
            </a:endParaRPr>
          </a:p>
        </p:txBody>
      </p:sp>
      <p:sp>
        <p:nvSpPr>
          <p:cNvPr id="60" name="テキスト プレースホルダ 9"/>
          <p:cNvSpPr>
            <a:spLocks noGrp="1"/>
          </p:cNvSpPr>
          <p:nvPr>
            <p:custDataLst>
              <p:tags r:id="rId38"/>
            </p:custDataLst>
          </p:nvPr>
        </p:nvSpPr>
        <p:spPr bwMode="auto">
          <a:xfrm>
            <a:off x="643731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E087F96-874B-45C0-A0A8-C8827696355C}" type="datetime'1''''''''''''''''''''''''''''''''''''''''''2'''''''''''''">
              <a:rPr lang="ja-JP" altLang="en-US" sz="1000" smtClean="0"/>
              <a:pPr/>
              <a:t>12</a:t>
            </a:fld>
            <a:endParaRPr kumimoji="0" lang="ja-JP" altLang="en-US" sz="1000" dirty="0">
              <a:sym typeface="+mn-lt"/>
            </a:endParaRPr>
          </a:p>
        </p:txBody>
      </p:sp>
      <p:sp>
        <p:nvSpPr>
          <p:cNvPr id="56" name="テキスト プレースホルダ 9"/>
          <p:cNvSpPr>
            <a:spLocks noGrp="1"/>
          </p:cNvSpPr>
          <p:nvPr>
            <p:custDataLst>
              <p:tags r:id="rId39"/>
            </p:custDataLst>
          </p:nvPr>
        </p:nvSpPr>
        <p:spPr bwMode="auto">
          <a:xfrm>
            <a:off x="734853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C0541BA-EC6F-4CCF-9BC5-C28884B0492D}" type="datetime'''''''''''''''''1''''''''''''''''''''''''4'''''''">
              <a:rPr lang="ja-JP" altLang="en-US" sz="1000" smtClean="0"/>
              <a:pPr/>
              <a:t>14</a:t>
            </a:fld>
            <a:endParaRPr kumimoji="0" lang="ja-JP" altLang="en-US" sz="1000" dirty="0">
              <a:sym typeface="+mn-lt"/>
            </a:endParaRPr>
          </a:p>
        </p:txBody>
      </p:sp>
      <p:sp useBgFill="1">
        <p:nvSpPr>
          <p:cNvPr id="121" name="テキスト プレースホルダ 9">
            <a:extLst>
              <a:ext uri="{FF2B5EF4-FFF2-40B4-BE49-F238E27FC236}">
                <a16:creationId xmlns:a16="http://schemas.microsoft.com/office/drawing/2014/main" id="{1888D07D-5F0A-4DC2-9495-5C27B416618B}"/>
              </a:ext>
            </a:extLst>
          </p:cNvPr>
          <p:cNvSpPr>
            <a:spLocks noGrp="1"/>
          </p:cNvSpPr>
          <p:nvPr>
            <p:custDataLst>
              <p:tags r:id="rId40"/>
            </p:custDataLst>
          </p:nvPr>
        </p:nvSpPr>
        <p:spPr bwMode="gray">
          <a:xfrm>
            <a:off x="6913563" y="5938838"/>
            <a:ext cx="85725" cy="122238"/>
          </a:xfrm>
          <a:prstGeom prst="rect">
            <a:avLst/>
          </a:prstGeom>
          <a:ln>
            <a:noFill/>
          </a:ln>
          <a:effectLst/>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B0440F6-E05E-4022-B456-E139BC9FF820}" type="datetime'''''''3'''''''''''''''''''''''''''''''''''''''''''''''''''''''">
              <a:rPr lang="ja-JP" altLang="en-US" sz="800" smtClean="0">
                <a:effectLst/>
                <a:sym typeface="+mn-lt"/>
              </a:rPr>
              <a:pPr marL="0" indent="0">
                <a:spcBef>
                  <a:spcPct val="0"/>
                </a:spcBef>
                <a:buNone/>
              </a:pPr>
              <a:t>3</a:t>
            </a:fld>
            <a:endParaRPr lang="ja-JP" altLang="en-US" sz="800" dirty="0">
              <a:sym typeface="+mn-lt"/>
            </a:endParaRPr>
          </a:p>
        </p:txBody>
      </p:sp>
      <p:sp>
        <p:nvSpPr>
          <p:cNvPr id="54" name="テキスト プレースホルダ 9"/>
          <p:cNvSpPr>
            <a:spLocks noGrp="1"/>
          </p:cNvSpPr>
          <p:nvPr>
            <p:custDataLst>
              <p:tags r:id="rId41"/>
            </p:custDataLst>
          </p:nvPr>
        </p:nvSpPr>
        <p:spPr bwMode="auto">
          <a:xfrm>
            <a:off x="780573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B075B99-F117-46AE-9A36-835DE717EEBD}" type="datetime'''''''''''''''''''''''''''''''''''15'">
              <a:rPr lang="ja-JP" altLang="en-US" sz="1000" smtClean="0"/>
              <a:pPr/>
              <a:t>15</a:t>
            </a:fld>
            <a:endParaRPr kumimoji="0" lang="ja-JP" altLang="en-US" sz="1000" dirty="0">
              <a:sym typeface="+mn-lt"/>
            </a:endParaRPr>
          </a:p>
        </p:txBody>
      </p:sp>
      <p:sp>
        <p:nvSpPr>
          <p:cNvPr id="83" name="テキスト プレースホルダ 9"/>
          <p:cNvSpPr>
            <a:spLocks noGrp="1"/>
          </p:cNvSpPr>
          <p:nvPr>
            <p:custDataLst>
              <p:tags r:id="rId42"/>
            </p:custDataLst>
          </p:nvPr>
        </p:nvSpPr>
        <p:spPr bwMode="auto">
          <a:xfrm>
            <a:off x="826135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08A008-CBC8-41E3-8A63-28FDE547E2B3}" type="datetime'''''1''''''''''''''''''''6'''''''">
              <a:rPr lang="ja-JP" altLang="en-US" sz="1000" smtClean="0"/>
              <a:pPr/>
              <a:t>16</a:t>
            </a:fld>
            <a:endParaRPr kumimoji="0" lang="ja-JP" altLang="en-US" sz="1000" dirty="0">
              <a:sym typeface="+mn-lt"/>
            </a:endParaRPr>
          </a:p>
        </p:txBody>
      </p:sp>
      <p:sp>
        <p:nvSpPr>
          <p:cNvPr id="65" name="テキスト プレースホルダ 9"/>
          <p:cNvSpPr>
            <a:spLocks noGrp="1"/>
          </p:cNvSpPr>
          <p:nvPr>
            <p:custDataLst>
              <p:tags r:id="rId43"/>
            </p:custDataLst>
          </p:nvPr>
        </p:nvSpPr>
        <p:spPr bwMode="auto">
          <a:xfrm>
            <a:off x="871696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373BFE-76F9-4AAE-854A-C8DD688AC95F}" type="datetime'''''''1''''''''''''''7'''''''''''''''''''''''''''''''''''">
              <a:rPr lang="ja-JP" altLang="en-US" sz="1000" smtClean="0"/>
              <a:pPr/>
              <a:t>17</a:t>
            </a:fld>
            <a:endParaRPr kumimoji="0" lang="ja-JP" altLang="en-US" sz="1000" dirty="0">
              <a:sym typeface="+mn-lt"/>
            </a:endParaRPr>
          </a:p>
        </p:txBody>
      </p:sp>
      <p:sp useBgFill="1">
        <p:nvSpPr>
          <p:cNvPr id="133" name="テキスト プレースホルダ 9">
            <a:extLst>
              <a:ext uri="{FF2B5EF4-FFF2-40B4-BE49-F238E27FC236}">
                <a16:creationId xmlns:a16="http://schemas.microsoft.com/office/drawing/2014/main" id="{A5DB22A4-376F-4605-8037-97D0336FDA65}"/>
              </a:ext>
            </a:extLst>
          </p:cNvPr>
          <p:cNvSpPr>
            <a:spLocks noGrp="1"/>
          </p:cNvSpPr>
          <p:nvPr>
            <p:custDataLst>
              <p:tags r:id="rId44"/>
            </p:custDataLst>
          </p:nvPr>
        </p:nvSpPr>
        <p:spPr bwMode="gray">
          <a:xfrm>
            <a:off x="9072563" y="5811838"/>
            <a:ext cx="85725" cy="122238"/>
          </a:xfrm>
          <a:prstGeom prst="rect">
            <a:avLst/>
          </a:prstGeom>
          <a:ln>
            <a:noFill/>
          </a:ln>
          <a:effectLst/>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FD63320-5C8E-4D25-AFF0-9B96A44C38D2}" type="datetime'''''''''''''4'''''''''''''''''''''''''''''''''''">
              <a:rPr lang="ja-JP" altLang="en-US" sz="800" smtClean="0">
                <a:effectLst/>
                <a:sym typeface="+mn-lt"/>
              </a:rPr>
              <a:pPr/>
              <a:t>4</a:t>
            </a:fld>
            <a:endParaRPr lang="ja-JP" altLang="en-US" sz="800" dirty="0">
              <a:sym typeface="+mn-lt"/>
            </a:endParaRPr>
          </a:p>
        </p:txBody>
      </p:sp>
      <p:sp>
        <p:nvSpPr>
          <p:cNvPr id="81" name="テキスト プレースホルダ 9">
            <a:extLst>
              <a:ext uri="{FF2B5EF4-FFF2-40B4-BE49-F238E27FC236}">
                <a16:creationId xmlns:a16="http://schemas.microsoft.com/office/drawing/2014/main" id="{7E4A0001-32F7-4383-8285-F70225DBD84E}"/>
              </a:ext>
            </a:extLst>
          </p:cNvPr>
          <p:cNvSpPr>
            <a:spLocks noGrp="1"/>
          </p:cNvSpPr>
          <p:nvPr>
            <p:custDataLst>
              <p:tags r:id="rId45"/>
            </p:custDataLst>
          </p:nvPr>
        </p:nvSpPr>
        <p:spPr bwMode="auto">
          <a:xfrm>
            <a:off x="917416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4432BE9-8B46-4C1E-8620-98A9DDC80143}" type="datetime'''''''''''''''''''''''''''''''''''''''''''''1''''''8'''''">
              <a:rPr kumimoji="0" lang="ja-JP" altLang="en-US" sz="1000" smtClean="0"/>
              <a:pPr/>
              <a:t>18</a:t>
            </a:fld>
            <a:endParaRPr kumimoji="0" lang="ja-JP" altLang="en-US" sz="1000" dirty="0">
              <a:sym typeface="+mn-lt"/>
            </a:endParaRPr>
          </a:p>
        </p:txBody>
      </p:sp>
      <p:sp>
        <p:nvSpPr>
          <p:cNvPr id="82" name="テキスト プレースホルダ 9">
            <a:extLst>
              <a:ext uri="{FF2B5EF4-FFF2-40B4-BE49-F238E27FC236}">
                <a16:creationId xmlns:a16="http://schemas.microsoft.com/office/drawing/2014/main" id="{2BD9B734-8DD5-493D-A590-66D006FF6BBF}"/>
              </a:ext>
            </a:extLst>
          </p:cNvPr>
          <p:cNvSpPr>
            <a:spLocks noGrp="1"/>
          </p:cNvSpPr>
          <p:nvPr>
            <p:custDataLst>
              <p:tags r:id="rId46"/>
            </p:custDataLst>
          </p:nvPr>
        </p:nvSpPr>
        <p:spPr bwMode="auto">
          <a:xfrm>
            <a:off x="96297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35E13B-2133-4120-B127-05ECE1B67444}" type="datetime'1''''''''''9'''''''''''''''''''''''''''''''''''''''">
              <a:rPr kumimoji="0" lang="ja-JP" altLang="en-US" sz="1000" smtClean="0"/>
              <a:pPr/>
              <a:t>19</a:t>
            </a:fld>
            <a:endParaRPr kumimoji="0" lang="ja-JP" altLang="en-US" sz="1000" dirty="0">
              <a:sym typeface="+mn-lt"/>
            </a:endParaRPr>
          </a:p>
        </p:txBody>
      </p:sp>
      <p:sp useBgFill="1">
        <p:nvSpPr>
          <p:cNvPr id="164" name="テキスト プレースホルダ 9">
            <a:extLst>
              <a:ext uri="{FF2B5EF4-FFF2-40B4-BE49-F238E27FC236}">
                <a16:creationId xmlns:a16="http://schemas.microsoft.com/office/drawing/2014/main" id="{E6253E02-B472-4DB7-9583-928FF44ED166}"/>
              </a:ext>
            </a:extLst>
          </p:cNvPr>
          <p:cNvSpPr>
            <a:spLocks noGrp="1"/>
          </p:cNvSpPr>
          <p:nvPr>
            <p:custDataLst>
              <p:tags r:id="rId47"/>
            </p:custDataLst>
          </p:nvPr>
        </p:nvSpPr>
        <p:spPr bwMode="gray">
          <a:xfrm>
            <a:off x="5618163" y="5954713"/>
            <a:ext cx="85725" cy="122238"/>
          </a:xfrm>
          <a:prstGeom prst="rect">
            <a:avLst/>
          </a:prstGeom>
          <a:ln>
            <a:noFill/>
          </a:ln>
          <a:effectLst/>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B5661F1-BEA0-4689-84AA-BCA04D8B5D94}" type="datetime'''3'''''''''''''''''''''''''''''''''''''''''''''">
              <a:rPr lang="ja-JP" altLang="en-US" sz="800" smtClean="0">
                <a:effectLst/>
                <a:sym typeface="+mn-lt"/>
              </a:rPr>
              <a:pPr marL="0" indent="0">
                <a:spcBef>
                  <a:spcPct val="0"/>
                </a:spcBef>
                <a:buNone/>
              </a:pPr>
              <a:t>3</a:t>
            </a:fld>
            <a:endParaRPr lang="ja-JP" altLang="en-US" sz="800" dirty="0">
              <a:sym typeface="+mn-lt"/>
            </a:endParaRPr>
          </a:p>
        </p:txBody>
      </p:sp>
      <p:cxnSp>
        <p:nvCxnSpPr>
          <p:cNvPr id="16" name="Straight Connector 15">
            <a:extLst>
              <a:ext uri="{FF2B5EF4-FFF2-40B4-BE49-F238E27FC236}">
                <a16:creationId xmlns:a16="http://schemas.microsoft.com/office/drawing/2014/main" id="{2E8F7D3E-9FBD-4C4A-A5C7-1E05DC2C7B06}"/>
              </a:ext>
            </a:extLst>
          </p:cNvPr>
          <p:cNvCxnSpPr/>
          <p:nvPr>
            <p:custDataLst>
              <p:tags r:id="rId48"/>
            </p:custDataLst>
          </p:nvPr>
        </p:nvCxnSpPr>
        <p:spPr bwMode="gray">
          <a:xfrm>
            <a:off x="8518525" y="3616325"/>
            <a:ext cx="255588" cy="0"/>
          </a:xfrm>
          <a:prstGeom prst="line">
            <a:avLst/>
          </a:prstGeom>
          <a:ln w="9525" cap="rnd"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037EA63D-8085-451A-A419-B1424A7A04DD}"/>
              </a:ext>
            </a:extLst>
          </p:cNvPr>
          <p:cNvCxnSpPr/>
          <p:nvPr>
            <p:custDataLst>
              <p:tags r:id="rId49"/>
            </p:custDataLst>
          </p:nvPr>
        </p:nvCxnSpPr>
        <p:spPr bwMode="gray">
          <a:xfrm>
            <a:off x="8518525" y="3209925"/>
            <a:ext cx="255588" cy="0"/>
          </a:xfrm>
          <a:prstGeom prst="line">
            <a:avLst/>
          </a:prstGeom>
          <a:ln w="952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4757E240-2A72-4731-9B32-E52C0B89F40B}"/>
              </a:ext>
            </a:extLst>
          </p:cNvPr>
          <p:cNvCxnSpPr/>
          <p:nvPr>
            <p:custDataLst>
              <p:tags r:id="rId50"/>
            </p:custDataLst>
          </p:nvPr>
        </p:nvCxnSpPr>
        <p:spPr bwMode="gray">
          <a:xfrm>
            <a:off x="8518525" y="3413125"/>
            <a:ext cx="255588" cy="0"/>
          </a:xfrm>
          <a:prstGeom prst="line">
            <a:avLst/>
          </a:prstGeom>
          <a:ln w="9525" cap="rnd"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6D26CE7D-EB7C-4141-9FCE-7942E30A5C6B}"/>
              </a:ext>
            </a:extLst>
          </p:cNvPr>
          <p:cNvCxnSpPr/>
          <p:nvPr>
            <p:custDataLst>
              <p:tags r:id="rId51"/>
            </p:custDataLst>
          </p:nvPr>
        </p:nvCxnSpPr>
        <p:spPr bwMode="gray">
          <a:xfrm>
            <a:off x="8518525" y="3819525"/>
            <a:ext cx="255588" cy="0"/>
          </a:xfrm>
          <a:prstGeom prst="line">
            <a:avLst/>
          </a:prstGeom>
          <a:ln w="9525" cap="rnd"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0" name="Isosceles Triangle 69"/>
          <p:cNvSpPr/>
          <p:nvPr>
            <p:custDataLst>
              <p:tags r:id="rId52"/>
            </p:custDataLst>
          </p:nvPr>
        </p:nvSpPr>
        <p:spPr bwMode="gray">
          <a:xfrm>
            <a:off x="8607425" y="3578225"/>
            <a:ext cx="76200" cy="76200"/>
          </a:xfrm>
          <a:prstGeom prst="triangle">
            <a:avLst/>
          </a:prstGeom>
          <a:solidFill>
            <a:srgbClr val="655939"/>
          </a:solidFill>
          <a:ln w="9525">
            <a:solidFill>
              <a:srgbClr val="6559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Oval 71"/>
          <p:cNvSpPr/>
          <p:nvPr>
            <p:custDataLst>
              <p:tags r:id="rId53"/>
            </p:custDataLst>
          </p:nvPr>
        </p:nvSpPr>
        <p:spPr bwMode="gray">
          <a:xfrm>
            <a:off x="8607425" y="3171825"/>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Rectangle 70"/>
          <p:cNvSpPr/>
          <p:nvPr>
            <p:custDataLst>
              <p:tags r:id="rId54"/>
            </p:custDataLst>
          </p:nvPr>
        </p:nvSpPr>
        <p:spPr bwMode="gray">
          <a:xfrm>
            <a:off x="8607425" y="3375025"/>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Diamond 19">
            <a:extLst>
              <a:ext uri="{FF2B5EF4-FFF2-40B4-BE49-F238E27FC236}">
                <a16:creationId xmlns:a16="http://schemas.microsoft.com/office/drawing/2014/main" id="{74D2F530-C7FC-4254-A98C-1A0E184FBEF0}"/>
              </a:ext>
            </a:extLst>
          </p:cNvPr>
          <p:cNvSpPr/>
          <p:nvPr>
            <p:custDataLst>
              <p:tags r:id="rId55"/>
            </p:custDataLst>
          </p:nvPr>
        </p:nvSpPr>
        <p:spPr bwMode="auto">
          <a:xfrm>
            <a:off x="8607425" y="3781425"/>
            <a:ext cx="76200" cy="76200"/>
          </a:xfrm>
          <a:prstGeom prst="diamond">
            <a:avLst/>
          </a:prstGeom>
          <a:solidFill>
            <a:srgbClr val="4D4D4D"/>
          </a:solidFill>
          <a:ln w="9525" algn="ctr">
            <a:solidFill>
              <a:srgbClr val="4D4D4D"/>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77" name="テキスト プレースホルダ 9"/>
          <p:cNvSpPr>
            <a:spLocks noGrp="1"/>
          </p:cNvSpPr>
          <p:nvPr>
            <p:custDataLst>
              <p:tags r:id="rId56"/>
            </p:custDataLst>
          </p:nvPr>
        </p:nvSpPr>
        <p:spPr bwMode="auto">
          <a:xfrm>
            <a:off x="8829675" y="3138488"/>
            <a:ext cx="825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0C03C30-E7F6-4856-AAF3-CA63A689D61E}" type="datetime'''看''''護''''''師''''''''''''''''''''''''・''助''''産''''''師'">
              <a:rPr lang="ja-JP" altLang="en-US" sz="1000" smtClean="0"/>
              <a:pPr/>
              <a:t>看護師・助産師</a:t>
            </a:fld>
            <a:endParaRPr kumimoji="0" lang="ja-JP" altLang="en-US" sz="1000" dirty="0">
              <a:sym typeface="+mn-lt"/>
            </a:endParaRPr>
          </a:p>
        </p:txBody>
      </p:sp>
      <p:sp>
        <p:nvSpPr>
          <p:cNvPr id="74" name="テキスト プレースホルダ 9"/>
          <p:cNvSpPr>
            <a:spLocks noGrp="1"/>
          </p:cNvSpPr>
          <p:nvPr>
            <p:custDataLst>
              <p:tags r:id="rId57"/>
            </p:custDataLst>
          </p:nvPr>
        </p:nvSpPr>
        <p:spPr bwMode="auto">
          <a:xfrm>
            <a:off x="8829675" y="35448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3431192-DA06-438E-BF6C-5A8C35FCDF82}" type="datetime'''''''''''''''薬''''''''''''''''''''''''''''''剤師'''''''''''''">
              <a:rPr lang="ja-JP" altLang="en-US" sz="1000"/>
              <a:pPr marL="0" indent="0">
                <a:spcBef>
                  <a:spcPct val="0"/>
                </a:spcBef>
                <a:buNone/>
              </a:pPr>
              <a:t>薬剤師</a:t>
            </a:fld>
            <a:endParaRPr kumimoji="0" lang="ja-JP" altLang="en-US" sz="1000" dirty="0">
              <a:sym typeface="+mn-lt"/>
            </a:endParaRPr>
          </a:p>
        </p:txBody>
      </p:sp>
      <p:sp>
        <p:nvSpPr>
          <p:cNvPr id="75" name="テキスト プレースホルダ 9"/>
          <p:cNvSpPr>
            <a:spLocks noGrp="1"/>
          </p:cNvSpPr>
          <p:nvPr>
            <p:custDataLst>
              <p:tags r:id="rId58"/>
            </p:custDataLst>
          </p:nvPr>
        </p:nvSpPr>
        <p:spPr bwMode="auto">
          <a:xfrm>
            <a:off x="8829675" y="33416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5DE3068-EA59-4796-9BAF-2D8476AFDA35}" type="datetime'''医''''''''''''''''''''''''''''''''''師'''''''''">
              <a:rPr lang="ja-JP" altLang="en-US" sz="1000" smtClean="0"/>
              <a:pPr/>
              <a:t>医師</a:t>
            </a:fld>
            <a:endParaRPr kumimoji="0" lang="ja-JP" altLang="en-US" sz="1000" dirty="0">
              <a:sym typeface="+mn-lt"/>
            </a:endParaRPr>
          </a:p>
        </p:txBody>
      </p:sp>
      <p:sp>
        <p:nvSpPr>
          <p:cNvPr id="79" name="テキスト プレースホルダ 9">
            <a:extLst>
              <a:ext uri="{FF2B5EF4-FFF2-40B4-BE49-F238E27FC236}">
                <a16:creationId xmlns:a16="http://schemas.microsoft.com/office/drawing/2014/main" id="{B0AF7D79-0162-49F6-B097-68FE0F3DE65A}"/>
              </a:ext>
            </a:extLst>
          </p:cNvPr>
          <p:cNvSpPr>
            <a:spLocks noGrp="1"/>
          </p:cNvSpPr>
          <p:nvPr>
            <p:custDataLst>
              <p:tags r:id="rId59"/>
            </p:custDataLst>
          </p:nvPr>
        </p:nvSpPr>
        <p:spPr bwMode="auto">
          <a:xfrm>
            <a:off x="8829675" y="37480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27D555E-3042-44F2-A277-D2389714C7C4}" type="datetime'''''''''''''''''''''''''''''''''歯科''''''''''''''''''''''医'''''">
              <a:rPr kumimoji="0" lang="ja-JP" altLang="en-US" sz="1000" smtClean="0"/>
              <a:pPr/>
              <a:t>歯科医</a:t>
            </a:fld>
            <a:endParaRPr kumimoji="0" lang="ja-JP" altLang="en-US" sz="1000" dirty="0">
              <a:sym typeface="+mn-lt"/>
            </a:endParaRPr>
          </a:p>
        </p:txBody>
      </p:sp>
    </p:spTree>
    <p:extLst>
      <p:ext uri="{BB962C8B-B14F-4D97-AF65-F5344CB8AC3E}">
        <p14:creationId xmlns:p14="http://schemas.microsoft.com/office/powerpoint/2010/main" val="22127530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2"/>
            </p:custDataLst>
            <p:extLst>
              <p:ext uri="{D42A27DB-BD31-4B8C-83A1-F6EECF244321}">
                <p14:modId xmlns:p14="http://schemas.microsoft.com/office/powerpoint/2010/main" val="2190386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14" imgW="395" imgH="396" progId="TCLayout.ActiveDocument.1">
                  <p:embed/>
                </p:oleObj>
              </mc:Choice>
              <mc:Fallback>
                <p:oleObj name="think-cell Slide" r:id="rId14"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3" name="タイトル 4">
            <a:extLst>
              <a:ext uri="{FF2B5EF4-FFF2-40B4-BE49-F238E27FC236}">
                <a16:creationId xmlns:a16="http://schemas.microsoft.com/office/drawing/2014/main" id="{6D9E75EC-E74A-4704-9B09-99C1ACE818C1}"/>
              </a:ext>
            </a:extLst>
          </p:cNvPr>
          <p:cNvSpPr>
            <a:spLocks noGrp="1"/>
          </p:cNvSpPr>
          <p:nvPr>
            <p:ph type="title"/>
          </p:nvPr>
        </p:nvSpPr>
        <p:spPr>
          <a:xfrm>
            <a:off x="200471" y="240823"/>
            <a:ext cx="345638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公衆衛生</a:t>
            </a:r>
            <a:endParaRPr kumimoji="1" lang="ja-JP" altLang="en-US" dirty="0"/>
          </a:p>
        </p:txBody>
      </p:sp>
      <p:sp>
        <p:nvSpPr>
          <p:cNvPr id="14" name="テキスト プレースホルダー 5">
            <a:extLst>
              <a:ext uri="{FF2B5EF4-FFF2-40B4-BE49-F238E27FC236}">
                <a16:creationId xmlns:a16="http://schemas.microsoft.com/office/drawing/2014/main" id="{E22AD8D3-4516-4405-8C6B-038D85C65A49}"/>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現地の臨床工学技士や理学療法士などの資格の有無</a:t>
            </a:r>
          </a:p>
        </p:txBody>
      </p:sp>
      <p:sp>
        <p:nvSpPr>
          <p:cNvPr id="28" name="テキスト ボックス 45">
            <a:extLst>
              <a:ext uri="{FF2B5EF4-FFF2-40B4-BE49-F238E27FC236}">
                <a16:creationId xmlns:a16="http://schemas.microsoft.com/office/drawing/2014/main" id="{10B96DED-6B8F-4F27-AD3E-673E4F324D58}"/>
              </a:ext>
            </a:extLst>
          </p:cNvPr>
          <p:cNvSpPr txBox="1"/>
          <p:nvPr/>
        </p:nvSpPr>
        <p:spPr>
          <a:xfrm>
            <a:off x="304691" y="1101352"/>
            <a:ext cx="9227691" cy="12159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制定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llied Health Professions Ac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基づ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種類の医療関連専門資格が規定され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大学レベルでの指定課程を修めたのち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llied Health Professions Council (AHPC)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登録することで職に就くことができるほか、海外の大学で同等の課程を修めた者も、英語能力などの審査ののちに、登録をすることができ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工学技士にあたる資格は存在しない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れば、</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現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ほどがその職にあたっていると報告されている。</a:t>
            </a:r>
          </a:p>
        </p:txBody>
      </p:sp>
      <p:graphicFrame>
        <p:nvGraphicFramePr>
          <p:cNvPr id="130" name="Chart 129">
            <a:extLst>
              <a:ext uri="{FF2B5EF4-FFF2-40B4-BE49-F238E27FC236}">
                <a16:creationId xmlns:a16="http://schemas.microsoft.com/office/drawing/2014/main" id="{961F1A4A-8BD2-48CB-BC3B-53351D3F0099}"/>
              </a:ext>
            </a:extLst>
          </p:cNvPr>
          <p:cNvGraphicFramePr/>
          <p:nvPr>
            <p:custDataLst>
              <p:tags r:id="rId3"/>
            </p:custDataLst>
            <p:extLst>
              <p:ext uri="{D42A27DB-BD31-4B8C-83A1-F6EECF244321}">
                <p14:modId xmlns:p14="http://schemas.microsoft.com/office/powerpoint/2010/main" val="3984288389"/>
              </p:ext>
            </p:extLst>
          </p:nvPr>
        </p:nvGraphicFramePr>
        <p:xfrm>
          <a:off x="1392238" y="3244850"/>
          <a:ext cx="6296025" cy="2840038"/>
        </p:xfrm>
        <a:graphic>
          <a:graphicData uri="http://schemas.openxmlformats.org/drawingml/2006/chart">
            <c:chart xmlns:c="http://schemas.openxmlformats.org/drawingml/2006/chart" xmlns:r="http://schemas.openxmlformats.org/officeDocument/2006/relationships" r:id="rId16"/>
          </a:graphicData>
        </a:graphic>
      </p:graphicFrame>
      <p:sp useBgFill="1">
        <p:nvSpPr>
          <p:cNvPr id="50" name="テキスト プレースホルダ 9">
            <a:extLst>
              <a:ext uri="{FF2B5EF4-FFF2-40B4-BE49-F238E27FC236}">
                <a16:creationId xmlns:a16="http://schemas.microsoft.com/office/drawing/2014/main" id="{5E391D00-CA6B-4067-B759-A7A73486D08A}"/>
              </a:ext>
            </a:extLst>
          </p:cNvPr>
          <p:cNvSpPr>
            <a:spLocks noGrp="1"/>
          </p:cNvSpPr>
          <p:nvPr>
            <p:custDataLst>
              <p:tags r:id="rId4"/>
            </p:custDataLst>
          </p:nvPr>
        </p:nvSpPr>
        <p:spPr bwMode="gray">
          <a:xfrm>
            <a:off x="3143250" y="3997325"/>
            <a:ext cx="423863" cy="182563"/>
          </a:xfrm>
          <a:prstGeom prst="rect">
            <a:avLst/>
          </a:prstGeom>
          <a:ln>
            <a:noFill/>
          </a:ln>
          <a:effectLst/>
        </p:spPr>
        <p:txBody>
          <a:bodyPr vert="horz" wrap="none" lIns="22225" tIns="0" rIns="2222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A6AB283-9EE9-4EF2-941A-07F30C1E8C3B}" type="datetime'''''''''''''1'',''''7''''''''''''''''''''''3''''''9'">
              <a:rPr lang="en-US" altLang="en-US" sz="1200" smtClean="0">
                <a:effectLst/>
              </a:rPr>
              <a:pPr marL="0" indent="0" algn="ctr">
                <a:spcBef>
                  <a:spcPct val="0"/>
                </a:spcBef>
                <a:buNone/>
              </a:pPr>
              <a:t>1,739</a:t>
            </a:fld>
            <a:endParaRPr lang="ja-JP" altLang="en-US" sz="1200" dirty="0"/>
          </a:p>
        </p:txBody>
      </p:sp>
      <p:sp>
        <p:nvSpPr>
          <p:cNvPr id="30" name="テキスト プレースホルダ 9">
            <a:extLst>
              <a:ext uri="{FF2B5EF4-FFF2-40B4-BE49-F238E27FC236}">
                <a16:creationId xmlns:a16="http://schemas.microsoft.com/office/drawing/2014/main" id="{0687AB51-7245-4F3D-A103-34289F124FBF}"/>
              </a:ext>
            </a:extLst>
          </p:cNvPr>
          <p:cNvSpPr>
            <a:spLocks noGrp="1"/>
          </p:cNvSpPr>
          <p:nvPr>
            <p:custDataLst>
              <p:tags r:id="rId5"/>
            </p:custDataLst>
          </p:nvPr>
        </p:nvSpPr>
        <p:spPr bwMode="auto">
          <a:xfrm>
            <a:off x="7727950" y="3700463"/>
            <a:ext cx="10668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96BB88C-5E17-455B-89AF-4C435A87F2D8}" type="datetime'診''療''''''''放''''射''''''''''''''''''線''''技''''''''師'''''''''">
              <a:rPr lang="zh-TW" altLang="en-US" sz="1200" smtClean="0"/>
              <a:pPr/>
              <a:t>診療放射線技師</a:t>
            </a:fld>
            <a:endParaRPr lang="ja-JP" altLang="en-US" sz="1200" dirty="0"/>
          </a:p>
        </p:txBody>
      </p:sp>
      <p:sp>
        <p:nvSpPr>
          <p:cNvPr id="34" name="テキスト プレースホルダ 9">
            <a:extLst>
              <a:ext uri="{FF2B5EF4-FFF2-40B4-BE49-F238E27FC236}">
                <a16:creationId xmlns:a16="http://schemas.microsoft.com/office/drawing/2014/main" id="{6D908464-9C4A-4EB1-A853-5BAB9B9CB237}"/>
              </a:ext>
            </a:extLst>
          </p:cNvPr>
          <p:cNvSpPr>
            <a:spLocks noGrp="1"/>
          </p:cNvSpPr>
          <p:nvPr>
            <p:custDataLst>
              <p:tags r:id="rId6"/>
            </p:custDataLst>
          </p:nvPr>
        </p:nvSpPr>
        <p:spPr bwMode="auto">
          <a:xfrm>
            <a:off x="7727950" y="5457825"/>
            <a:ext cx="9144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BAF452F-D3E7-442F-8B8B-5BFB30E9B957}" type="datetime'放射''''''''''''''''''''''線''''''''療法''''士'''">
              <a:rPr lang="zh-TW" altLang="en-US" sz="1200" smtClean="0"/>
              <a:pPr/>
              <a:t>放射線療法士</a:t>
            </a:fld>
            <a:endParaRPr lang="ja-JP" altLang="en-US" sz="1200" dirty="0"/>
          </a:p>
        </p:txBody>
      </p:sp>
      <p:sp>
        <p:nvSpPr>
          <p:cNvPr id="33" name="テキスト プレースホルダ 9">
            <a:extLst>
              <a:ext uri="{FF2B5EF4-FFF2-40B4-BE49-F238E27FC236}">
                <a16:creationId xmlns:a16="http://schemas.microsoft.com/office/drawing/2014/main" id="{45938928-F2AD-4B43-A057-D5D918E08D59}"/>
              </a:ext>
            </a:extLst>
          </p:cNvPr>
          <p:cNvSpPr>
            <a:spLocks noGrp="1"/>
          </p:cNvSpPr>
          <p:nvPr>
            <p:custDataLst>
              <p:tags r:id="rId7"/>
            </p:custDataLst>
          </p:nvPr>
        </p:nvSpPr>
        <p:spPr bwMode="auto">
          <a:xfrm>
            <a:off x="7727950" y="3467100"/>
            <a:ext cx="762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7B60A67-D331-417B-859E-13222E63B0C5}" type="datetime'''''''''''''''''''''理''''''''''学療''''''法''士'''''''''''">
              <a:rPr lang="ja-JP" altLang="en-US" sz="1200" smtClean="0"/>
              <a:pPr/>
              <a:t>理学療法士</a:t>
            </a:fld>
            <a:endParaRPr lang="ja-JP" altLang="en-US" sz="1200" dirty="0"/>
          </a:p>
        </p:txBody>
      </p:sp>
      <p:sp>
        <p:nvSpPr>
          <p:cNvPr id="31" name="テキスト プレースホルダ 9">
            <a:extLst>
              <a:ext uri="{FF2B5EF4-FFF2-40B4-BE49-F238E27FC236}">
                <a16:creationId xmlns:a16="http://schemas.microsoft.com/office/drawing/2014/main" id="{6C9B2B5E-C87F-4984-B71E-B2A6D18A8435}"/>
              </a:ext>
            </a:extLst>
          </p:cNvPr>
          <p:cNvSpPr>
            <a:spLocks noGrp="1"/>
          </p:cNvSpPr>
          <p:nvPr>
            <p:custDataLst>
              <p:tags r:id="rId8"/>
            </p:custDataLst>
          </p:nvPr>
        </p:nvSpPr>
        <p:spPr bwMode="auto">
          <a:xfrm>
            <a:off x="7727950" y="4340225"/>
            <a:ext cx="762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D36F9F9-B11B-41E7-8020-57B4B0B85E3B}" type="datetime'''''''''作''''''''''''''''業療''''''''法''士'''''''''''">
              <a:rPr lang="ja-JP" altLang="en-US" sz="1200" smtClean="0"/>
              <a:pPr/>
              <a:t>作業療法士</a:t>
            </a:fld>
            <a:endParaRPr lang="ja-JP" altLang="en-US" sz="1200" dirty="0"/>
          </a:p>
        </p:txBody>
      </p:sp>
      <p:sp>
        <p:nvSpPr>
          <p:cNvPr id="35" name="テキスト プレースホルダ 9">
            <a:extLst>
              <a:ext uri="{FF2B5EF4-FFF2-40B4-BE49-F238E27FC236}">
                <a16:creationId xmlns:a16="http://schemas.microsoft.com/office/drawing/2014/main" id="{40D2FACD-6644-4D2F-9178-10B8178F6401}"/>
              </a:ext>
            </a:extLst>
          </p:cNvPr>
          <p:cNvSpPr>
            <a:spLocks noGrp="1"/>
          </p:cNvSpPr>
          <p:nvPr>
            <p:custDataLst>
              <p:tags r:id="rId9"/>
            </p:custDataLst>
          </p:nvPr>
        </p:nvSpPr>
        <p:spPr bwMode="auto">
          <a:xfrm>
            <a:off x="7727950" y="4919663"/>
            <a:ext cx="762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BA0A216-0FB1-48DB-99F7-BAC61BD6924F}" type="datetime'言''''語療''''''''''''''''''''''''法士'">
              <a:rPr lang="ja-JP" altLang="en-US" sz="1200" smtClean="0"/>
              <a:pPr/>
              <a:t>言語療法士</a:t>
            </a:fld>
            <a:endParaRPr lang="ja-JP" altLang="en-US" sz="1200" dirty="0"/>
          </a:p>
        </p:txBody>
      </p:sp>
      <p:sp useBgFill="1">
        <p:nvSpPr>
          <p:cNvPr id="49" name="テキスト プレースホルダ 9">
            <a:extLst>
              <a:ext uri="{FF2B5EF4-FFF2-40B4-BE49-F238E27FC236}">
                <a16:creationId xmlns:a16="http://schemas.microsoft.com/office/drawing/2014/main" id="{C60CC581-5614-41F5-A7E9-3A86C7EB9DDC}"/>
              </a:ext>
            </a:extLst>
          </p:cNvPr>
          <p:cNvSpPr>
            <a:spLocks noGrp="1"/>
          </p:cNvSpPr>
          <p:nvPr>
            <p:custDataLst>
              <p:tags r:id="rId10"/>
            </p:custDataLst>
          </p:nvPr>
        </p:nvSpPr>
        <p:spPr bwMode="gray">
          <a:xfrm>
            <a:off x="2073275" y="4105275"/>
            <a:ext cx="423863" cy="182563"/>
          </a:xfrm>
          <a:prstGeom prst="rect">
            <a:avLst/>
          </a:prstGeom>
          <a:ln>
            <a:noFill/>
          </a:ln>
          <a:effectLst/>
        </p:spPr>
        <p:txBody>
          <a:bodyPr vert="horz" wrap="none" lIns="22225" tIns="0" rIns="2222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4BF72D7-56F5-4BC6-A4E1-24ED543D6EAA}" type="datetime'''1'''''''''''''''''''''',6''''2''''''''6'">
              <a:rPr lang="en-US" altLang="en-US" sz="1200" smtClean="0">
                <a:effectLst/>
              </a:rPr>
              <a:pPr marL="0" indent="0">
                <a:spcBef>
                  <a:spcPct val="0"/>
                </a:spcBef>
                <a:buNone/>
              </a:pPr>
              <a:t>1,626</a:t>
            </a:fld>
            <a:endParaRPr lang="ja-JP" altLang="en-US" sz="1200" dirty="0"/>
          </a:p>
        </p:txBody>
      </p:sp>
      <p:sp useBgFill="1">
        <p:nvSpPr>
          <p:cNvPr id="52" name="テキスト プレースホルダ 9">
            <a:extLst>
              <a:ext uri="{FF2B5EF4-FFF2-40B4-BE49-F238E27FC236}">
                <a16:creationId xmlns:a16="http://schemas.microsoft.com/office/drawing/2014/main" id="{D1AE01E9-0078-4EF1-BCB3-123C61D13DF8}"/>
              </a:ext>
            </a:extLst>
          </p:cNvPr>
          <p:cNvSpPr>
            <a:spLocks noGrp="1"/>
          </p:cNvSpPr>
          <p:nvPr>
            <p:custDataLst>
              <p:tags r:id="rId11"/>
            </p:custDataLst>
          </p:nvPr>
        </p:nvSpPr>
        <p:spPr bwMode="gray">
          <a:xfrm>
            <a:off x="5821363" y="3781425"/>
            <a:ext cx="423863" cy="182563"/>
          </a:xfrm>
          <a:prstGeom prst="rect">
            <a:avLst/>
          </a:prstGeom>
          <a:ln>
            <a:noFill/>
          </a:ln>
          <a:effectLst/>
        </p:spPr>
        <p:txBody>
          <a:bodyPr vert="horz" wrap="none" lIns="22225" tIns="0" rIns="2222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222659E-235A-472B-9FB7-240B5F443281}" type="datetime'1,''''''''''''''''96''''''''''''3'">
              <a:rPr lang="en-US" altLang="en-US" sz="1200" smtClean="0">
                <a:effectLst/>
              </a:rPr>
              <a:pPr marL="0" indent="0" algn="ctr">
                <a:spcBef>
                  <a:spcPct val="0"/>
                </a:spcBef>
                <a:buNone/>
              </a:pPr>
              <a:t>1,963</a:t>
            </a:fld>
            <a:endParaRPr lang="ja-JP" altLang="en-US" sz="1200" dirty="0"/>
          </a:p>
        </p:txBody>
      </p:sp>
      <p:sp useBgFill="1">
        <p:nvSpPr>
          <p:cNvPr id="53" name="テキスト プレースホルダ 9">
            <a:extLst>
              <a:ext uri="{FF2B5EF4-FFF2-40B4-BE49-F238E27FC236}">
                <a16:creationId xmlns:a16="http://schemas.microsoft.com/office/drawing/2014/main" id="{4630559A-B278-46A9-9271-B0534DD6C035}"/>
              </a:ext>
            </a:extLst>
          </p:cNvPr>
          <p:cNvSpPr>
            <a:spLocks noGrp="1"/>
          </p:cNvSpPr>
          <p:nvPr>
            <p:custDataLst>
              <p:tags r:id="rId12"/>
            </p:custDataLst>
          </p:nvPr>
        </p:nvSpPr>
        <p:spPr bwMode="gray">
          <a:xfrm>
            <a:off x="7161213" y="3670300"/>
            <a:ext cx="423863" cy="182563"/>
          </a:xfrm>
          <a:prstGeom prst="rect">
            <a:avLst/>
          </a:prstGeom>
          <a:ln>
            <a:noFill/>
          </a:ln>
          <a:effectLst/>
        </p:spPr>
        <p:txBody>
          <a:bodyPr vert="horz" wrap="none" lIns="22225" tIns="0" rIns="2222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D65287C-78B1-4071-A902-76B418E43643}" type="datetime'''2'''''''''',''''''''''''''''''''''''''''''''08''0'''">
              <a:rPr lang="en-US" altLang="en-US" sz="1200" smtClean="0">
                <a:effectLst/>
              </a:rPr>
              <a:pPr marL="0" indent="0" algn="ctr">
                <a:spcBef>
                  <a:spcPct val="0"/>
                </a:spcBef>
                <a:buNone/>
              </a:pPr>
              <a:t>2,080</a:t>
            </a:fld>
            <a:endParaRPr lang="ja-JP" altLang="en-US" sz="1200" dirty="0"/>
          </a:p>
        </p:txBody>
      </p:sp>
      <p:sp>
        <p:nvSpPr>
          <p:cNvPr id="99" name="テキスト ボックス 45">
            <a:extLst>
              <a:ext uri="{FF2B5EF4-FFF2-40B4-BE49-F238E27FC236}">
                <a16:creationId xmlns:a16="http://schemas.microsoft.com/office/drawing/2014/main" id="{687C706F-1F16-4A2F-92DA-7C2746CE4A0A}"/>
              </a:ext>
            </a:extLst>
          </p:cNvPr>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zh-TW" sz="800" dirty="0" bmk="">
                <a:hlinkClick r:id="rId17"/>
              </a:rPr>
              <a:t>https://www.healthprofessionals.gov.sg/docs/librariesprovider5/announcements/2021_ahpc-annual-report_final.pdf</a:t>
            </a:r>
            <a:r>
              <a:rPr kumimoji="0" lang="en-US" altLang="zh-TW" sz="800" dirty="0" bmk=""/>
              <a:t>,</a:t>
            </a:r>
            <a:r>
              <a:rPr kumimoji="0" lang="ja-JP" altLang="en-US" sz="800" dirty="0" bmk=""/>
              <a:t> </a:t>
            </a:r>
            <a:r>
              <a:rPr kumimoji="0" lang="en-US" altLang="ja-JP" sz="800" dirty="0" bmk=""/>
              <a:t>WHO</a:t>
            </a:r>
            <a:r>
              <a:rPr kumimoji="0" lang="ja-JP" altLang="en-US" sz="800" dirty="0" bmk=""/>
              <a:t> </a:t>
            </a:r>
            <a:endParaRPr kumimoji="0" lang="en-US" altLang="zh-TW" sz="800" dirty="0" bmk=""/>
          </a:p>
          <a:p>
            <a:pPr>
              <a:tabLst>
                <a:tab pos="361950" algn="l"/>
              </a:tabLst>
            </a:pP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3" name="グループ化 7">
            <a:extLst>
              <a:ext uri="{FF2B5EF4-FFF2-40B4-BE49-F238E27FC236}">
                <a16:creationId xmlns:a16="http://schemas.microsoft.com/office/drawing/2014/main" id="{003E9C3D-2AE9-4038-A94B-B5054CF223D9}"/>
              </a:ext>
            </a:extLst>
          </p:cNvPr>
          <p:cNvGrpSpPr/>
          <p:nvPr/>
        </p:nvGrpSpPr>
        <p:grpSpPr>
          <a:xfrm>
            <a:off x="1424608" y="2633676"/>
            <a:ext cx="4536507" cy="288032"/>
            <a:chOff x="4803500" y="2113806"/>
            <a:chExt cx="2954133" cy="288032"/>
          </a:xfrm>
        </p:grpSpPr>
        <p:cxnSp>
          <p:nvCxnSpPr>
            <p:cNvPr id="104" name="直線コネクタ 40">
              <a:extLst>
                <a:ext uri="{FF2B5EF4-FFF2-40B4-BE49-F238E27FC236}">
                  <a16:creationId xmlns:a16="http://schemas.microsoft.com/office/drawing/2014/main" id="{F0B221FF-257A-42EC-8CAF-55751534A1B0}"/>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5" name="Rectangle 6">
              <a:extLst>
                <a:ext uri="{FF2B5EF4-FFF2-40B4-BE49-F238E27FC236}">
                  <a16:creationId xmlns:a16="http://schemas.microsoft.com/office/drawing/2014/main" id="{AEC425CC-402F-4DCC-A35C-61C74353C594}"/>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25439892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52D1AD4-7445-463B-BE51-C74C6954E5F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52D1AD4-7445-463B-BE51-C74C6954E5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制度</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公的保険制度</a:t>
            </a:r>
          </a:p>
        </p:txBody>
      </p:sp>
      <p:sp>
        <p:nvSpPr>
          <p:cNvPr id="15" name="テキスト ボックス 14"/>
          <p:cNvSpPr txBox="1"/>
          <p:nvPr/>
        </p:nvSpPr>
        <p:spPr>
          <a:xfrm>
            <a:off x="200472" y="1124744"/>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では、強制加入の総合的な社会保障貯蓄制度である中央積立基金（</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PF)</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一つとして、全国民が医療口座（</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MediSav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持つことが義務付け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MediSav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賄えない高額な治療費に対応するため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ediShiel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Lif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および低所得者向けのセーフティネットとしての</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MediFun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含め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M</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三段構えとなっている。</a:t>
            </a:r>
          </a:p>
        </p:txBody>
      </p:sp>
      <p:sp>
        <p:nvSpPr>
          <p:cNvPr id="21" name="テキスト ボックス 20"/>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シンガポール保健省ホームページ</a:t>
            </a:r>
          </a:p>
        </p:txBody>
      </p:sp>
      <p:graphicFrame>
        <p:nvGraphicFramePr>
          <p:cNvPr id="12" name="表 8">
            <a:extLst>
              <a:ext uri="{FF2B5EF4-FFF2-40B4-BE49-F238E27FC236}">
                <a16:creationId xmlns:a16="http://schemas.microsoft.com/office/drawing/2014/main" id="{6533F4E0-840A-418D-99FC-330AECD058B0}"/>
              </a:ext>
            </a:extLst>
          </p:cNvPr>
          <p:cNvGraphicFramePr>
            <a:graphicFrameLocks noGrp="1"/>
          </p:cNvGraphicFramePr>
          <p:nvPr>
            <p:extLst>
              <p:ext uri="{D42A27DB-BD31-4B8C-83A1-F6EECF244321}">
                <p14:modId xmlns:p14="http://schemas.microsoft.com/office/powerpoint/2010/main" val="3049696866"/>
              </p:ext>
            </p:extLst>
          </p:nvPr>
        </p:nvGraphicFramePr>
        <p:xfrm>
          <a:off x="200025" y="2708920"/>
          <a:ext cx="9577517" cy="3384288"/>
        </p:xfrm>
        <a:graphic>
          <a:graphicData uri="http://schemas.openxmlformats.org/drawingml/2006/table">
            <a:tbl>
              <a:tblPr firstRow="1" bandRow="1">
                <a:tableStyleId>{5C22544A-7EE6-4342-B048-85BDC9FD1C3A}</a:tableStyleId>
              </a:tblPr>
              <a:tblGrid>
                <a:gridCol w="930281">
                  <a:extLst>
                    <a:ext uri="{9D8B030D-6E8A-4147-A177-3AD203B41FA5}">
                      <a16:colId xmlns:a16="http://schemas.microsoft.com/office/drawing/2014/main" val="20000"/>
                    </a:ext>
                  </a:extLst>
                </a:gridCol>
                <a:gridCol w="2232248">
                  <a:extLst>
                    <a:ext uri="{9D8B030D-6E8A-4147-A177-3AD203B41FA5}">
                      <a16:colId xmlns:a16="http://schemas.microsoft.com/office/drawing/2014/main" val="20001"/>
                    </a:ext>
                  </a:extLst>
                </a:gridCol>
                <a:gridCol w="654342">
                  <a:extLst>
                    <a:ext uri="{9D8B030D-6E8A-4147-A177-3AD203B41FA5}">
                      <a16:colId xmlns:a16="http://schemas.microsoft.com/office/drawing/2014/main" val="20002"/>
                    </a:ext>
                  </a:extLst>
                </a:gridCol>
                <a:gridCol w="1944216">
                  <a:extLst>
                    <a:ext uri="{9D8B030D-6E8A-4147-A177-3AD203B41FA5}">
                      <a16:colId xmlns:a16="http://schemas.microsoft.com/office/drawing/2014/main" val="20003"/>
                    </a:ext>
                  </a:extLst>
                </a:gridCol>
                <a:gridCol w="3816430">
                  <a:extLst>
                    <a:ext uri="{9D8B030D-6E8A-4147-A177-3AD203B41FA5}">
                      <a16:colId xmlns:a16="http://schemas.microsoft.com/office/drawing/2014/main" val="20004"/>
                    </a:ext>
                  </a:extLst>
                </a:gridCol>
              </a:tblGrid>
              <a:tr h="216024">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経済特別奨励区の種類</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対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財源</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適用条件</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15745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0" dirty="0" err="1">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MediSave</a:t>
                      </a:r>
                      <a:endParaRPr kumimoji="1" lang="ja-JP" altLang="en-US" sz="11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PF</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医療口座に積み立てられた貯蓄</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すべての国民と永住者が強制加入</a:t>
                      </a:r>
                    </a:p>
                  </a:txBody>
                  <a:tcPr marL="36000" marR="36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給与額の一定割合を使用者および被用者それぞれが拠出して積み立てる。</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自身とその家族の入院費用や慢性疾患の治療、予防接種、出産費用の一部に充てることができる。高額医療費をカバーするためのもので、風邪などの一般外来診療や外来処方については原則として適用されず、全額自己負担となる</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008112">
                <a:tc>
                  <a:txBody>
                    <a:bodyPr/>
                    <a:lstStyle/>
                    <a:p>
                      <a:pPr algn="ctr" fontAlgn="ctr"/>
                      <a:r>
                        <a:rPr kumimoji="1" lang="en-US" altLang="ja-JP" sz="11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MediShield Life</a:t>
                      </a:r>
                      <a:endParaRPr kumimoji="1" lang="ja-JP" altLang="en-US" sz="11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diShield</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拡充する形で導入された医療保険。</a:t>
                      </a:r>
                      <a:r>
                        <a:rPr kumimoji="1" lang="en-US" altLang="ja-JP" sz="11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ediSave</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加入者は自動的に加入することとなっ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ディセーブ加入者</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1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ediSave</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積立金から保険料を支払う</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入院費用や人工透析など、主に高額な医療費を終身保障する。保険給付には入院する病室のタイプ（</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CU</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か普通病室か）や医療の内容などに応じて上限額が定められているが、永住者や私立病院を利用した場合などは、支給額はさらに割り引かれる</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792000">
                <a:tc>
                  <a:txBody>
                    <a:bodyPr/>
                    <a:lstStyle/>
                    <a:p>
                      <a:pPr algn="ctr" fontAlgn="ctr"/>
                      <a:r>
                        <a:rPr kumimoji="1" lang="en-US" altLang="ja-JP" sz="1100" b="0" dirty="0" err="1">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MediFund</a:t>
                      </a:r>
                      <a:endParaRPr kumimoji="1" lang="ja-JP" altLang="en-US" sz="1100" b="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11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ediSave</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や</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diShield Life</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使っても医療費の支払いができない場合のセーフティネット。</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低所得者層</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政府によって設立された基金によって賄われている</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入院費用に充てる場合、エアコン付きのクラス</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1</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病室ではカバーされない。</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以上の政府補助金が適用されているクラス</a:t>
                      </a:r>
                      <a:r>
                        <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2/C</a:t>
                      </a:r>
                      <a:r>
                        <a:rPr kumimoji="1" lang="ja-JP" altLang="en-US"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病室を利用する場合に適用される</a:t>
                      </a:r>
                      <a:endParaRPr kumimoji="1" lang="en-US" altLang="ja-JP" sz="11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85070645"/>
                  </a:ext>
                </a:extLst>
              </a:tr>
            </a:tbl>
          </a:graphicData>
        </a:graphic>
      </p:graphicFrame>
      <p:sp>
        <p:nvSpPr>
          <p:cNvPr id="16" name="TextBox 15">
            <a:extLst>
              <a:ext uri="{FF2B5EF4-FFF2-40B4-BE49-F238E27FC236}">
                <a16:creationId xmlns:a16="http://schemas.microsoft.com/office/drawing/2014/main" id="{D7927BBB-2939-4C1E-9E94-4016E2ADF7C3}"/>
              </a:ext>
            </a:extLst>
          </p:cNvPr>
          <p:cNvSpPr txBox="1"/>
          <p:nvPr/>
        </p:nvSpPr>
        <p:spPr>
          <a:xfrm>
            <a:off x="560512" y="7175052"/>
            <a:ext cx="4953434" cy="215444"/>
          </a:xfrm>
          <a:prstGeom prst="rect">
            <a:avLst/>
          </a:prstGeom>
          <a:noFill/>
        </p:spPr>
        <p:txBody>
          <a:bodyPr wrap="square">
            <a:spAutoFit/>
          </a:bodyPr>
          <a:lstStyle/>
          <a:p>
            <a:r>
              <a:rPr lang="en-CA" sz="800" dirty="0"/>
              <a:t>https://www.kenporen.com/include/outline/pdf_kaigai_iryo/201912_no124.pdf</a:t>
            </a:r>
          </a:p>
        </p:txBody>
      </p:sp>
      <p:sp>
        <p:nvSpPr>
          <p:cNvPr id="11" name="TextBox 10">
            <a:extLst>
              <a:ext uri="{FF2B5EF4-FFF2-40B4-BE49-F238E27FC236}">
                <a16:creationId xmlns:a16="http://schemas.microsoft.com/office/drawing/2014/main" id="{7FE99094-0992-4E79-84CC-9C29BCE5E97D}"/>
              </a:ext>
            </a:extLst>
          </p:cNvPr>
          <p:cNvSpPr txBox="1"/>
          <p:nvPr/>
        </p:nvSpPr>
        <p:spPr>
          <a:xfrm>
            <a:off x="416496" y="7462504"/>
            <a:ext cx="4953000" cy="215444"/>
          </a:xfrm>
          <a:prstGeom prst="rect">
            <a:avLst/>
          </a:prstGeom>
          <a:noFill/>
        </p:spPr>
        <p:txBody>
          <a:bodyPr wrap="square">
            <a:spAutoFit/>
          </a:bodyPr>
          <a:lstStyle/>
          <a:p>
            <a:r>
              <a:rPr lang="en-CA" sz="800" dirty="0"/>
              <a:t>https://www.moh.gov.sg/cost-financing/healthcare-schemes-subsidies</a:t>
            </a:r>
          </a:p>
        </p:txBody>
      </p:sp>
      <p:sp>
        <p:nvSpPr>
          <p:cNvPr id="10" name="テキスト ボックス 20">
            <a:extLst>
              <a:ext uri="{FF2B5EF4-FFF2-40B4-BE49-F238E27FC236}">
                <a16:creationId xmlns:a16="http://schemas.microsoft.com/office/drawing/2014/main" id="{918C6938-24F3-47CA-8AF3-44A95B5B8D54}"/>
              </a:ext>
            </a:extLst>
          </p:cNvPr>
          <p:cNvSpPr txBox="1"/>
          <p:nvPr/>
        </p:nvSpPr>
        <p:spPr>
          <a:xfrm>
            <a:off x="181832" y="7067040"/>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www.jetro.go.jp/ext_images/_Reports/02/2018/91a0338b87113e7c/hls-spr.pdf</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918333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27" imgW="395" imgH="396" progId="TCLayout.ActiveDocument.1">
                  <p:embed/>
                </p:oleObj>
              </mc:Choice>
              <mc:Fallback>
                <p:oleObj name="think-cell Slide" r:id="rId27"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graphicFrame>
        <p:nvGraphicFramePr>
          <p:cNvPr id="131" name="Chart 130">
            <a:extLst>
              <a:ext uri="{FF2B5EF4-FFF2-40B4-BE49-F238E27FC236}">
                <a16:creationId xmlns:a16="http://schemas.microsoft.com/office/drawing/2014/main" id="{0A231E27-3C00-41B4-94F9-DDAD0A6E5443}"/>
              </a:ext>
            </a:extLst>
          </p:cNvPr>
          <p:cNvGraphicFramePr/>
          <p:nvPr>
            <p:custDataLst>
              <p:tags r:id="rId3"/>
            </p:custDataLst>
          </p:nvPr>
        </p:nvGraphicFramePr>
        <p:xfrm>
          <a:off x="574675" y="3078163"/>
          <a:ext cx="8853488" cy="3170237"/>
        </p:xfrm>
        <a:graphic>
          <a:graphicData uri="http://schemas.openxmlformats.org/drawingml/2006/chart">
            <c:chart xmlns:c="http://schemas.openxmlformats.org/drawingml/2006/chart" xmlns:r="http://schemas.openxmlformats.org/officeDocument/2006/relationships" r:id="rId29"/>
          </a:graphicData>
        </a:graphic>
      </p:graphicFrame>
      <p:sp>
        <p:nvSpPr>
          <p:cNvPr id="25" name="テキスト プレースホルダ 9">
            <a:extLst>
              <a:ext uri="{FF2B5EF4-FFF2-40B4-BE49-F238E27FC236}">
                <a16:creationId xmlns:a16="http://schemas.microsoft.com/office/drawing/2014/main" id="{B693899E-C83A-4625-AC90-2C887E8F7C15}"/>
              </a:ext>
            </a:extLst>
          </p:cNvPr>
          <p:cNvSpPr>
            <a:spLocks noGrp="1"/>
          </p:cNvSpPr>
          <p:nvPr>
            <p:custDataLst>
              <p:tags r:id="rId4"/>
            </p:custDataLst>
          </p:nvPr>
        </p:nvSpPr>
        <p:spPr bwMode="auto">
          <a:xfrm>
            <a:off x="30495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07332-46CE-4AD4-AE64-0E595AC024F7}" type="datetime'''2''''''''''''''''''''0''''''''''''0''''6'''''''''''''">
              <a:rPr lang="en-US" altLang="en-US" sz="1200" smtClean="0"/>
              <a:pPr/>
              <a:t>2006</a:t>
            </a:fld>
            <a:endParaRPr lang="ja-JP" altLang="en-US" sz="1200" dirty="0"/>
          </a:p>
        </p:txBody>
      </p:sp>
      <p:sp>
        <p:nvSpPr>
          <p:cNvPr id="22" name="テキスト プレースホルダ 9">
            <a:extLst>
              <a:ext uri="{FF2B5EF4-FFF2-40B4-BE49-F238E27FC236}">
                <a16:creationId xmlns:a16="http://schemas.microsoft.com/office/drawing/2014/main" id="{0C43565D-9CA4-4F3F-9E60-4D3EFEE09553}"/>
              </a:ext>
            </a:extLst>
          </p:cNvPr>
          <p:cNvSpPr>
            <a:spLocks noGrp="1"/>
          </p:cNvSpPr>
          <p:nvPr>
            <p:custDataLst>
              <p:tags r:id="rId5"/>
            </p:custDataLst>
          </p:nvPr>
        </p:nvSpPr>
        <p:spPr bwMode="auto">
          <a:xfrm>
            <a:off x="18637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DB7048-9C94-4463-A1C1-43D56A5E93CD}" type="datetime'''''2''''''''''''''''''''0''''0''''''''''''''''''3'''''''">
              <a:rPr lang="en-US" altLang="en-US" sz="1200" smtClean="0"/>
              <a:pPr/>
              <a:t>2003</a:t>
            </a:fld>
            <a:endParaRPr lang="ja-JP" altLang="en-US" sz="1200" dirty="0"/>
          </a:p>
        </p:txBody>
      </p:sp>
      <p:sp>
        <p:nvSpPr>
          <p:cNvPr id="12" name="テキスト プレースホルダ 9">
            <a:extLst>
              <a:ext uri="{FF2B5EF4-FFF2-40B4-BE49-F238E27FC236}">
                <a16:creationId xmlns:a16="http://schemas.microsoft.com/office/drawing/2014/main" id="{45EA959A-2173-49C2-8266-92A5E79C11CF}"/>
              </a:ext>
            </a:extLst>
          </p:cNvPr>
          <p:cNvSpPr>
            <a:spLocks noGrp="1"/>
          </p:cNvSpPr>
          <p:nvPr>
            <p:custDataLst>
              <p:tags r:id="rId6"/>
            </p:custDataLst>
          </p:nvPr>
        </p:nvSpPr>
        <p:spPr bwMode="auto">
          <a:xfrm>
            <a:off x="6794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06B65-A36A-4787-AA35-8FA529B28076}" type="datetime'''''''''''2''''0''''''0''''''''''''''0'">
              <a:rPr lang="en-US" altLang="en-US" sz="1200" smtClean="0"/>
              <a:pPr/>
              <a:t>2000</a:t>
            </a:fld>
            <a:endParaRPr lang="ja-JP" altLang="en-US" sz="1200" dirty="0"/>
          </a:p>
        </p:txBody>
      </p:sp>
      <p:sp>
        <p:nvSpPr>
          <p:cNvPr id="26" name="テキスト プレースホルダ 9">
            <a:extLst>
              <a:ext uri="{FF2B5EF4-FFF2-40B4-BE49-F238E27FC236}">
                <a16:creationId xmlns:a16="http://schemas.microsoft.com/office/drawing/2014/main" id="{E5D8C5F7-75F4-4B23-8A80-9961DF65092D}"/>
              </a:ext>
            </a:extLst>
          </p:cNvPr>
          <p:cNvSpPr>
            <a:spLocks noGrp="1"/>
          </p:cNvSpPr>
          <p:nvPr>
            <p:custDataLst>
              <p:tags r:id="rId7"/>
            </p:custDataLst>
          </p:nvPr>
        </p:nvSpPr>
        <p:spPr bwMode="auto">
          <a:xfrm>
            <a:off x="34432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F04407-CFBF-4A3F-8CFB-138417EC79F9}" type="datetime'''20''''''''0''''''7'''''''''''''''''''''''''''''">
              <a:rPr lang="en-US" altLang="en-US" sz="1200" smtClean="0"/>
              <a:pPr/>
              <a:t>2007</a:t>
            </a:fld>
            <a:endParaRPr lang="ja-JP" altLang="en-US" sz="1200" dirty="0"/>
          </a:p>
        </p:txBody>
      </p:sp>
      <p:sp>
        <p:nvSpPr>
          <p:cNvPr id="39" name="テキスト プレースホルダ 9">
            <a:extLst>
              <a:ext uri="{FF2B5EF4-FFF2-40B4-BE49-F238E27FC236}">
                <a16:creationId xmlns:a16="http://schemas.microsoft.com/office/drawing/2014/main" id="{310A5C9E-37CB-45C7-8BCA-08AAFA5B4D5B}"/>
              </a:ext>
            </a:extLst>
          </p:cNvPr>
          <p:cNvSpPr>
            <a:spLocks noGrp="1"/>
          </p:cNvSpPr>
          <p:nvPr>
            <p:custDataLst>
              <p:tags r:id="rId8"/>
            </p:custDataLst>
          </p:nvPr>
        </p:nvSpPr>
        <p:spPr bwMode="auto">
          <a:xfrm>
            <a:off x="85772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F84AC-87F6-4AFD-AD30-201589A8B138}" type="datetime'''''''''''2''0''''''2''''''''0'''''''''''''''''''">
              <a:rPr lang="en-US" altLang="en-US" sz="1200" smtClean="0"/>
              <a:pPr/>
              <a:t>2020</a:t>
            </a:fld>
            <a:endParaRPr lang="ja-JP" altLang="en-US" sz="1200" dirty="0"/>
          </a:p>
        </p:txBody>
      </p:sp>
      <p:sp>
        <p:nvSpPr>
          <p:cNvPr id="14" name="テキスト プレースホルダ 9">
            <a:extLst>
              <a:ext uri="{FF2B5EF4-FFF2-40B4-BE49-F238E27FC236}">
                <a16:creationId xmlns:a16="http://schemas.microsoft.com/office/drawing/2014/main" id="{527247A9-BC40-44C2-97E3-B07A83F61233}"/>
              </a:ext>
            </a:extLst>
          </p:cNvPr>
          <p:cNvSpPr>
            <a:spLocks noGrp="1"/>
          </p:cNvSpPr>
          <p:nvPr>
            <p:custDataLst>
              <p:tags r:id="rId9"/>
            </p:custDataLst>
          </p:nvPr>
        </p:nvSpPr>
        <p:spPr bwMode="auto">
          <a:xfrm>
            <a:off x="14700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462A1-66C9-44BD-866F-52EE8EE53155}" type="datetime'2''''0''''''''0''''''''''''''''''''''''''''''''''''''''2'">
              <a:rPr lang="en-US" altLang="en-US" sz="1200" smtClean="0"/>
              <a:pPr/>
              <a:t>2002</a:t>
            </a:fld>
            <a:endParaRPr lang="ja-JP" altLang="en-US" sz="1200" dirty="0"/>
          </a:p>
        </p:txBody>
      </p:sp>
      <p:sp>
        <p:nvSpPr>
          <p:cNvPr id="13" name="テキスト プレースホルダ 9">
            <a:extLst>
              <a:ext uri="{FF2B5EF4-FFF2-40B4-BE49-F238E27FC236}">
                <a16:creationId xmlns:a16="http://schemas.microsoft.com/office/drawing/2014/main" id="{CC047AC0-E8E4-46B3-853B-F682DF448FFC}"/>
              </a:ext>
            </a:extLst>
          </p:cNvPr>
          <p:cNvSpPr>
            <a:spLocks noGrp="1"/>
          </p:cNvSpPr>
          <p:nvPr>
            <p:custDataLst>
              <p:tags r:id="rId10"/>
            </p:custDataLst>
          </p:nvPr>
        </p:nvSpPr>
        <p:spPr bwMode="auto">
          <a:xfrm>
            <a:off x="10747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27678-199B-4B70-B811-875500C6D97D}" type="datetime'20''0''''''''''''''''1'''''''''''''''">
              <a:rPr lang="en-US" altLang="en-US" sz="1200" smtClean="0"/>
              <a:pPr/>
              <a:t>2001</a:t>
            </a:fld>
            <a:endParaRPr lang="ja-JP" altLang="en-US" sz="1200" dirty="0"/>
          </a:p>
        </p:txBody>
      </p:sp>
      <p:sp>
        <p:nvSpPr>
          <p:cNvPr id="34" name="テキスト プレースホルダ 9">
            <a:extLst>
              <a:ext uri="{FF2B5EF4-FFF2-40B4-BE49-F238E27FC236}">
                <a16:creationId xmlns:a16="http://schemas.microsoft.com/office/drawing/2014/main" id="{70ACEC9E-1F35-452F-AAEF-76CDEDBA49BD}"/>
              </a:ext>
            </a:extLst>
          </p:cNvPr>
          <p:cNvSpPr>
            <a:spLocks noGrp="1"/>
          </p:cNvSpPr>
          <p:nvPr>
            <p:custDataLst>
              <p:tags r:id="rId11"/>
            </p:custDataLst>
          </p:nvPr>
        </p:nvSpPr>
        <p:spPr bwMode="auto">
          <a:xfrm>
            <a:off x="66040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98EEAA-399E-42E5-86FE-53E53DE0FB33}" type="datetime'''''''''''20''''''''''''''''1''''''''''''''''''''''''''''5'">
              <a:rPr lang="en-US" altLang="en-US" sz="1200" smtClean="0"/>
              <a:pPr/>
              <a:t>2015</a:t>
            </a:fld>
            <a:endParaRPr lang="ja-JP" altLang="en-US" sz="1200" dirty="0"/>
          </a:p>
        </p:txBody>
      </p:sp>
      <p:sp>
        <p:nvSpPr>
          <p:cNvPr id="23" name="テキスト プレースホルダ 9">
            <a:extLst>
              <a:ext uri="{FF2B5EF4-FFF2-40B4-BE49-F238E27FC236}">
                <a16:creationId xmlns:a16="http://schemas.microsoft.com/office/drawing/2014/main" id="{63D4EB95-1A00-4A3C-A1C4-9BAB7F5DD42F}"/>
              </a:ext>
            </a:extLst>
          </p:cNvPr>
          <p:cNvSpPr>
            <a:spLocks noGrp="1"/>
          </p:cNvSpPr>
          <p:nvPr>
            <p:custDataLst>
              <p:tags r:id="rId12"/>
            </p:custDataLst>
          </p:nvPr>
        </p:nvSpPr>
        <p:spPr bwMode="auto">
          <a:xfrm>
            <a:off x="22590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F1D70-84F1-49E5-9F94-FCE2872A6FC4}" type="datetime'''''''''''''''''''2''''''''''''''''''''''0''0''''4'''''''''">
              <a:rPr lang="en-US" altLang="en-US" sz="1200" smtClean="0"/>
              <a:pPr/>
              <a:t>2004</a:t>
            </a:fld>
            <a:endParaRPr lang="ja-JP" altLang="en-US" sz="1200" dirty="0"/>
          </a:p>
        </p:txBody>
      </p:sp>
      <p:sp>
        <p:nvSpPr>
          <p:cNvPr id="24" name="テキスト プレースホルダ 9">
            <a:extLst>
              <a:ext uri="{FF2B5EF4-FFF2-40B4-BE49-F238E27FC236}">
                <a16:creationId xmlns:a16="http://schemas.microsoft.com/office/drawing/2014/main" id="{0A997B44-F1B4-49CB-9124-1F712F00C83E}"/>
              </a:ext>
            </a:extLst>
          </p:cNvPr>
          <p:cNvSpPr>
            <a:spLocks noGrp="1"/>
          </p:cNvSpPr>
          <p:nvPr>
            <p:custDataLst>
              <p:tags r:id="rId13"/>
            </p:custDataLst>
          </p:nvPr>
        </p:nvSpPr>
        <p:spPr bwMode="auto">
          <a:xfrm>
            <a:off x="26543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1DA5E3-557E-41B0-BAAB-8165B3F95252}" type="datetime'2''''''''0''0''''''''''''''''''''''''''''''5'''''''''''">
              <a:rPr lang="en-US" altLang="en-US" sz="1200" smtClean="0"/>
              <a:pPr/>
              <a:t>2005</a:t>
            </a:fld>
            <a:endParaRPr lang="ja-JP" altLang="en-US" sz="1200" dirty="0"/>
          </a:p>
        </p:txBody>
      </p:sp>
      <p:sp>
        <p:nvSpPr>
          <p:cNvPr id="27" name="テキスト プレースホルダ 9">
            <a:extLst>
              <a:ext uri="{FF2B5EF4-FFF2-40B4-BE49-F238E27FC236}">
                <a16:creationId xmlns:a16="http://schemas.microsoft.com/office/drawing/2014/main" id="{A9805F42-E971-46FD-8F65-BA55A320D51D}"/>
              </a:ext>
            </a:extLst>
          </p:cNvPr>
          <p:cNvSpPr>
            <a:spLocks noGrp="1"/>
          </p:cNvSpPr>
          <p:nvPr>
            <p:custDataLst>
              <p:tags r:id="rId14"/>
            </p:custDataLst>
          </p:nvPr>
        </p:nvSpPr>
        <p:spPr bwMode="auto">
          <a:xfrm>
            <a:off x="38385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CC575-FCC0-4FE5-BEC5-81D10549147C}" type="datetime'''''''''''''''''''''2''''''''''''0''08'''''">
              <a:rPr lang="en-US" altLang="en-US" sz="1200" smtClean="0"/>
              <a:pPr/>
              <a:t>2008</a:t>
            </a:fld>
            <a:endParaRPr lang="ja-JP" altLang="en-US" sz="1200" dirty="0"/>
          </a:p>
        </p:txBody>
      </p:sp>
      <p:sp>
        <p:nvSpPr>
          <p:cNvPr id="28" name="テキスト プレースホルダ 9">
            <a:extLst>
              <a:ext uri="{FF2B5EF4-FFF2-40B4-BE49-F238E27FC236}">
                <a16:creationId xmlns:a16="http://schemas.microsoft.com/office/drawing/2014/main" id="{2C261A06-8E72-4995-A4E1-D61C878B1C84}"/>
              </a:ext>
            </a:extLst>
          </p:cNvPr>
          <p:cNvSpPr>
            <a:spLocks noGrp="1"/>
          </p:cNvSpPr>
          <p:nvPr>
            <p:custDataLst>
              <p:tags r:id="rId15"/>
            </p:custDataLst>
          </p:nvPr>
        </p:nvSpPr>
        <p:spPr bwMode="auto">
          <a:xfrm>
            <a:off x="42338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CA7E8-F122-47C1-8F5F-4FB24BFEEC81}" type="datetime'''''''''''''''''''''''''2''0''''''''''''''''''''0''''9'''''''">
              <a:rPr lang="en-US" altLang="en-US" sz="1200" smtClean="0"/>
              <a:pPr/>
              <a:t>2009</a:t>
            </a:fld>
            <a:endParaRPr lang="ja-JP" altLang="en-US" sz="1200" dirty="0"/>
          </a:p>
        </p:txBody>
      </p:sp>
      <p:sp>
        <p:nvSpPr>
          <p:cNvPr id="36" name="テキスト プレースホルダ 9">
            <a:extLst>
              <a:ext uri="{FF2B5EF4-FFF2-40B4-BE49-F238E27FC236}">
                <a16:creationId xmlns:a16="http://schemas.microsoft.com/office/drawing/2014/main" id="{EC0C92BD-A36C-42BF-8A81-BA7DDA7F988A}"/>
              </a:ext>
            </a:extLst>
          </p:cNvPr>
          <p:cNvSpPr>
            <a:spLocks noGrp="1"/>
          </p:cNvSpPr>
          <p:nvPr>
            <p:custDataLst>
              <p:tags r:id="rId16"/>
            </p:custDataLst>
          </p:nvPr>
        </p:nvSpPr>
        <p:spPr bwMode="auto">
          <a:xfrm>
            <a:off x="73929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A1783-0BD7-4714-8931-2C75824EF631}" type="datetime'''''''2''''''''''''''''''''''0''''''''''1''7'''''''">
              <a:rPr lang="en-US" altLang="en-US" sz="1200" smtClean="0"/>
              <a:pPr/>
              <a:t>2017</a:t>
            </a:fld>
            <a:endParaRPr lang="ja-JP" altLang="en-US" sz="1200" dirty="0"/>
          </a:p>
        </p:txBody>
      </p:sp>
      <p:sp>
        <p:nvSpPr>
          <p:cNvPr id="29" name="テキスト プレースホルダ 9">
            <a:extLst>
              <a:ext uri="{FF2B5EF4-FFF2-40B4-BE49-F238E27FC236}">
                <a16:creationId xmlns:a16="http://schemas.microsoft.com/office/drawing/2014/main" id="{B112F699-A6AB-4366-90C4-CC0F5993B84F}"/>
              </a:ext>
            </a:extLst>
          </p:cNvPr>
          <p:cNvSpPr>
            <a:spLocks noGrp="1"/>
          </p:cNvSpPr>
          <p:nvPr>
            <p:custDataLst>
              <p:tags r:id="rId17"/>
            </p:custDataLst>
          </p:nvPr>
        </p:nvSpPr>
        <p:spPr bwMode="auto">
          <a:xfrm>
            <a:off x="46291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F79CA7-55DD-4CFF-8BF5-508748F97100}" type="datetime'''''2''''''''''0''''''''''1''''0'''''''''''">
              <a:rPr lang="en-US" altLang="en-US" sz="1200" smtClean="0"/>
              <a:pPr/>
              <a:t>2010</a:t>
            </a:fld>
            <a:endParaRPr lang="ja-JP" altLang="en-US" sz="1200" dirty="0"/>
          </a:p>
        </p:txBody>
      </p:sp>
      <p:sp>
        <p:nvSpPr>
          <p:cNvPr id="30" name="テキスト プレースホルダ 9">
            <a:extLst>
              <a:ext uri="{FF2B5EF4-FFF2-40B4-BE49-F238E27FC236}">
                <a16:creationId xmlns:a16="http://schemas.microsoft.com/office/drawing/2014/main" id="{FDADB845-3788-4621-9304-AE023D2E0175}"/>
              </a:ext>
            </a:extLst>
          </p:cNvPr>
          <p:cNvSpPr>
            <a:spLocks noGrp="1"/>
          </p:cNvSpPr>
          <p:nvPr>
            <p:custDataLst>
              <p:tags r:id="rId18"/>
            </p:custDataLst>
          </p:nvPr>
        </p:nvSpPr>
        <p:spPr bwMode="auto">
          <a:xfrm>
            <a:off x="5030788" y="621665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6FD44-1CA4-4056-9951-44FD1CB4115B}" type="datetime'''''''''''''''''''''''''201''''''''''''''''''1'''''''''">
              <a:rPr lang="en-US" altLang="en-US" sz="1200" smtClean="0"/>
              <a:pPr/>
              <a:t>2011</a:t>
            </a:fld>
            <a:endParaRPr lang="ja-JP" altLang="en-US" sz="1200" dirty="0"/>
          </a:p>
        </p:txBody>
      </p:sp>
      <p:sp>
        <p:nvSpPr>
          <p:cNvPr id="31" name="テキスト プレースホルダ 9">
            <a:extLst>
              <a:ext uri="{FF2B5EF4-FFF2-40B4-BE49-F238E27FC236}">
                <a16:creationId xmlns:a16="http://schemas.microsoft.com/office/drawing/2014/main" id="{FC3AD2AE-2910-436E-869F-FD52D49D3193}"/>
              </a:ext>
            </a:extLst>
          </p:cNvPr>
          <p:cNvSpPr>
            <a:spLocks noGrp="1"/>
          </p:cNvSpPr>
          <p:nvPr>
            <p:custDataLst>
              <p:tags r:id="rId19"/>
            </p:custDataLst>
          </p:nvPr>
        </p:nvSpPr>
        <p:spPr bwMode="auto">
          <a:xfrm>
            <a:off x="54181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1AF30-CE87-4869-A640-6C19C8E16C24}" type="datetime'''''''''''''''''''''''20''''''''''''''''''1''2'''''''''''">
              <a:rPr lang="en-US" altLang="en-US" sz="1200" smtClean="0"/>
              <a:pPr/>
              <a:t>2012</a:t>
            </a:fld>
            <a:endParaRPr lang="ja-JP" altLang="en-US" sz="1200" dirty="0"/>
          </a:p>
        </p:txBody>
      </p:sp>
      <p:sp>
        <p:nvSpPr>
          <p:cNvPr id="32" name="テキスト プレースホルダ 9">
            <a:extLst>
              <a:ext uri="{FF2B5EF4-FFF2-40B4-BE49-F238E27FC236}">
                <a16:creationId xmlns:a16="http://schemas.microsoft.com/office/drawing/2014/main" id="{383B12AC-21F1-4757-AD56-7178C1516612}"/>
              </a:ext>
            </a:extLst>
          </p:cNvPr>
          <p:cNvSpPr>
            <a:spLocks noGrp="1"/>
          </p:cNvSpPr>
          <p:nvPr>
            <p:custDataLst>
              <p:tags r:id="rId20"/>
            </p:custDataLst>
          </p:nvPr>
        </p:nvSpPr>
        <p:spPr bwMode="auto">
          <a:xfrm>
            <a:off x="58134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2444ED-D65F-4347-849F-45CA1866A2BA}" type="datetime'''''''''''''2''''''''''''''''''''''0''''1''''''''''3'">
              <a:rPr lang="en-US" altLang="en-US" sz="1200" smtClean="0"/>
              <a:pPr/>
              <a:t>2013</a:t>
            </a:fld>
            <a:endParaRPr lang="ja-JP" altLang="en-US" sz="1200" dirty="0"/>
          </a:p>
        </p:txBody>
      </p:sp>
      <p:sp>
        <p:nvSpPr>
          <p:cNvPr id="33" name="テキスト プレースホルダ 9">
            <a:extLst>
              <a:ext uri="{FF2B5EF4-FFF2-40B4-BE49-F238E27FC236}">
                <a16:creationId xmlns:a16="http://schemas.microsoft.com/office/drawing/2014/main" id="{309D2AEA-D45E-4698-93DB-B1E1FEA8EBC5}"/>
              </a:ext>
            </a:extLst>
          </p:cNvPr>
          <p:cNvSpPr>
            <a:spLocks noGrp="1"/>
          </p:cNvSpPr>
          <p:nvPr>
            <p:custDataLst>
              <p:tags r:id="rId21"/>
            </p:custDataLst>
          </p:nvPr>
        </p:nvSpPr>
        <p:spPr bwMode="auto">
          <a:xfrm>
            <a:off x="62087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DB2056-49CC-47CD-A8B7-81C847185B94}" type="datetime'2''01''''''''''''''''4'''''''''''''''''''''''''''''''">
              <a:rPr lang="en-US" altLang="en-US" sz="1200" smtClean="0"/>
              <a:pPr/>
              <a:t>2014</a:t>
            </a:fld>
            <a:endParaRPr lang="ja-JP" altLang="en-US" sz="1200" dirty="0"/>
          </a:p>
        </p:txBody>
      </p:sp>
      <p:sp>
        <p:nvSpPr>
          <p:cNvPr id="35" name="テキスト プレースホルダ 9">
            <a:extLst>
              <a:ext uri="{FF2B5EF4-FFF2-40B4-BE49-F238E27FC236}">
                <a16:creationId xmlns:a16="http://schemas.microsoft.com/office/drawing/2014/main" id="{A97D71B7-108E-424C-ADEF-12EE3ED748C6}"/>
              </a:ext>
            </a:extLst>
          </p:cNvPr>
          <p:cNvSpPr>
            <a:spLocks noGrp="1"/>
          </p:cNvSpPr>
          <p:nvPr>
            <p:custDataLst>
              <p:tags r:id="rId22"/>
            </p:custDataLst>
          </p:nvPr>
        </p:nvSpPr>
        <p:spPr bwMode="auto">
          <a:xfrm>
            <a:off x="69977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CEEBF-ACB8-4E6C-B68B-3FB8B07EC2CE}" type="datetime'''''''''''''''''''''''''''20''''''''''''''''''''''1''6'''''''">
              <a:rPr lang="en-US" altLang="en-US" sz="1200" smtClean="0"/>
              <a:pPr/>
              <a:t>2016</a:t>
            </a:fld>
            <a:endParaRPr lang="ja-JP" altLang="en-US" sz="1200" dirty="0"/>
          </a:p>
        </p:txBody>
      </p:sp>
      <p:sp>
        <p:nvSpPr>
          <p:cNvPr id="37" name="テキスト プレースホルダ 9">
            <a:extLst>
              <a:ext uri="{FF2B5EF4-FFF2-40B4-BE49-F238E27FC236}">
                <a16:creationId xmlns:a16="http://schemas.microsoft.com/office/drawing/2014/main" id="{96EAD1C2-B772-4469-A2B3-B9491282B034}"/>
              </a:ext>
            </a:extLst>
          </p:cNvPr>
          <p:cNvSpPr>
            <a:spLocks noGrp="1"/>
          </p:cNvSpPr>
          <p:nvPr>
            <p:custDataLst>
              <p:tags r:id="rId23"/>
            </p:custDataLst>
          </p:nvPr>
        </p:nvSpPr>
        <p:spPr bwMode="auto">
          <a:xfrm>
            <a:off x="77882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855E87-9CAC-4DD1-B6CE-7C95D9695919}" type="datetime'''''''''''''''''''''''''''2''''''01''''8'''''''''''''''">
              <a:rPr lang="en-US" altLang="en-US" sz="1200" smtClean="0"/>
              <a:pPr/>
              <a:t>2018</a:t>
            </a:fld>
            <a:endParaRPr lang="ja-JP" altLang="en-US" sz="1200" dirty="0"/>
          </a:p>
        </p:txBody>
      </p:sp>
      <p:sp>
        <p:nvSpPr>
          <p:cNvPr id="38" name="テキスト プレースホルダ 9">
            <a:extLst>
              <a:ext uri="{FF2B5EF4-FFF2-40B4-BE49-F238E27FC236}">
                <a16:creationId xmlns:a16="http://schemas.microsoft.com/office/drawing/2014/main" id="{6F8E1234-0908-4878-A586-C995329A85FE}"/>
              </a:ext>
            </a:extLst>
          </p:cNvPr>
          <p:cNvSpPr>
            <a:spLocks noGrp="1"/>
          </p:cNvSpPr>
          <p:nvPr>
            <p:custDataLst>
              <p:tags r:id="rId24"/>
            </p:custDataLst>
          </p:nvPr>
        </p:nvSpPr>
        <p:spPr bwMode="auto">
          <a:xfrm>
            <a:off x="81835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2B3F5-9202-4114-8A37-59073E9FF1A6}" type="datetime'''''''''''''''''''''''2''''''01''''''''''''9'''''''''''''''">
              <a:rPr lang="en-US" altLang="en-US" sz="1200" smtClean="0"/>
              <a:pPr/>
              <a:t>2019</a:t>
            </a:fld>
            <a:endParaRPr lang="ja-JP" altLang="en-US" sz="1200" dirty="0"/>
          </a:p>
        </p:txBody>
      </p:sp>
      <p:sp>
        <p:nvSpPr>
          <p:cNvPr id="40" name="テキスト プレースホルダ 9">
            <a:extLst>
              <a:ext uri="{FF2B5EF4-FFF2-40B4-BE49-F238E27FC236}">
                <a16:creationId xmlns:a16="http://schemas.microsoft.com/office/drawing/2014/main" id="{3E8DD3F0-709D-4B97-8859-9B7DFD4E958E}"/>
              </a:ext>
            </a:extLst>
          </p:cNvPr>
          <p:cNvSpPr>
            <a:spLocks noGrp="1"/>
          </p:cNvSpPr>
          <p:nvPr>
            <p:custDataLst>
              <p:tags r:id="rId25"/>
            </p:custDataLst>
          </p:nvPr>
        </p:nvSpPr>
        <p:spPr bwMode="auto">
          <a:xfrm>
            <a:off x="89725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EF66A9-36AA-4EAC-8757-51D3AC714038}" type="datetime'2''''0''''''2''''''''''''''''''''''''''''''''''''''1'''''''">
              <a:rPr lang="en-US" altLang="en-US" sz="1200" smtClean="0"/>
              <a:pPr/>
              <a:t>2021</a:t>
            </a:fld>
            <a:endParaRPr lang="ja-JP" altLang="en-US" sz="1200" dirty="0"/>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onetary Authority of Singapore, Life Insurance Association Singapor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シンガポール保健省ホームページ</a:t>
            </a:r>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675274" y="2562609"/>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シンガポールにおける民間医療保険の保険料収入</a:t>
            </a:r>
          </a:p>
          <a:p>
            <a:pPr>
              <a:spcAft>
                <a:spcPts val="0"/>
              </a:spcAft>
            </a:pPr>
            <a:r>
              <a:rPr lang="ja-JP" altLang="en-US" sz="1000" dirty="0">
                <a:latin typeface="HGP創英角ｺﾞｼｯｸUB" pitchFamily="50" charset="-128"/>
                <a:ea typeface="HGP創英角ｺﾞｼｯｸUB" pitchFamily="50" charset="-128"/>
              </a:rPr>
              <a:t>百万</a:t>
            </a:r>
            <a:r>
              <a:rPr lang="en-US" altLang="ja-JP" sz="1000" dirty="0">
                <a:latin typeface="HGP創英角ｺﾞｼｯｸUB" pitchFamily="50" charset="-128"/>
                <a:ea typeface="HGP創英角ｺﾞｼｯｸUB" pitchFamily="50" charset="-128"/>
              </a:rPr>
              <a:t>US$</a:t>
            </a:r>
            <a:endParaRPr lang="ja-JP" altLang="en-US" sz="1000" dirty="0">
              <a:latin typeface="HGP創英角ｺﾞｼｯｸUB" pitchFamily="50" charset="-128"/>
              <a:ea typeface="HGP創英角ｺﾞｼｯｸUB" pitchFamily="50" charset="-128"/>
            </a:endParaRP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00472" y="1124744"/>
            <a:ext cx="9227691" cy="12178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医療保険加入者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ediShiel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Lif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保険料を上乗せする統合シールド・プラ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tegrated Shield Plan: I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利用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統合シールドプランは保健省指定の民間保険会社</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を通じて加入することができ、公的保険では適用外となる私立病院や個室などの利用の費用をカバーすることができ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MediShiel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Lif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は独立した民間医療保険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件ほどの加入がある。</a:t>
            </a:r>
          </a:p>
        </p:txBody>
      </p:sp>
      <p:sp>
        <p:nvSpPr>
          <p:cNvPr id="41" name="テキスト ボックス 20">
            <a:extLst>
              <a:ext uri="{FF2B5EF4-FFF2-40B4-BE49-F238E27FC236}">
                <a16:creationId xmlns:a16="http://schemas.microsoft.com/office/drawing/2014/main" id="{65A7DFBF-055A-4669-915F-19F66928923E}"/>
              </a:ext>
            </a:extLst>
          </p:cNvPr>
          <p:cNvSpPr txBox="1"/>
          <p:nvPr/>
        </p:nvSpPr>
        <p:spPr>
          <a:xfrm>
            <a:off x="351238" y="6939507"/>
            <a:ext cx="9001000"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www.moh.gov.sg/cost-financing/healthcare-schemes-subsidies/medishield-life/comparison-of-integrated-shield-plans</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6104723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8C9621D-9D64-48A1-9797-5EAE7B3C34A3}"/>
              </a:ext>
            </a:extLst>
          </p:cNvPr>
          <p:cNvGraphicFramePr>
            <a:graphicFrameLocks noChangeAspect="1"/>
          </p:cNvGraphicFramePr>
          <p:nvPr>
            <p:custDataLst>
              <p:tags r:id="rId2"/>
            </p:custDataLst>
            <p:extLst>
              <p:ext uri="{D42A27DB-BD31-4B8C-83A1-F6EECF244321}">
                <p14:modId xmlns:p14="http://schemas.microsoft.com/office/powerpoint/2010/main" val="1556777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D8C9621D-9D64-48A1-9797-5EAE7B3C34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保健に関する制度・行政体制</a:t>
            </a:r>
          </a:p>
        </p:txBody>
      </p:sp>
      <p:sp>
        <p:nvSpPr>
          <p:cNvPr id="46" name="テキスト ボックス 45"/>
          <p:cNvSpPr txBox="1"/>
          <p:nvPr/>
        </p:nvSpPr>
        <p:spPr>
          <a:xfrm>
            <a:off x="200472" y="1124744"/>
            <a:ext cx="9505056" cy="98084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では、保健省が健康・医療・介護全般の政策立案を管轄しているが、その実施については政府</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企業で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H Holdings Pte Ltd. (MOH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担当してい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H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は傘下に公立病院やポリクリニックを運営する医療グループを抱え、医師や看護師・医療専門職を送り込んで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管轄の法廷機関が医療機器や医薬品の規制、医療従事者の登録・監督を担っている。</a:t>
            </a:r>
          </a:p>
        </p:txBody>
      </p:sp>
      <p:sp>
        <p:nvSpPr>
          <p:cNvPr id="5" name="Rectangle 4">
            <a:extLst>
              <a:ext uri="{FF2B5EF4-FFF2-40B4-BE49-F238E27FC236}">
                <a16:creationId xmlns:a16="http://schemas.microsoft.com/office/drawing/2014/main" id="{A5C474DD-FADF-4AB4-89CF-F88D579E4E51}"/>
              </a:ext>
            </a:extLst>
          </p:cNvPr>
          <p:cNvSpPr/>
          <p:nvPr/>
        </p:nvSpPr>
        <p:spPr>
          <a:xfrm>
            <a:off x="652985" y="2581680"/>
            <a:ext cx="1354708" cy="476790"/>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200" dirty="0"/>
              <a:t>保健省</a:t>
            </a:r>
            <a:endParaRPr kumimoji="1" lang="en-CA" sz="1200" dirty="0"/>
          </a:p>
        </p:txBody>
      </p:sp>
      <p:sp>
        <p:nvSpPr>
          <p:cNvPr id="10" name="Rectangle 9">
            <a:extLst>
              <a:ext uri="{FF2B5EF4-FFF2-40B4-BE49-F238E27FC236}">
                <a16:creationId xmlns:a16="http://schemas.microsoft.com/office/drawing/2014/main" id="{20141E70-91C0-4AE2-AE18-801CBAA6853C}"/>
              </a:ext>
            </a:extLst>
          </p:cNvPr>
          <p:cNvSpPr/>
          <p:nvPr/>
        </p:nvSpPr>
        <p:spPr>
          <a:xfrm>
            <a:off x="5457056" y="2581680"/>
            <a:ext cx="1354708" cy="476790"/>
          </a:xfrm>
          <a:prstGeom prst="rect">
            <a:avLst/>
          </a:prstGeom>
          <a:solidFill>
            <a:srgbClr val="A2BBDC"/>
          </a:solidFill>
        </p:spPr>
        <p:txBody>
          <a:bodyPr wrap="square" rtlCol="0" anchor="ctr">
            <a:noAutofit/>
          </a:bodyPr>
          <a:lstStyle/>
          <a:p>
            <a:pPr marL="0" algn="ctr" fontAlgn="ctr">
              <a:lnSpc>
                <a:spcPct val="114000"/>
              </a:lnSpc>
              <a:spcAft>
                <a:spcPts val="400"/>
              </a:spcAft>
            </a:pPr>
            <a:r>
              <a:rPr kumimoji="1" lang="en-US" altLang="ja-JP" sz="1200" dirty="0"/>
              <a:t>MOHH</a:t>
            </a:r>
            <a:endParaRPr kumimoji="1" lang="en-CA" sz="1200" dirty="0"/>
          </a:p>
        </p:txBody>
      </p:sp>
      <p:sp>
        <p:nvSpPr>
          <p:cNvPr id="14" name="TextBox 13">
            <a:extLst>
              <a:ext uri="{FF2B5EF4-FFF2-40B4-BE49-F238E27FC236}">
                <a16:creationId xmlns:a16="http://schemas.microsoft.com/office/drawing/2014/main" id="{916D5B42-92DA-463A-AFEA-96DB298C9BAD}"/>
              </a:ext>
            </a:extLst>
          </p:cNvPr>
          <p:cNvSpPr txBox="1"/>
          <p:nvPr/>
        </p:nvSpPr>
        <p:spPr>
          <a:xfrm>
            <a:off x="663867" y="3160762"/>
            <a:ext cx="4104457" cy="1938992"/>
          </a:xfrm>
          <a:prstGeom prst="rect">
            <a:avLst/>
          </a:prstGeom>
          <a:noFill/>
        </p:spPr>
        <p:txBody>
          <a:bodyPr wrap="square">
            <a:spAutoFit/>
          </a:bodyPr>
          <a:lstStyle/>
          <a:p>
            <a:r>
              <a:rPr lang="ja-JP" altLang="en-US" sz="1200" dirty="0">
                <a:latin typeface="+mn-ea"/>
              </a:rPr>
              <a:t>健康・医療・介護にかかわる政策を立案</a:t>
            </a:r>
          </a:p>
          <a:p>
            <a:r>
              <a:rPr lang="ja-JP" altLang="en-US" sz="1200" b="0" i="0" dirty="0">
                <a:effectLst/>
                <a:latin typeface="+mn-ea"/>
              </a:rPr>
              <a:t>医療・介護関連施設の免許を管轄</a:t>
            </a:r>
            <a:endParaRPr lang="en-US" altLang="ja-JP" sz="1200" b="0" i="0" dirty="0">
              <a:effectLst/>
              <a:latin typeface="+mn-ea"/>
            </a:endParaRPr>
          </a:p>
          <a:p>
            <a:endParaRPr lang="en-US" altLang="ja-JP" sz="1200" dirty="0">
              <a:latin typeface="+mn-ea"/>
            </a:endParaRPr>
          </a:p>
          <a:p>
            <a:r>
              <a:rPr lang="ja-JP" altLang="en-US" sz="1200" b="0" i="0" dirty="0">
                <a:effectLst/>
                <a:latin typeface="+mn-ea"/>
              </a:rPr>
              <a:t>保健省管轄の法定機関</a:t>
            </a:r>
          </a:p>
          <a:p>
            <a:pPr marL="171450" indent="-171450">
              <a:buFont typeface="Arial" panose="020B0604020202020204" pitchFamily="34" charset="0"/>
              <a:buChar char="•"/>
            </a:pPr>
            <a:r>
              <a:rPr lang="en-US" sz="1200" dirty="0">
                <a:latin typeface="+mn-ea"/>
              </a:rPr>
              <a:t>Health Promotion Board</a:t>
            </a:r>
            <a:r>
              <a:rPr lang="ja-JP" altLang="en-US" sz="1200" dirty="0">
                <a:latin typeface="+mn-ea"/>
              </a:rPr>
              <a:t>（健康増進局）</a:t>
            </a:r>
            <a:endParaRPr lang="en-US" sz="1200" dirty="0">
              <a:latin typeface="+mn-ea"/>
            </a:endParaRPr>
          </a:p>
          <a:p>
            <a:pPr marL="171450" indent="-171450">
              <a:buFont typeface="Arial" panose="020B0604020202020204" pitchFamily="34" charset="0"/>
              <a:buChar char="•"/>
            </a:pPr>
            <a:r>
              <a:rPr lang="en-US" sz="1200" dirty="0">
                <a:latin typeface="+mn-ea"/>
              </a:rPr>
              <a:t>Health Sciences Authority: </a:t>
            </a:r>
            <a:r>
              <a:rPr lang="ja-JP" altLang="en-US" sz="1200" dirty="0">
                <a:latin typeface="+mn-ea"/>
              </a:rPr>
              <a:t>医薬品・医療機器の審査</a:t>
            </a:r>
            <a:endParaRPr lang="en-US" sz="1200" dirty="0">
              <a:latin typeface="+mn-ea"/>
            </a:endParaRPr>
          </a:p>
          <a:p>
            <a:pPr marL="171450" indent="-171450">
              <a:buFont typeface="Arial" panose="020B0604020202020204" pitchFamily="34" charset="0"/>
              <a:buChar char="•"/>
            </a:pPr>
            <a:r>
              <a:rPr lang="en-US" sz="1200" dirty="0">
                <a:latin typeface="+mn-ea"/>
              </a:rPr>
              <a:t>Singapore Medical Council</a:t>
            </a:r>
            <a:r>
              <a:rPr lang="ja-JP" altLang="en-US" sz="1200" dirty="0">
                <a:latin typeface="+mn-ea"/>
              </a:rPr>
              <a:t>：医師の登録・監督</a:t>
            </a:r>
          </a:p>
          <a:p>
            <a:pPr marL="171450" indent="-171450">
              <a:buFont typeface="Arial" panose="020B0604020202020204" pitchFamily="34" charset="0"/>
              <a:buChar char="•"/>
            </a:pPr>
            <a:r>
              <a:rPr lang="en-US" sz="1200" dirty="0">
                <a:latin typeface="+mn-ea"/>
              </a:rPr>
              <a:t>Singapore Dental Council</a:t>
            </a:r>
            <a:r>
              <a:rPr lang="en-US" altLang="ja-JP" sz="1200" dirty="0">
                <a:latin typeface="+mn-ea"/>
              </a:rPr>
              <a:t>:</a:t>
            </a:r>
            <a:r>
              <a:rPr lang="ja-JP" altLang="en-US" sz="1200" dirty="0">
                <a:latin typeface="+mn-ea"/>
              </a:rPr>
              <a:t>　歯科医師の登録・監督</a:t>
            </a:r>
            <a:endParaRPr lang="en-US" sz="1200" dirty="0">
              <a:latin typeface="+mn-ea"/>
            </a:endParaRPr>
          </a:p>
          <a:p>
            <a:pPr marL="171450" indent="-171450">
              <a:buFont typeface="Arial" panose="020B0604020202020204" pitchFamily="34" charset="0"/>
              <a:buChar char="•"/>
            </a:pPr>
            <a:r>
              <a:rPr lang="en-US" sz="1200" dirty="0">
                <a:latin typeface="+mn-ea"/>
              </a:rPr>
              <a:t>Singapore Nursing Board</a:t>
            </a:r>
            <a:r>
              <a:rPr lang="en-US" altLang="ja-JP" sz="1200" dirty="0">
                <a:latin typeface="+mn-ea"/>
              </a:rPr>
              <a:t>:</a:t>
            </a:r>
            <a:r>
              <a:rPr lang="ja-JP" altLang="en-US" sz="1200" dirty="0">
                <a:latin typeface="+mn-ea"/>
              </a:rPr>
              <a:t>　 看護師の登録・監督</a:t>
            </a:r>
            <a:endParaRPr lang="en-US" sz="1200" dirty="0">
              <a:latin typeface="+mn-ea"/>
            </a:endParaRPr>
          </a:p>
          <a:p>
            <a:pPr marL="171450" indent="-171450">
              <a:buFont typeface="Arial" panose="020B0604020202020204" pitchFamily="34" charset="0"/>
              <a:buChar char="•"/>
            </a:pPr>
            <a:r>
              <a:rPr lang="en-US" sz="1200" dirty="0">
                <a:latin typeface="+mn-ea"/>
              </a:rPr>
              <a:t>TCM </a:t>
            </a:r>
            <a:r>
              <a:rPr lang="en-US" altLang="ja-JP" sz="1200" dirty="0">
                <a:latin typeface="+mn-ea"/>
              </a:rPr>
              <a:t>Practitioners</a:t>
            </a:r>
            <a:r>
              <a:rPr lang="en-US" sz="1200" dirty="0">
                <a:latin typeface="+mn-ea"/>
              </a:rPr>
              <a:t> Board</a:t>
            </a:r>
            <a:r>
              <a:rPr lang="en-US" altLang="ja-JP" sz="1200" dirty="0">
                <a:latin typeface="+mn-ea"/>
              </a:rPr>
              <a:t>:</a:t>
            </a:r>
            <a:r>
              <a:rPr lang="ja-JP" altLang="en-US" sz="1200" dirty="0">
                <a:latin typeface="+mn-ea"/>
              </a:rPr>
              <a:t>　中医師の登録・監督</a:t>
            </a:r>
            <a:endParaRPr lang="en-US" sz="1200" dirty="0">
              <a:latin typeface="+mn-ea"/>
            </a:endParaRPr>
          </a:p>
        </p:txBody>
      </p:sp>
      <p:sp>
        <p:nvSpPr>
          <p:cNvPr id="27" name="TextBox 26">
            <a:extLst>
              <a:ext uri="{FF2B5EF4-FFF2-40B4-BE49-F238E27FC236}">
                <a16:creationId xmlns:a16="http://schemas.microsoft.com/office/drawing/2014/main" id="{5723CE1B-07EB-40AF-A955-79F9315D6CD4}"/>
              </a:ext>
            </a:extLst>
          </p:cNvPr>
          <p:cNvSpPr txBox="1"/>
          <p:nvPr/>
        </p:nvSpPr>
        <p:spPr>
          <a:xfrm>
            <a:off x="5457056" y="3160762"/>
            <a:ext cx="4104456" cy="2308324"/>
          </a:xfrm>
          <a:prstGeom prst="rect">
            <a:avLst/>
          </a:prstGeom>
          <a:noFill/>
        </p:spPr>
        <p:txBody>
          <a:bodyPr wrap="square">
            <a:spAutoFit/>
          </a:bodyPr>
          <a:lstStyle/>
          <a:p>
            <a:r>
              <a:rPr lang="en-US" altLang="ja-JP" sz="1200" b="0" i="0" dirty="0">
                <a:effectLst/>
                <a:latin typeface="+mn-ea"/>
              </a:rPr>
              <a:t>MOHH</a:t>
            </a:r>
            <a:r>
              <a:rPr lang="ja-JP" altLang="en-US" sz="1200" b="0" i="0" dirty="0">
                <a:effectLst/>
                <a:latin typeface="+mn-ea"/>
              </a:rPr>
              <a:t>の役割</a:t>
            </a:r>
          </a:p>
          <a:p>
            <a:pPr marL="171450" indent="-171450">
              <a:buFont typeface="Arial" panose="020B0604020202020204" pitchFamily="34" charset="0"/>
              <a:buChar char="•"/>
            </a:pPr>
            <a:r>
              <a:rPr lang="ja-JP" altLang="en-US" sz="1200" dirty="0">
                <a:latin typeface="+mn-ea"/>
              </a:rPr>
              <a:t>地域・コミュニティ病院、専門センター、ポリクリニック、老人ホームの整備</a:t>
            </a:r>
          </a:p>
          <a:p>
            <a:pPr marL="171450" indent="-171450">
              <a:buFont typeface="Arial" panose="020B0604020202020204" pitchFamily="34" charset="0"/>
              <a:buChar char="•"/>
            </a:pPr>
            <a:r>
              <a:rPr lang="ja-JP" altLang="en-US" sz="1200" b="0" i="0" dirty="0">
                <a:effectLst/>
                <a:latin typeface="+mn-ea"/>
              </a:rPr>
              <a:t>シンガポールの公的医療機関のための医療従事者の共同採用</a:t>
            </a:r>
          </a:p>
          <a:p>
            <a:pPr marL="171450" indent="-171450">
              <a:buFont typeface="Arial" panose="020B0604020202020204" pitchFamily="34" charset="0"/>
              <a:buChar char="•"/>
            </a:pPr>
            <a:r>
              <a:rPr lang="ja-JP" altLang="en-US" sz="1200" b="0" i="0" dirty="0">
                <a:effectLst/>
                <a:latin typeface="+mn-ea"/>
              </a:rPr>
              <a:t>患者へのシームレスな医療提供を促進する国家</a:t>
            </a:r>
            <a:r>
              <a:rPr lang="en-US" altLang="ja-JP" sz="1200" b="0" i="0" dirty="0">
                <a:effectLst/>
                <a:latin typeface="+mn-ea"/>
              </a:rPr>
              <a:t>IT</a:t>
            </a:r>
            <a:r>
              <a:rPr lang="ja-JP" altLang="en-US" sz="1200" b="0" i="0" dirty="0">
                <a:effectLst/>
                <a:latin typeface="+mn-ea"/>
              </a:rPr>
              <a:t>フレームワークの開発</a:t>
            </a:r>
            <a:endParaRPr lang="en-US" altLang="ja-JP" sz="1200" b="0" i="0" dirty="0">
              <a:effectLst/>
              <a:latin typeface="+mn-ea"/>
            </a:endParaRPr>
          </a:p>
          <a:p>
            <a:endParaRPr lang="en-US" altLang="ja-JP" sz="1200" dirty="0">
              <a:latin typeface="+mn-ea"/>
            </a:endParaRPr>
          </a:p>
          <a:p>
            <a:r>
              <a:rPr lang="en-US" altLang="ja-JP" sz="1200" b="0" i="0" dirty="0">
                <a:effectLst/>
                <a:latin typeface="+mn-ea"/>
              </a:rPr>
              <a:t>MOHH</a:t>
            </a:r>
            <a:r>
              <a:rPr lang="ja-JP" altLang="en-US" sz="1200" b="0" i="0" dirty="0">
                <a:effectLst/>
                <a:latin typeface="+mn-ea"/>
              </a:rPr>
              <a:t>傘下の医療機関グループ</a:t>
            </a:r>
            <a:endParaRPr lang="en-US" altLang="ja-JP" sz="1200" b="0" i="0" dirty="0">
              <a:effectLst/>
              <a:latin typeface="+mn-ea"/>
            </a:endParaRPr>
          </a:p>
          <a:p>
            <a:pPr marL="171450" indent="-171450">
              <a:buFont typeface="Arial" panose="020B0604020202020204" pitchFamily="34" charset="0"/>
              <a:buChar char="•"/>
            </a:pPr>
            <a:r>
              <a:rPr lang="en-US" sz="1200" dirty="0">
                <a:latin typeface="+mn-ea"/>
              </a:rPr>
              <a:t>National University Health System</a:t>
            </a:r>
          </a:p>
          <a:p>
            <a:pPr marL="171450" indent="-171450">
              <a:buFont typeface="Arial" panose="020B0604020202020204" pitchFamily="34" charset="0"/>
              <a:buChar char="•"/>
            </a:pPr>
            <a:r>
              <a:rPr lang="en-US" sz="1200" dirty="0">
                <a:latin typeface="+mn-ea"/>
              </a:rPr>
              <a:t>National Healthcare Group</a:t>
            </a:r>
          </a:p>
          <a:p>
            <a:pPr marL="171450" indent="-171450">
              <a:buFont typeface="Arial" panose="020B0604020202020204" pitchFamily="34" charset="0"/>
              <a:buChar char="•"/>
            </a:pPr>
            <a:r>
              <a:rPr lang="en-US" sz="1200" dirty="0">
                <a:latin typeface="+mn-ea"/>
              </a:rPr>
              <a:t>Singapore Health Services (</a:t>
            </a:r>
            <a:r>
              <a:rPr lang="en-US" sz="1200" dirty="0" err="1">
                <a:latin typeface="+mn-ea"/>
              </a:rPr>
              <a:t>SingHealth</a:t>
            </a:r>
            <a:r>
              <a:rPr lang="en-US" sz="1200" dirty="0">
                <a:latin typeface="+mn-ea"/>
              </a:rPr>
              <a:t>)</a:t>
            </a:r>
          </a:p>
        </p:txBody>
      </p:sp>
      <p:cxnSp>
        <p:nvCxnSpPr>
          <p:cNvPr id="30" name="Straight Arrow Connector 29">
            <a:extLst>
              <a:ext uri="{FF2B5EF4-FFF2-40B4-BE49-F238E27FC236}">
                <a16:creationId xmlns:a16="http://schemas.microsoft.com/office/drawing/2014/main" id="{EA97044C-7782-4BBB-89FF-AF241DEBE83F}"/>
              </a:ext>
            </a:extLst>
          </p:cNvPr>
          <p:cNvCxnSpPr>
            <a:stCxn id="5" idx="3"/>
            <a:endCxn id="10" idx="1"/>
          </p:cNvCxnSpPr>
          <p:nvPr/>
        </p:nvCxnSpPr>
        <p:spPr>
          <a:xfrm>
            <a:off x="2007693" y="2820075"/>
            <a:ext cx="3449363"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EF92F90B-FF7A-49D5-8D97-A04E1F455F06}"/>
              </a:ext>
            </a:extLst>
          </p:cNvPr>
          <p:cNvSpPr txBox="1"/>
          <p:nvPr/>
        </p:nvSpPr>
        <p:spPr>
          <a:xfrm>
            <a:off x="4340190" y="2820075"/>
            <a:ext cx="1116866" cy="553998"/>
          </a:xfrm>
          <a:prstGeom prst="rect">
            <a:avLst/>
          </a:prstGeom>
          <a:noFill/>
        </p:spPr>
        <p:txBody>
          <a:bodyPr wrap="square">
            <a:spAutoFit/>
          </a:bodyPr>
          <a:lstStyle/>
          <a:p>
            <a:r>
              <a:rPr lang="ja-JP" altLang="en-US" sz="1000" dirty="0"/>
              <a:t>政府全額出資（財務省がすべての株式を保有）</a:t>
            </a:r>
          </a:p>
        </p:txBody>
      </p:sp>
      <p:sp>
        <p:nvSpPr>
          <p:cNvPr id="37" name="テキスト ボックス 33">
            <a:extLst>
              <a:ext uri="{FF2B5EF4-FFF2-40B4-BE49-F238E27FC236}">
                <a16:creationId xmlns:a16="http://schemas.microsoft.com/office/drawing/2014/main" id="{C24BB961-B23F-4150-84D7-D83680534E17}"/>
              </a:ext>
            </a:extLst>
          </p:cNvPr>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dirty="0">
                <a:latin typeface="Meiryo UI" panose="020B0604030504040204" pitchFamily="34" charset="-128"/>
                <a:ea typeface="Meiryo UI" panose="020B0604030504040204" pitchFamily="34" charset="-128"/>
                <a:cs typeface="Arial" panose="020B0604020202020204" pitchFamily="34" charset="0"/>
              </a:rPr>
              <a:t>（出所）</a:t>
            </a:r>
            <a:r>
              <a:rPr lang="en-US" altLang="ja-JP" sz="800" dirty="0">
                <a:latin typeface="Meiryo UI" panose="020B0604030504040204" pitchFamily="34" charset="-128"/>
                <a:ea typeface="Meiryo UI" panose="020B0604030504040204" pitchFamily="34" charset="-128"/>
                <a:cs typeface="Arial" panose="020B0604020202020204" pitchFamily="34" charset="0"/>
              </a:rPr>
              <a:t>Singapore Ministry of Health, JETRO</a:t>
            </a:r>
            <a:r>
              <a:rPr lang="ja-JP" altLang="en-US" sz="800" dirty="0">
                <a:latin typeface="Meiryo UI" panose="020B0604030504040204" pitchFamily="34" charset="-128"/>
                <a:ea typeface="Meiryo UI" panose="020B0604030504040204" pitchFamily="34" charset="-128"/>
                <a:cs typeface="Arial" panose="020B0604020202020204" pitchFamily="34" charset="0"/>
              </a:rPr>
              <a:t>ホームページ</a:t>
            </a:r>
          </a:p>
        </p:txBody>
      </p:sp>
      <p:sp>
        <p:nvSpPr>
          <p:cNvPr id="13" name="テキスト ボックス 33">
            <a:extLst>
              <a:ext uri="{FF2B5EF4-FFF2-40B4-BE49-F238E27FC236}">
                <a16:creationId xmlns:a16="http://schemas.microsoft.com/office/drawing/2014/main" id="{8554A9A3-4E7A-492B-935F-2376DD01D717}"/>
              </a:ext>
            </a:extLst>
          </p:cNvPr>
          <p:cNvSpPr txBox="1"/>
          <p:nvPr/>
        </p:nvSpPr>
        <p:spPr>
          <a:xfrm>
            <a:off x="546089" y="6957392"/>
            <a:ext cx="8640960" cy="144016"/>
          </a:xfrm>
          <a:prstGeom prst="rect">
            <a:avLst/>
          </a:prstGeom>
          <a:noFill/>
        </p:spPr>
        <p:txBody>
          <a:bodyPr wrap="square" lIns="0" tIns="0" rIns="0" bIns="0" rtlCol="0">
            <a:noAutofit/>
          </a:bodyPr>
          <a:lstStyle/>
          <a:p>
            <a:pPr marL="444500" lvl="0" indent="-444500"/>
            <a:r>
              <a:rPr lang="en-US" altLang="ja-JP" sz="800" dirty="0">
                <a:latin typeface="Meiryo UI" panose="020B0604030504040204" pitchFamily="34" charset="-128"/>
                <a:ea typeface="Meiryo UI" panose="020B0604030504040204" pitchFamily="34" charset="-128"/>
                <a:cs typeface="Arial" panose="020B0604020202020204" pitchFamily="34" charset="0"/>
              </a:rPr>
              <a:t>https://www.jetro.go.jp/ext_images/jfile/report/07001564/report.pdf</a:t>
            </a:r>
            <a:endParaRPr lang="ja-JP" altLang="en-US" sz="800" dirty="0">
              <a:latin typeface="Meiryo UI" panose="020B0604030504040204" pitchFamily="34" charset="-128"/>
              <a:ea typeface="Meiryo UI" panose="020B0604030504040204" pitchFamily="34" charset="-128"/>
              <a:cs typeface="Arial" panose="020B0604020202020204" pitchFamily="34" charset="0"/>
            </a:endParaRPr>
          </a:p>
        </p:txBody>
      </p:sp>
    </p:spTree>
    <p:extLst>
      <p:ext uri="{BB962C8B-B14F-4D97-AF65-F5344CB8AC3E}">
        <p14:creationId xmlns:p14="http://schemas.microsoft.com/office/powerpoint/2010/main" val="33476385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E60E01-E447-43AF-B45F-9F901B17C9CB}"/>
              </a:ext>
            </a:extLst>
          </p:cNvPr>
          <p:cNvGraphicFramePr>
            <a:graphicFrameLocks noChangeAspect="1"/>
          </p:cNvGraphicFramePr>
          <p:nvPr>
            <p:custDataLst>
              <p:tags r:id="rId2"/>
            </p:custDataLst>
            <p:extLst>
              <p:ext uri="{D42A27DB-BD31-4B8C-83A1-F6EECF244321}">
                <p14:modId xmlns:p14="http://schemas.microsoft.com/office/powerpoint/2010/main" val="97217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1BE60E01-E447-43AF-B45F-9F901B17C9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テキスト プレースホルダー 8"/>
          <p:cNvSpPr>
            <a:spLocks noGrp="1"/>
          </p:cNvSpPr>
          <p:nvPr>
            <p:ph type="body" sz="quarter" idx="15"/>
          </p:nvPr>
        </p:nvSpPr>
        <p:spPr/>
        <p:txBody>
          <a:bodyPr/>
          <a:lstStyle/>
          <a:p>
            <a:r>
              <a:rPr lang="ja-JP" altLang="en-US" b="1" dirty="0">
                <a:latin typeface="Meiryo UI" panose="020B0604030504040204" pitchFamily="34" charset="-128"/>
                <a:ea typeface="Meiryo UI" panose="020B0604030504040204" pitchFamily="34" charset="-128"/>
              </a:rPr>
              <a:t>医療機器に対する規制（</a:t>
            </a:r>
            <a:r>
              <a:rPr lang="en-US" altLang="ja-JP" b="1" dirty="0">
                <a:latin typeface="Meiryo UI" panose="020B0604030504040204" pitchFamily="34" charset="-128"/>
                <a:ea typeface="Meiryo UI" panose="020B0604030504040204" pitchFamily="34" charset="-128"/>
              </a:rPr>
              <a:t>1/2</a:t>
            </a:r>
            <a:r>
              <a:rPr lang="ja-JP" altLang="en-US" b="1" dirty="0">
                <a:latin typeface="Meiryo UI" panose="020B0604030504040204" pitchFamily="34" charset="-128"/>
                <a:ea typeface="Meiryo UI" panose="020B0604030504040204" pitchFamily="34" charset="-128"/>
              </a:rPr>
              <a:t>）</a:t>
            </a:r>
          </a:p>
        </p:txBody>
      </p:sp>
      <p:sp>
        <p:nvSpPr>
          <p:cNvPr id="13" name="Rectangle 6"/>
          <p:cNvSpPr>
            <a:spLocks noChangeArrowheads="1"/>
          </p:cNvSpPr>
          <p:nvPr/>
        </p:nvSpPr>
        <p:spPr bwMode="auto">
          <a:xfrm>
            <a:off x="200025" y="1305978"/>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b="1" dirty="0">
                <a:solidFill>
                  <a:srgbClr val="000000"/>
                </a:solidFill>
                <a:latin typeface="Meiryo UI" panose="020B0604030504040204" pitchFamily="34" charset="-128"/>
                <a:ea typeface="Meiryo UI" panose="020B0604030504040204" pitchFamily="34" charset="-128"/>
              </a:rPr>
              <a:t> </a:t>
            </a:r>
            <a:r>
              <a:rPr lang="ja-JP" altLang="en-US" sz="1400" b="1" dirty="0">
                <a:solidFill>
                  <a:srgbClr val="000000"/>
                </a:solidFill>
                <a:latin typeface="Meiryo UI" panose="020B0604030504040204" pitchFamily="34" charset="-128"/>
                <a:ea typeface="Meiryo UI" panose="020B0604030504040204" pitchFamily="34" charset="-128"/>
              </a:rPr>
              <a:t>シンガポールの医療機器に対する規制概要</a:t>
            </a:r>
            <a:endParaRPr lang="en-US" altLang="ko-KR" sz="1400" b="1" dirty="0">
              <a:solidFill>
                <a:srgbClr val="000000"/>
              </a:solidFill>
              <a:latin typeface="Meiryo UI" panose="020B0604030504040204" pitchFamily="34" charset="-128"/>
              <a:ea typeface="Meiryo UI" panose="020B0604030504040204" pitchFamily="34" charset="-128"/>
            </a:endParaRPr>
          </a:p>
        </p:txBody>
      </p:sp>
      <p:graphicFrame>
        <p:nvGraphicFramePr>
          <p:cNvPr id="19" name="表 18"/>
          <p:cNvGraphicFramePr>
            <a:graphicFrameLocks noGrp="1"/>
          </p:cNvGraphicFramePr>
          <p:nvPr/>
        </p:nvGraphicFramePr>
        <p:xfrm>
          <a:off x="200025" y="1606522"/>
          <a:ext cx="9541637" cy="4970888"/>
        </p:xfrm>
        <a:graphic>
          <a:graphicData uri="http://schemas.openxmlformats.org/drawingml/2006/table">
            <a:tbl>
              <a:tblPr firstRow="1" bandRow="1">
                <a:tableStyleId>{2D5ABB26-0587-4C30-8999-92F81FD0307C}</a:tableStyleId>
              </a:tblPr>
              <a:tblGrid>
                <a:gridCol w="360040">
                  <a:extLst>
                    <a:ext uri="{9D8B030D-6E8A-4147-A177-3AD203B41FA5}">
                      <a16:colId xmlns:a16="http://schemas.microsoft.com/office/drawing/2014/main" val="20000"/>
                    </a:ext>
                  </a:extLst>
                </a:gridCol>
                <a:gridCol w="936104">
                  <a:extLst>
                    <a:ext uri="{9D8B030D-6E8A-4147-A177-3AD203B41FA5}">
                      <a16:colId xmlns:a16="http://schemas.microsoft.com/office/drawing/2014/main" val="20001"/>
                    </a:ext>
                  </a:extLst>
                </a:gridCol>
                <a:gridCol w="8245493">
                  <a:extLst>
                    <a:ext uri="{9D8B030D-6E8A-4147-A177-3AD203B41FA5}">
                      <a16:colId xmlns:a16="http://schemas.microsoft.com/office/drawing/2014/main" val="20002"/>
                    </a:ext>
                  </a:extLst>
                </a:gridCol>
              </a:tblGrid>
              <a:tr h="329781">
                <a:tc gridSpan="2">
                  <a:txBody>
                    <a:bodyPr/>
                    <a:lstStyle/>
                    <a:p>
                      <a:pPr algn="ctr" fontAlgn="ctr"/>
                      <a:r>
                        <a:rPr kumimoji="1" lang="ja-JP" altLang="en-US" sz="1100" b="1" dirty="0">
                          <a:solidFill>
                            <a:schemeClr val="bg1"/>
                          </a:solidFill>
                          <a:latin typeface="Meiryo UI" panose="020B0604030504040204" pitchFamily="34" charset="-128"/>
                          <a:ea typeface="Meiryo UI" panose="020B0604030504040204" pitchFamily="34" charset="-128"/>
                        </a:rPr>
                        <a:t>根拠法</a:t>
                      </a:r>
                      <a:endPar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lvl="0" indent="0">
                        <a:lnSpc>
                          <a:spcPct val="107000"/>
                        </a:lnSpc>
                        <a:buFont typeface="Arial" panose="020B0604020202020204" pitchFamily="34" charset="0"/>
                        <a:buNone/>
                      </a:pPr>
                      <a:r>
                        <a:rPr lang="ja-JP" altLang="en-US" sz="1050" kern="1200" dirty="0">
                          <a:solidFill>
                            <a:schemeClr val="tx1"/>
                          </a:solidFill>
                          <a:effectLst/>
                          <a:latin typeface="Meiryo UI"/>
                          <a:ea typeface="Meiryo UI"/>
                          <a:cs typeface="Arial"/>
                        </a:rPr>
                        <a:t>健康機器法</a:t>
                      </a:r>
                      <a:r>
                        <a:rPr lang="en-US" altLang="ja-JP" sz="1050" kern="1200" dirty="0">
                          <a:solidFill>
                            <a:schemeClr val="tx1"/>
                          </a:solidFill>
                          <a:effectLst/>
                          <a:latin typeface="Meiryo UI"/>
                          <a:ea typeface="Meiryo UI"/>
                          <a:cs typeface="Arial"/>
                        </a:rPr>
                        <a:t>(Health Products Act 2007) </a:t>
                      </a:r>
                      <a:r>
                        <a:rPr lang="ja-JP" altLang="en-US" sz="1050" kern="1200">
                          <a:solidFill>
                            <a:schemeClr val="tx1"/>
                          </a:solidFill>
                          <a:effectLst/>
                          <a:latin typeface="Meiryo UI"/>
                          <a:ea typeface="Meiryo UI"/>
                          <a:cs typeface="Arial"/>
                        </a:rPr>
                        <a:t>及び</a:t>
                      </a:r>
                      <a:r>
                        <a:rPr lang="ja-JP" altLang="en-US" sz="1100" kern="1200">
                          <a:solidFill>
                            <a:schemeClr val="tx1"/>
                          </a:solidFill>
                          <a:effectLst/>
                          <a:latin typeface="Meiryo UI"/>
                          <a:ea typeface="Meiryo UI"/>
                          <a:cs typeface="Arial"/>
                        </a:rPr>
                        <a:t>健康機器</a:t>
                      </a:r>
                      <a:r>
                        <a:rPr lang="en-US" altLang="ja-JP" sz="1100" kern="1200" dirty="0">
                          <a:solidFill>
                            <a:schemeClr val="tx1"/>
                          </a:solidFill>
                          <a:effectLst/>
                          <a:latin typeface="Meiryo UI"/>
                          <a:ea typeface="Meiryo UI"/>
                          <a:cs typeface="Arial"/>
                        </a:rPr>
                        <a:t>(</a:t>
                      </a:r>
                      <a:r>
                        <a:rPr lang="ja-JP" altLang="en-US" sz="1100" kern="1200">
                          <a:solidFill>
                            <a:schemeClr val="tx1"/>
                          </a:solidFill>
                          <a:effectLst/>
                          <a:latin typeface="Meiryo UI"/>
                          <a:ea typeface="Meiryo UI"/>
                          <a:cs typeface="Arial"/>
                        </a:rPr>
                        <a:t>医療機器</a:t>
                      </a:r>
                      <a:r>
                        <a:rPr lang="en-US" altLang="ja-JP" sz="1100" kern="1200" dirty="0">
                          <a:solidFill>
                            <a:schemeClr val="tx1"/>
                          </a:solidFill>
                          <a:effectLst/>
                          <a:latin typeface="Meiryo UI"/>
                          <a:ea typeface="Meiryo UI"/>
                          <a:cs typeface="Arial"/>
                        </a:rPr>
                        <a:t>)</a:t>
                      </a:r>
                      <a:r>
                        <a:rPr lang="ja-JP" altLang="en-US" sz="1100" kern="1200">
                          <a:solidFill>
                            <a:schemeClr val="tx1"/>
                          </a:solidFill>
                          <a:effectLst/>
                          <a:latin typeface="Meiryo UI"/>
                          <a:ea typeface="Meiryo UI"/>
                          <a:cs typeface="Arial"/>
                        </a:rPr>
                        <a:t>規制</a:t>
                      </a:r>
                      <a:r>
                        <a:rPr lang="en-US" altLang="ja-JP" sz="1100" kern="1200" dirty="0">
                          <a:solidFill>
                            <a:schemeClr val="tx1"/>
                          </a:solidFill>
                          <a:effectLst/>
                          <a:latin typeface="Meiryo UI"/>
                          <a:ea typeface="Meiryo UI"/>
                          <a:cs typeface="Arial"/>
                        </a:rPr>
                        <a:t>(Health Products (medical Devices)</a:t>
                      </a:r>
                      <a:r>
                        <a:rPr lang="en-US" altLang="ja-JP" sz="1050" kern="1200" dirty="0">
                          <a:solidFill>
                            <a:schemeClr val="tx1"/>
                          </a:solidFill>
                          <a:effectLst/>
                          <a:latin typeface="Meiryo UI"/>
                          <a:ea typeface="Meiryo UI"/>
                          <a:cs typeface="Arial"/>
                        </a:rPr>
                        <a:t>2010）</a:t>
                      </a:r>
                      <a:r>
                        <a:rPr lang="ja-JP" altLang="en-US" sz="1050">
                          <a:solidFill>
                            <a:schemeClr val="tx1"/>
                          </a:solidFill>
                          <a:latin typeface="Meiryo UI"/>
                          <a:ea typeface="Meiryo UI"/>
                          <a:cs typeface="Arial"/>
                        </a:rPr>
                        <a:t>により、医療機器が規制されている。</a:t>
                      </a:r>
                      <a:endParaRPr lang="en-US" altLang="ja-JP" sz="900" dirty="0">
                        <a:solidFill>
                          <a:schemeClr val="tx1"/>
                        </a:solidFill>
                        <a:latin typeface="Meiryo UI"/>
                        <a:ea typeface="Meiryo UI"/>
                        <a:cs typeface="Arial"/>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182490">
                <a:tc gridSpan="2">
                  <a:txBody>
                    <a:bodyPr/>
                    <a:lstStyle/>
                    <a:p>
                      <a:pPr algn="ctr" fontAlgn="ctr"/>
                      <a:r>
                        <a:rPr kumimoji="1" lang="ja-JP" altLang="en-US" sz="1100" b="1" dirty="0">
                          <a:solidFill>
                            <a:schemeClr val="bg1"/>
                          </a:solidFill>
                          <a:latin typeface="Meiryo UI" panose="020B0604030504040204" pitchFamily="34" charset="-128"/>
                          <a:ea typeface="Meiryo UI" panose="020B0604030504040204" pitchFamily="34" charset="-128"/>
                        </a:rPr>
                        <a:t>規制所管主体</a:t>
                      </a:r>
                      <a:endPar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 typeface="Arial" pitchFamily="34" charset="0"/>
                        <a:buNone/>
                        <a:tabLst/>
                        <a:defRPr/>
                      </a:pPr>
                      <a:r>
                        <a:rPr lang="ja-JP" altLang="en-US" sz="1050" dirty="0">
                          <a:latin typeface="Meiryo UI" panose="020B0604030504040204" pitchFamily="34" charset="-128"/>
                          <a:ea typeface="Meiryo UI" panose="020B0604030504040204" pitchFamily="34" charset="-128"/>
                          <a:cs typeface="Arial" panose="020B0604020202020204" pitchFamily="34" charset="0"/>
                        </a:rPr>
                        <a:t>健康科学庁（</a:t>
                      </a:r>
                      <a:r>
                        <a:rPr lang="en-US" altLang="ja-JP" sz="1050" dirty="0">
                          <a:latin typeface="Meiryo UI" panose="020B0604030504040204" pitchFamily="34" charset="-128"/>
                          <a:ea typeface="Meiryo UI" panose="020B0604030504040204" pitchFamily="34" charset="-128"/>
                          <a:cs typeface="Arial" panose="020B0604020202020204" pitchFamily="34" charset="0"/>
                        </a:rPr>
                        <a:t>Health Sciences Authorit</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y</a:t>
                      </a:r>
                      <a:r>
                        <a:rPr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　</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以下、「当局」　</a:t>
                      </a:r>
                      <a:r>
                        <a:rPr lang="en-MY" altLang="ja-JP" sz="1050" u="sng" dirty="0">
                          <a:solidFill>
                            <a:srgbClr val="FF0000"/>
                          </a:solidFill>
                          <a:effectLst/>
                          <a:latin typeface="Meiryo UI" panose="020B0604030504040204" pitchFamily="34" charset="-128"/>
                          <a:ea typeface="Meiryo UI" panose="020B0604030504040204" pitchFamily="34" charset="-128"/>
                          <a:cs typeface="Times New Roman" panose="02020603050405020304" pitchFamily="18" charset="0"/>
                          <a:hlinkClick r:id="rId6"/>
                        </a:rPr>
                        <a:t>https://www.hsa.gov.sg/medical-devices</a:t>
                      </a:r>
                      <a:endParaRPr lang="en-US" altLang="ja-JP" sz="1050" dirty="0">
                        <a:solidFill>
                          <a:srgbClr val="FF0000"/>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626851">
                <a:tc gridSpan="2">
                  <a:txBody>
                    <a:bodyPr/>
                    <a:lstStyle/>
                    <a:p>
                      <a:pPr algn="ctr" fontAlgn="ctr"/>
                      <a:r>
                        <a:rPr kumimoji="1" lang="ja-JP" altLang="en-US" sz="1100">
                          <a:solidFill>
                            <a:schemeClr val="bg1"/>
                          </a:solidFill>
                          <a:latin typeface="Meiryo UI" panose="020B0604030504040204" pitchFamily="34" charset="-128"/>
                          <a:ea typeface="Meiryo UI" panose="020B0604030504040204" pitchFamily="34" charset="-128"/>
                        </a:rPr>
                        <a:t>必要な許可の種類</a:t>
                      </a:r>
                      <a:endParaRPr kumimoji="1" lang="ja-JP" altLang="en-US" sz="110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a:r>
                        <a:rPr kumimoji="1" lang="ja-JP" altLang="en-US" sz="1050" dirty="0">
                          <a:latin typeface="Meiryo UI" panose="020B0604030504040204" pitchFamily="34" charset="-128"/>
                          <a:ea typeface="Meiryo UI" panose="020B0604030504040204" pitchFamily="34" charset="-128"/>
                          <a:cs typeface="Arial" panose="020B0604020202020204" pitchFamily="34" charset="0"/>
                        </a:rPr>
                        <a:t>医療機器を製造・輸入・販売するためには、販売業者ライセンスを取得する必要があり、以下の３種類がある</a:t>
                      </a:r>
                      <a:endParaRPr kumimoji="1" lang="en-US" altLang="ja-JP" sz="1050" dirty="0">
                        <a:latin typeface="Meiryo UI" panose="020B0604030504040204" pitchFamily="34" charset="-128"/>
                        <a:ea typeface="Meiryo UI" panose="020B0604030504040204" pitchFamily="34" charset="-128"/>
                        <a:cs typeface="Arial" panose="020B0604020202020204" pitchFamily="34" charset="0"/>
                      </a:endParaRPr>
                    </a:p>
                    <a:p>
                      <a:pPr fontAlgn="ctr"/>
                      <a:r>
                        <a:rPr kumimoji="1" lang="en-US" altLang="ja-JP" sz="1050" dirty="0">
                          <a:latin typeface="Meiryo UI"/>
                          <a:ea typeface="Meiryo UI"/>
                          <a:cs typeface="Arial"/>
                        </a:rPr>
                        <a:t>1)</a:t>
                      </a:r>
                      <a:r>
                        <a:rPr kumimoji="1" lang="ja-JP" altLang="en-US" sz="1050">
                          <a:latin typeface="Meiryo UI"/>
                          <a:ea typeface="Meiryo UI"/>
                          <a:cs typeface="Arial"/>
                        </a:rPr>
                        <a:t>輸入者ライセンス</a:t>
                      </a:r>
                      <a:r>
                        <a:rPr kumimoji="1" lang="en-US" altLang="ja-JP" sz="1050" dirty="0">
                          <a:latin typeface="Meiryo UI"/>
                          <a:ea typeface="Meiryo UI"/>
                          <a:cs typeface="Arial"/>
                        </a:rPr>
                        <a:t>(Importer’s </a:t>
                      </a:r>
                      <a:r>
                        <a:rPr kumimoji="1" lang="en-US" altLang="ja-JP" sz="1050" dirty="0">
                          <a:solidFill>
                            <a:schemeClr val="tx1"/>
                          </a:solidFill>
                          <a:latin typeface="Meiryo UI"/>
                          <a:ea typeface="Meiryo UI"/>
                          <a:cs typeface="Arial"/>
                        </a:rPr>
                        <a:t>License)</a:t>
                      </a:r>
                      <a:r>
                        <a:rPr kumimoji="1" lang="ja-JP" altLang="en-US" sz="1050">
                          <a:solidFill>
                            <a:schemeClr val="tx1"/>
                          </a:solidFill>
                          <a:latin typeface="Meiryo UI"/>
                          <a:ea typeface="Meiryo UI"/>
                          <a:cs typeface="Arial"/>
                        </a:rPr>
                        <a:t>・・・医療機器の輸入行為に対する許可</a:t>
                      </a:r>
                      <a:endParaRPr kumimoji="1" lang="en-US" altLang="ja-JP" sz="1050" dirty="0">
                        <a:solidFill>
                          <a:schemeClr val="tx1"/>
                        </a:solidFill>
                        <a:latin typeface="Meiryo UI"/>
                        <a:ea typeface="Meiryo UI"/>
                        <a:cs typeface="Arial"/>
                      </a:endParaRPr>
                    </a:p>
                    <a:p>
                      <a:pPr fontAlgn="ctr"/>
                      <a:r>
                        <a:rPr kumimoji="1" lang="en-US" altLang="ja-JP" sz="1050" dirty="0">
                          <a:latin typeface="Meiryo UI"/>
                          <a:ea typeface="Meiryo UI"/>
                          <a:cs typeface="Arial"/>
                        </a:rPr>
                        <a:t>2)</a:t>
                      </a:r>
                      <a:r>
                        <a:rPr kumimoji="1" lang="ja-JP" altLang="en-US" sz="1050">
                          <a:latin typeface="Meiryo UI"/>
                          <a:ea typeface="Meiryo UI"/>
                          <a:cs typeface="Arial"/>
                        </a:rPr>
                        <a:t>卸売業者ライセンス</a:t>
                      </a:r>
                      <a:r>
                        <a:rPr kumimoji="1" lang="en-US" altLang="ja-JP" sz="1050" dirty="0">
                          <a:latin typeface="Meiryo UI"/>
                          <a:ea typeface="Meiryo UI"/>
                          <a:cs typeface="Arial"/>
                        </a:rPr>
                        <a:t>(Wholesaler’s </a:t>
                      </a:r>
                      <a:r>
                        <a:rPr kumimoji="1" lang="en-US" altLang="ja-JP" sz="1050" dirty="0">
                          <a:solidFill>
                            <a:schemeClr val="tx1"/>
                          </a:solidFill>
                          <a:latin typeface="Meiryo UI"/>
                          <a:ea typeface="Meiryo UI"/>
                          <a:cs typeface="Arial"/>
                        </a:rPr>
                        <a:t>License)</a:t>
                      </a:r>
                      <a:r>
                        <a:rPr kumimoji="1" lang="ja-JP" altLang="en-US" sz="1050">
                          <a:solidFill>
                            <a:schemeClr val="tx1"/>
                          </a:solidFill>
                          <a:latin typeface="Meiryo UI"/>
                          <a:ea typeface="Meiryo UI"/>
                          <a:cs typeface="Arial"/>
                        </a:rPr>
                        <a:t>・・・国内の卸売（輸出を含む）に対する許可</a:t>
                      </a:r>
                      <a:endParaRPr kumimoji="1" lang="en-US" altLang="ja-JP" sz="1050" dirty="0">
                        <a:solidFill>
                          <a:schemeClr val="tx1"/>
                        </a:solidFill>
                        <a:latin typeface="Meiryo UI"/>
                        <a:ea typeface="Meiryo UI"/>
                        <a:cs typeface="Arial"/>
                      </a:endParaRPr>
                    </a:p>
                    <a:p>
                      <a:pPr fontAlgn="ctr"/>
                      <a:r>
                        <a:rPr kumimoji="1" lang="en-US" altLang="ja-JP" sz="1050" dirty="0">
                          <a:solidFill>
                            <a:schemeClr val="tx1"/>
                          </a:solidFill>
                          <a:latin typeface="Meiryo UI"/>
                          <a:ea typeface="Meiryo UI"/>
                          <a:cs typeface="Arial"/>
                        </a:rPr>
                        <a:t>3)</a:t>
                      </a:r>
                      <a:r>
                        <a:rPr kumimoji="1" lang="ja-JP" altLang="en-US" sz="1050">
                          <a:solidFill>
                            <a:schemeClr val="tx1"/>
                          </a:solidFill>
                          <a:latin typeface="Meiryo UI"/>
                          <a:ea typeface="Meiryo UI"/>
                          <a:cs typeface="Arial"/>
                        </a:rPr>
                        <a:t>製造業者ライセンス</a:t>
                      </a:r>
                      <a:r>
                        <a:rPr kumimoji="1" lang="en-US" altLang="ja-JP" sz="1050" dirty="0">
                          <a:solidFill>
                            <a:schemeClr val="tx1"/>
                          </a:solidFill>
                          <a:latin typeface="Meiryo UI"/>
                          <a:ea typeface="Meiryo UI"/>
                          <a:cs typeface="Arial"/>
                        </a:rPr>
                        <a:t>(Manufacturer’s License)</a:t>
                      </a:r>
                      <a:r>
                        <a:rPr kumimoji="1" lang="ja-JP" altLang="en-US" sz="1050">
                          <a:solidFill>
                            <a:schemeClr val="tx1"/>
                          </a:solidFill>
                          <a:latin typeface="Meiryo UI"/>
                          <a:ea typeface="Meiryo UI"/>
                          <a:cs typeface="Arial"/>
                        </a:rPr>
                        <a:t>・・・医療機器の製造や処理、市場へ供給する前の包装やラベリング活動に対する許可</a:t>
                      </a:r>
                      <a:endParaRPr kumimoji="1" lang="en-US" altLang="ja-JP" sz="1050" dirty="0">
                        <a:solidFill>
                          <a:schemeClr val="tx1"/>
                        </a:solidFill>
                        <a:latin typeface="Meiryo UI"/>
                        <a:ea typeface="Meiryo UI"/>
                        <a:cs typeface="Arial"/>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328351">
                <a:tc gridSpan="2">
                  <a:txBody>
                    <a:bodyPr/>
                    <a:lstStyle/>
                    <a:p>
                      <a:pPr algn="ctr" fontAlgn="ctr"/>
                      <a:r>
                        <a:rPr kumimoji="1" lang="zh-TW"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rPr>
                        <a:t>登録者</a:t>
                      </a:r>
                      <a:endParaRPr kumimoji="1" lang="en-US" altLang="zh-TW"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p>
                      <a:pPr algn="ctr" fontAlgn="ctr"/>
                      <a:r>
                        <a:rPr kumimoji="1" lang="en-US" altLang="ja-JP" sz="1100" b="1" dirty="0">
                          <a:solidFill>
                            <a:schemeClr val="bg1"/>
                          </a:solidFill>
                          <a:latin typeface="Meiryo UI" panose="020B0604030504040204" pitchFamily="34" charset="-128"/>
                          <a:ea typeface="Meiryo UI" panose="020B0604030504040204" pitchFamily="34" charset="-128"/>
                          <a:cs typeface="Arial" panose="020B0604020202020204" pitchFamily="34" charset="0"/>
                        </a:rPr>
                        <a:t>Registrant</a:t>
                      </a:r>
                      <a:endPar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050" b="0" i="0" u="none" strike="noStrike" kern="1200" cap="none" spc="0" normalizeH="0" baseline="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登録者とは当局へ医療機器の登録申請を行い、登録証を保持する責任をもつ者をいう。外国の製造業者はシンガポール国内に登録者</a:t>
                      </a:r>
                      <a:r>
                        <a:rPr kumimoji="1" lang="en-US" altLang="ja-JP" sz="1050" b="0" i="0" u="none" strike="noStrike" kern="1200" cap="none" spc="0" normalizeH="0" baseline="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Registrant)</a:t>
                      </a:r>
                      <a:r>
                        <a:rPr kumimoji="1" lang="ja-JP" altLang="en-US" sz="1050" b="0" i="0" u="none" strike="noStrike" kern="1200" cap="none" spc="0" normalizeH="0" baseline="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rPr>
                        <a:t>を指定し、その登録者が外国の製造業者に代わり当局へ製品登録をしなければならない。</a:t>
                      </a:r>
                      <a:endParaRPr kumimoji="1" lang="en-US" altLang="ja-JP" sz="1050" b="0" i="0" u="none" strike="noStrike" kern="1200" cap="none" spc="0" normalizeH="0" baseline="0" dirty="0">
                        <a:ln>
                          <a:noFill/>
                        </a:ln>
                        <a:solidFill>
                          <a:srgbClr val="000000"/>
                        </a:solidFill>
                        <a:effectLst/>
                        <a:uLnTx/>
                        <a:uFillTx/>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470138">
                <a:tc>
                  <a:txBody>
                    <a:bodyPr/>
                    <a:lstStyle/>
                    <a:p>
                      <a:pPr fontAlgn="ctr"/>
                      <a:endParaRPr lang="ja-JP" altLang="en-US" sz="110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solidFill>
                      <a:srgbClr val="3D6AA7"/>
                    </a:solidFill>
                  </a:tcPr>
                </a:tc>
                <a:tc>
                  <a:txBody>
                    <a:bodyPr/>
                    <a:lstStyle/>
                    <a:p>
                      <a:pPr algn="l" fontAlgn="ctr"/>
                      <a:r>
                        <a:rPr kumimoji="1" lang="ja-JP" altLang="en-US" sz="1100" b="1" dirty="0">
                          <a:solidFill>
                            <a:schemeClr val="bg1"/>
                          </a:solidFill>
                          <a:latin typeface="Meiryo UI" panose="020B0604030504040204" pitchFamily="34" charset="-128"/>
                          <a:ea typeface="Meiryo UI" panose="020B0604030504040204" pitchFamily="34" charset="-128"/>
                        </a:rPr>
                        <a:t>機器の分類</a:t>
                      </a:r>
                      <a:endPar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36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ja-JP" altLang="en-US" sz="1050" dirty="0">
                          <a:latin typeface="Meiryo UI"/>
                          <a:ea typeface="Meiryo UI"/>
                          <a:cs typeface="Arial"/>
                        </a:rPr>
                        <a:t>クラス</a:t>
                      </a:r>
                      <a:r>
                        <a:rPr lang="en-US" altLang="ja-JP" sz="1050" dirty="0">
                          <a:latin typeface="Meiryo UI"/>
                          <a:ea typeface="Meiryo UI"/>
                          <a:cs typeface="Arial"/>
                        </a:rPr>
                        <a:t>A, B, C, D</a:t>
                      </a:r>
                      <a:r>
                        <a:rPr lang="ja-JP" altLang="en-US" sz="1050" dirty="0">
                          <a:latin typeface="Meiryo UI"/>
                          <a:ea typeface="Meiryo UI"/>
                          <a:cs typeface="Arial"/>
                        </a:rPr>
                        <a:t>の４分類（クラス</a:t>
                      </a:r>
                      <a:r>
                        <a:rPr lang="en-US" altLang="ja-JP" sz="1050" dirty="0">
                          <a:latin typeface="Meiryo UI"/>
                          <a:ea typeface="Meiryo UI"/>
                          <a:cs typeface="Arial"/>
                        </a:rPr>
                        <a:t>A</a:t>
                      </a:r>
                      <a:r>
                        <a:rPr lang="ja-JP" altLang="en-US" sz="1050" dirty="0">
                          <a:latin typeface="Meiryo UI"/>
                          <a:ea typeface="Meiryo UI"/>
                          <a:cs typeface="Arial"/>
                        </a:rPr>
                        <a:t>の医療機器は登録が免除されており、</a:t>
                      </a:r>
                      <a:r>
                        <a:rPr lang="en-US" altLang="ja-JP" sz="1050" dirty="0">
                          <a:latin typeface="Meiryo UI"/>
                          <a:ea typeface="Meiryo UI"/>
                          <a:cs typeface="Arial"/>
                        </a:rPr>
                        <a:t>”Class A Medical Device Register”</a:t>
                      </a:r>
                      <a:r>
                        <a:rPr lang="ja-JP" altLang="en-US" sz="1050" dirty="0">
                          <a:latin typeface="Meiryo UI"/>
                          <a:ea typeface="Meiryo UI"/>
                          <a:cs typeface="Arial"/>
                        </a:rPr>
                        <a:t>のデータベースから輸入する製品をリスティングする。</a:t>
                      </a:r>
                      <a:r>
                        <a:rPr lang="en-US" altLang="ja-JP" sz="1050" dirty="0">
                          <a:latin typeface="Meiryo UI"/>
                          <a:ea typeface="Meiryo UI"/>
                          <a:cs typeface="Arial"/>
                        </a:rPr>
                        <a:t>) </a:t>
                      </a:r>
                      <a:r>
                        <a:rPr lang="en-US" altLang="ja-JP" sz="900" dirty="0">
                          <a:latin typeface="Meiryo UI"/>
                          <a:ea typeface="Meiryo UI"/>
                          <a:cs typeface="Arial"/>
                          <a:hlinkClick r:id="rId7"/>
                        </a:rPr>
                        <a:t>https://eservice.hsa.gov.sg/osc/portal/jsp/AA/choose.jsp</a:t>
                      </a:r>
                      <a:endParaRPr lang="en-US" altLang="ja-JP" sz="900" dirty="0">
                        <a:latin typeface="Meiryo UI"/>
                        <a:ea typeface="Meiryo UI"/>
                        <a:cs typeface="Arial"/>
                      </a:endParaRPr>
                    </a:p>
                    <a:p>
                      <a:pPr marL="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ja-JP" altLang="en-US" sz="1050" dirty="0">
                          <a:latin typeface="Meiryo UI" panose="020B0604030504040204" pitchFamily="34" charset="-128"/>
                          <a:ea typeface="Meiryo UI" panose="020B0604030504040204" pitchFamily="34" charset="-128"/>
                          <a:cs typeface="Arial" panose="020B0604020202020204" pitchFamily="34" charset="0"/>
                        </a:rPr>
                        <a:t>当局はクラス分類を製造業者が自ら行うことができるツールも公開している。　</a:t>
                      </a:r>
                      <a:r>
                        <a:rPr lang="en-US" altLang="ja-JP" sz="900" dirty="0">
                          <a:latin typeface="Meiryo UI" panose="020B0604030504040204" pitchFamily="34" charset="-128"/>
                          <a:ea typeface="Meiryo UI" panose="020B0604030504040204" pitchFamily="34" charset="-128"/>
                          <a:cs typeface="Arial" panose="020B0604020202020204" pitchFamily="34" charset="0"/>
                          <a:hlinkClick r:id="rId8"/>
                        </a:rPr>
                        <a:t>https://www.hsa.gov.sg/medical-devices/registration/risk-classification</a:t>
                      </a:r>
                      <a:endParaRPr lang="en-US" altLang="ja-JP" sz="900" dirty="0">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328351">
                <a:tc>
                  <a:txBody>
                    <a:bodyPr/>
                    <a:lstStyle/>
                    <a:p>
                      <a:pPr fontAlgn="ctr"/>
                      <a:endParaRPr lang="ja-JP" altLang="en-US" sz="110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solidFill>
                      <a:srgbClr val="3D6AA7"/>
                    </a:solidFill>
                  </a:tcPr>
                </a:tc>
                <a:tc>
                  <a:txBody>
                    <a:bodyPr/>
                    <a:lstStyle/>
                    <a:p>
                      <a:pPr algn="l" fontAlgn="ctr"/>
                      <a:r>
                        <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rPr>
                        <a:t>審査費用</a:t>
                      </a:r>
                      <a:endParaRPr kumimoji="1" lang="en-US" altLang="ja-JP"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p>
                      <a:pPr algn="l" fontAlgn="ctr"/>
                      <a:r>
                        <a:rPr kumimoji="1" lang="en-US" altLang="ja-JP" sz="1100" b="1" dirty="0">
                          <a:solidFill>
                            <a:schemeClr val="bg1"/>
                          </a:solidFill>
                          <a:latin typeface="Meiryo UI"/>
                          <a:ea typeface="Meiryo UI"/>
                          <a:cs typeface="Arial"/>
                        </a:rPr>
                        <a:t>(</a:t>
                      </a:r>
                      <a:r>
                        <a:rPr lang="en-US" altLang="ja-JP" sz="1100" b="1" dirty="0">
                          <a:solidFill>
                            <a:schemeClr val="bg1"/>
                          </a:solidFill>
                          <a:latin typeface="Meiryo UI"/>
                          <a:ea typeface="Meiryo UI"/>
                          <a:cs typeface="Arial"/>
                        </a:rPr>
                        <a:t>通貨：</a:t>
                      </a:r>
                      <a:r>
                        <a:rPr kumimoji="1" lang="en-US" altLang="ja-JP" sz="1100" b="1" dirty="0">
                          <a:solidFill>
                            <a:schemeClr val="bg1"/>
                          </a:solidFill>
                          <a:latin typeface="Meiryo UI"/>
                          <a:ea typeface="Meiryo UI"/>
                          <a:cs typeface="Arial"/>
                        </a:rPr>
                        <a:t>SGD)</a:t>
                      </a:r>
                      <a:endParaRPr kumimoji="1" lang="ja-JP" altLang="en-US" sz="1100" b="1" dirty="0">
                        <a:solidFill>
                          <a:schemeClr val="bg1"/>
                        </a:solidFill>
                        <a:latin typeface="Meiryo UI"/>
                        <a:ea typeface="Meiryo UI"/>
                        <a:cs typeface="Arial"/>
                      </a:endParaRPr>
                    </a:p>
                  </a:txBody>
                  <a:tcPr marL="36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lvl="0" indent="0" algn="l"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B</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 925〜5,300</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ドル、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C</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 3,090〜8,600</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ドル、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D: 5,560〜17,100</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ドル</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費用は条件によって変わる。下記、適合性評価参照</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p>
                    <a:p>
                      <a:pPr marL="0" marR="0" lvl="0" indent="0" algn="l" defTabSz="914400" rtl="0" eaLnBrk="1" fontAlgn="ctr" latinLnBrk="0" hangingPunct="1">
                        <a:lnSpc>
                          <a:spcPct val="100000"/>
                        </a:lnSpc>
                        <a:spcBef>
                          <a:spcPts val="0"/>
                        </a:spcBef>
                        <a:spcAft>
                          <a:spcPts val="0"/>
                        </a:spcAft>
                        <a:buClrTx/>
                        <a:buSzTx/>
                        <a:buFont typeface="Arial" pitchFamily="34" charset="0"/>
                        <a:buNone/>
                        <a:tabLst/>
                        <a:defRPr/>
                      </a:pP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年間登録維持費用：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B</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 36</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ドル、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C</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 62</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ドル、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D: 124</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ドル</a:t>
                      </a:r>
                      <a:endPar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773823757"/>
                  </a:ext>
                </a:extLst>
              </a:tr>
              <a:tr h="182490">
                <a:tc>
                  <a:txBody>
                    <a:bodyPr/>
                    <a:lstStyle/>
                    <a:p>
                      <a:pPr fontAlgn="ctr"/>
                      <a:endParaRPr lang="ja-JP" altLang="en-US" sz="110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solidFill>
                      <a:srgbClr val="3D6AA7"/>
                    </a:solidFill>
                  </a:tcPr>
                </a:tc>
                <a:tc>
                  <a:txBody>
                    <a:bodyPr/>
                    <a:lstStyle/>
                    <a:p>
                      <a:pPr algn="l" fontAlgn="ctr"/>
                      <a:r>
                        <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rPr>
                        <a:t>審査期間</a:t>
                      </a:r>
                    </a:p>
                  </a:txBody>
                  <a:tcPr marL="36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lvl="0" indent="0" algn="l"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B</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 </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即時</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160</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営業日、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C</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 </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即時</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220</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営業日、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D: 180〜310</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営業日</a:t>
                      </a: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914589199"/>
                  </a:ext>
                </a:extLst>
              </a:tr>
              <a:tr h="182490">
                <a:tc>
                  <a:txBody>
                    <a:bodyPr/>
                    <a:lstStyle/>
                    <a:p>
                      <a:pPr fontAlgn="ctr"/>
                      <a:endParaRPr lang="ja-JP" altLang="en-US" sz="110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B w="6350" cap="flat" cmpd="sng" algn="ctr">
                      <a:solidFill>
                        <a:srgbClr val="FFFFFF"/>
                      </a:solidFill>
                      <a:prstDash val="solid"/>
                      <a:round/>
                      <a:headEnd type="none" w="med" len="med"/>
                      <a:tailEnd type="none" w="med" len="med"/>
                    </a:lnB>
                    <a:solidFill>
                      <a:srgbClr val="3D6AA7"/>
                    </a:solidFill>
                  </a:tcPr>
                </a:tc>
                <a:tc>
                  <a:txBody>
                    <a:bodyPr/>
                    <a:lstStyle/>
                    <a:p>
                      <a:pPr algn="l" fontAlgn="ctr"/>
                      <a:r>
                        <a:rPr kumimoji="1" lang="ja-JP" altLang="en-US" sz="1100" b="1" dirty="0">
                          <a:solidFill>
                            <a:schemeClr val="bg1"/>
                          </a:solidFill>
                          <a:latin typeface="Meiryo UI" panose="020B0604030504040204" pitchFamily="34" charset="-128"/>
                          <a:ea typeface="Meiryo UI" panose="020B0604030504040204" pitchFamily="34" charset="-128"/>
                        </a:rPr>
                        <a:t>有効期限</a:t>
                      </a:r>
                      <a:endPar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36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毎年更新（市販後監視の仕組みを維持すること）</a:t>
                      </a: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2298454">
                <a:tc gridSpan="2">
                  <a:txBody>
                    <a:bodyPr/>
                    <a:lstStyle/>
                    <a:p>
                      <a:pPr algn="ctr" fontAlgn="ctr"/>
                      <a:r>
                        <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rPr>
                        <a:t>適合性評価</a:t>
                      </a:r>
                    </a:p>
                  </a:txBody>
                  <a:tcPr marL="0" marR="0" marT="0" marB="0" anchor="ct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indent="0" fontAlgn="ctr">
                        <a:buFont typeface="Arial" pitchFamily="34" charset="0"/>
                        <a:buNone/>
                      </a:pPr>
                      <a:r>
                        <a:rPr kumimoji="1" lang="ja-JP" altLang="en-US" sz="1050" dirty="0">
                          <a:latin typeface="Meiryo UI" panose="020B0604030504040204" pitchFamily="34" charset="-128"/>
                          <a:ea typeface="Meiryo UI" panose="020B0604030504040204" pitchFamily="34" charset="-128"/>
                          <a:cs typeface="Arial" panose="020B0604020202020204" pitchFamily="34" charset="0"/>
                        </a:rPr>
                        <a:t>クラス</a:t>
                      </a:r>
                      <a:r>
                        <a:rPr kumimoji="1" lang="en-US" altLang="ja-JP" sz="1050" dirty="0">
                          <a:latin typeface="Meiryo UI" panose="020B0604030504040204" pitchFamily="34" charset="-128"/>
                          <a:ea typeface="Meiryo UI" panose="020B0604030504040204" pitchFamily="34" charset="-128"/>
                          <a:cs typeface="Arial" panose="020B0604020202020204" pitchFamily="34" charset="0"/>
                        </a:rPr>
                        <a:t>B, C, D</a:t>
                      </a:r>
                      <a:r>
                        <a:rPr kumimoji="1" lang="ja-JP" altLang="en-US" sz="1050" dirty="0">
                          <a:latin typeface="Meiryo UI" panose="020B0604030504040204" pitchFamily="34" charset="-128"/>
                          <a:ea typeface="Meiryo UI" panose="020B0604030504040204" pitchFamily="34" charset="-128"/>
                          <a:cs typeface="Arial" panose="020B0604020202020204" pitchFamily="34" charset="0"/>
                        </a:rPr>
                        <a:t>機器の適合性評価について、当局は様々な簡易申請のルートを設けている</a:t>
                      </a:r>
                      <a:r>
                        <a:rPr kumimoji="1" lang="ja-JP" altLang="en-US" sz="1050" b="0" u="none" dirty="0">
                          <a:latin typeface="Meiryo UI" panose="020B0604030504040204" pitchFamily="34" charset="-128"/>
                          <a:ea typeface="Meiryo UI" panose="020B0604030504040204" pitchFamily="34" charset="-128"/>
                          <a:cs typeface="Arial" panose="020B0604020202020204" pitchFamily="34" charset="0"/>
                        </a:rPr>
                        <a:t>。製造業者は登録申請する医療機器のクラス分類毎にどの簡易ルートが適用できるか下記の基準で判断</a:t>
                      </a:r>
                      <a:r>
                        <a:rPr kumimoji="1" lang="ja-JP" altLang="en-US" sz="1050" b="0" u="none" dirty="0">
                          <a:solidFill>
                            <a:schemeClr val="tx1"/>
                          </a:solidFill>
                          <a:latin typeface="Meiryo UI" panose="020B0604030504040204" pitchFamily="34" charset="-128"/>
                          <a:ea typeface="Meiryo UI" panose="020B0604030504040204" pitchFamily="34" charset="-128"/>
                          <a:cs typeface="Arial" panose="020B0604020202020204" pitchFamily="34" charset="0"/>
                        </a:rPr>
                        <a:t>し、各ルートによって求められる書類をオンラインで申請する。</a:t>
                      </a:r>
                      <a:endParaRPr kumimoji="1" lang="en-US" altLang="ja-JP" sz="1050" b="0" u="none"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0" indent="0" fontAlgn="ctr">
                        <a:buFont typeface="Arial" pitchFamily="34" charset="0"/>
                        <a:buNone/>
                      </a:pP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基準＞</a:t>
                      </a:r>
                      <a:endPar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71755" lvl="1" indent="-171450" fontAlgn="ctr">
                        <a:buFont typeface="Wingdings" pitchFamily="2" charset="2"/>
                        <a:buChar char="n"/>
                      </a:pPr>
                      <a:r>
                        <a:rPr lang="ja-JP" altLang="en-US" sz="1050" dirty="0">
                          <a:effectLst/>
                          <a:latin typeface="Meiryo UI"/>
                          <a:ea typeface="Meiryo UI"/>
                          <a:cs typeface="Times New Roman"/>
                        </a:rPr>
                        <a:t>旧</a:t>
                      </a:r>
                      <a:r>
                        <a:rPr lang="en-US" altLang="ja-JP" sz="1050" dirty="0">
                          <a:effectLst/>
                          <a:latin typeface="Meiryo UI"/>
                          <a:ea typeface="Meiryo UI"/>
                          <a:cs typeface="Times New Roman"/>
                        </a:rPr>
                        <a:t>GHTF</a:t>
                      </a:r>
                      <a:r>
                        <a:rPr lang="ja-JP" altLang="en-US" sz="1050" dirty="0">
                          <a:effectLst/>
                          <a:latin typeface="Meiryo UI"/>
                          <a:ea typeface="Meiryo UI"/>
                          <a:cs typeface="Times New Roman"/>
                        </a:rPr>
                        <a:t>加盟国の許認可の有無とその数（旧</a:t>
                      </a:r>
                      <a:r>
                        <a:rPr lang="en-US" altLang="ja-JP" sz="1050" dirty="0">
                          <a:effectLst/>
                          <a:latin typeface="Meiryo UI"/>
                          <a:ea typeface="Meiryo UI"/>
                          <a:cs typeface="Times New Roman"/>
                        </a:rPr>
                        <a:t>GHTF</a:t>
                      </a:r>
                      <a:r>
                        <a:rPr lang="ja-JP" altLang="en-US" sz="1050" dirty="0">
                          <a:effectLst/>
                          <a:latin typeface="Meiryo UI"/>
                          <a:ea typeface="Meiryo UI"/>
                          <a:cs typeface="Times New Roman"/>
                        </a:rPr>
                        <a:t>加盟国：</a:t>
                      </a:r>
                      <a:r>
                        <a:rPr lang="ja-JP" altLang="en-US" sz="1050" dirty="0">
                          <a:solidFill>
                            <a:schemeClr val="tx1"/>
                          </a:solidFill>
                          <a:effectLst/>
                          <a:latin typeface="Meiryo UI"/>
                          <a:ea typeface="Meiryo UI"/>
                          <a:cs typeface="Times New Roman"/>
                        </a:rPr>
                        <a:t>オーストラリア（</a:t>
                      </a:r>
                      <a:r>
                        <a:rPr lang="en-US" altLang="ja-JP" sz="1050" dirty="0">
                          <a:solidFill>
                            <a:schemeClr val="tx1"/>
                          </a:solidFill>
                          <a:effectLst/>
                          <a:latin typeface="Meiryo UI"/>
                          <a:ea typeface="Meiryo UI"/>
                          <a:cs typeface="Times New Roman"/>
                        </a:rPr>
                        <a:t>TGA</a:t>
                      </a:r>
                      <a:r>
                        <a:rPr lang="ja-JP" altLang="en-US" sz="1050" dirty="0">
                          <a:solidFill>
                            <a:schemeClr val="tx1"/>
                          </a:solidFill>
                          <a:effectLst/>
                          <a:latin typeface="Meiryo UI"/>
                          <a:ea typeface="Meiryo UI"/>
                          <a:cs typeface="Times New Roman"/>
                        </a:rPr>
                        <a:t>）、カナダ</a:t>
                      </a:r>
                      <a:r>
                        <a:rPr lang="en-MY" altLang="ja-JP" sz="1100" dirty="0">
                          <a:solidFill>
                            <a:schemeClr val="tx1"/>
                          </a:solidFill>
                          <a:latin typeface="Meiryo UI"/>
                          <a:ea typeface="Meiryo UI"/>
                          <a:cs typeface="Times New Roman"/>
                        </a:rPr>
                        <a:t> </a:t>
                      </a:r>
                      <a:r>
                        <a:rPr lang="en-MY" altLang="ja-JP" sz="1050" dirty="0">
                          <a:solidFill>
                            <a:schemeClr val="tx1"/>
                          </a:solidFill>
                          <a:effectLst/>
                          <a:latin typeface="Meiryo UI"/>
                          <a:ea typeface="Meiryo UI"/>
                          <a:cs typeface="Times New Roman"/>
                        </a:rPr>
                        <a:t>(HC</a:t>
                      </a:r>
                      <a:r>
                        <a:rPr lang="en-MY" altLang="ja-JP" sz="1050" dirty="0">
                          <a:effectLst/>
                          <a:latin typeface="Meiryo UI"/>
                          <a:ea typeface="Meiryo UI"/>
                          <a:cs typeface="Times New Roman"/>
                        </a:rPr>
                        <a:t>)</a:t>
                      </a:r>
                      <a:r>
                        <a:rPr lang="ja-JP" altLang="en-US" sz="1050" dirty="0">
                          <a:effectLst/>
                          <a:latin typeface="Meiryo UI"/>
                          <a:ea typeface="Meiryo UI"/>
                          <a:cs typeface="Times New Roman"/>
                        </a:rPr>
                        <a:t>、日本、アメリカ</a:t>
                      </a:r>
                      <a:r>
                        <a:rPr lang="en-MY" altLang="ja-JP" sz="1050" dirty="0">
                          <a:effectLst/>
                          <a:latin typeface="Meiryo UI"/>
                          <a:ea typeface="Meiryo UI"/>
                          <a:cs typeface="Times New Roman"/>
                        </a:rPr>
                        <a:t> (US FDA)</a:t>
                      </a:r>
                      <a:r>
                        <a:rPr lang="ja-JP" altLang="en-US" sz="1050" dirty="0">
                          <a:effectLst/>
                          <a:latin typeface="Meiryo UI"/>
                          <a:ea typeface="Meiryo UI"/>
                          <a:cs typeface="Times New Roman"/>
                        </a:rPr>
                        <a:t>、及び欧州</a:t>
                      </a:r>
                      <a:r>
                        <a:rPr lang="en-MY" altLang="ja-JP" sz="1050" dirty="0">
                          <a:effectLst/>
                          <a:latin typeface="Meiryo UI"/>
                          <a:ea typeface="Meiryo UI"/>
                          <a:cs typeface="Times New Roman"/>
                        </a:rPr>
                        <a:t>(EU)）</a:t>
                      </a:r>
                      <a:endParaRPr kumimoji="1" lang="en-US" altLang="ja-JP" sz="1050" dirty="0">
                        <a:effectLst/>
                        <a:latin typeface="Meiryo UI"/>
                        <a:ea typeface="Meiryo UI"/>
                        <a:cs typeface="Times New Roman"/>
                      </a:endParaRPr>
                    </a:p>
                    <a:p>
                      <a:pPr marL="72000" lvl="1" indent="-171450" fontAlgn="ctr">
                        <a:buFont typeface="Wingdings" pitchFamily="2" charset="2"/>
                        <a:buChar char="n"/>
                      </a:pPr>
                      <a:r>
                        <a:rPr kumimoji="1" lang="ja-JP" altLang="en-US" sz="1050" dirty="0">
                          <a:latin typeface="Meiryo UI" panose="020B0604030504040204" pitchFamily="34" charset="-128"/>
                          <a:ea typeface="Meiryo UI" panose="020B0604030504040204" pitchFamily="34" charset="-128"/>
                          <a:cs typeface="Arial" panose="020B0604020202020204" pitchFamily="34" charset="0"/>
                        </a:rPr>
                        <a:t>シンガポールで製造販売する医療機器のラベルが旧</a:t>
                      </a:r>
                      <a:r>
                        <a:rPr kumimoji="1" lang="en-US" altLang="ja-JP" sz="1050" dirty="0">
                          <a:latin typeface="Meiryo UI" panose="020B0604030504040204" pitchFamily="34" charset="-128"/>
                          <a:ea typeface="Meiryo UI" panose="020B0604030504040204" pitchFamily="34" charset="-128"/>
                          <a:cs typeface="Arial" panose="020B0604020202020204" pitchFamily="34" charset="0"/>
                        </a:rPr>
                        <a:t>GHTF</a:t>
                      </a:r>
                      <a:r>
                        <a:rPr kumimoji="1" lang="ja-JP" altLang="en-US" sz="1050" dirty="0">
                          <a:latin typeface="Meiryo UI" panose="020B0604030504040204" pitchFamily="34" charset="-128"/>
                          <a:ea typeface="Meiryo UI" panose="020B0604030504040204" pitchFamily="34" charset="-128"/>
                          <a:cs typeface="Arial" panose="020B0604020202020204" pitchFamily="34" charset="0"/>
                        </a:rPr>
                        <a:t>加盟国で許可されたものと同一の内容かどうか</a:t>
                      </a:r>
                      <a:endParaRPr kumimoji="1" lang="en-US" altLang="ja-JP" sz="1050" dirty="0">
                        <a:latin typeface="Meiryo UI" panose="020B0604030504040204" pitchFamily="34" charset="-128"/>
                        <a:ea typeface="Meiryo UI" panose="020B0604030504040204" pitchFamily="34" charset="-128"/>
                        <a:cs typeface="Arial" panose="020B0604020202020204" pitchFamily="34" charset="0"/>
                      </a:endParaRPr>
                    </a:p>
                    <a:p>
                      <a:pPr marL="72000" lvl="1" indent="-171450" fontAlgn="ctr">
                        <a:buFont typeface="Wingdings" pitchFamily="2" charset="2"/>
                        <a:buChar char="n"/>
                      </a:pPr>
                      <a:r>
                        <a:rPr kumimoji="1" lang="ja-JP" altLang="en-US" sz="1050" dirty="0">
                          <a:latin typeface="Meiryo UI" panose="020B0604030504040204" pitchFamily="34" charset="-128"/>
                          <a:ea typeface="Meiryo UI" panose="020B0604030504040204" pitchFamily="34" charset="-128"/>
                          <a:cs typeface="Arial" panose="020B0604020202020204" pitchFamily="34" charset="0"/>
                        </a:rPr>
                        <a:t>旧</a:t>
                      </a:r>
                      <a:r>
                        <a:rPr kumimoji="1" lang="en-US" altLang="ja-JP" sz="1050" dirty="0">
                          <a:latin typeface="Meiryo UI" panose="020B0604030504040204" pitchFamily="34" charset="-128"/>
                          <a:ea typeface="Meiryo UI" panose="020B0604030504040204" pitchFamily="34" charset="-128"/>
                          <a:cs typeface="Arial" panose="020B0604020202020204" pitchFamily="34" charset="0"/>
                        </a:rPr>
                        <a:t>GHTF</a:t>
                      </a:r>
                      <a:r>
                        <a:rPr kumimoji="1" lang="ja-JP" altLang="en-US" sz="1050" dirty="0">
                          <a:latin typeface="Meiryo UI" panose="020B0604030504040204" pitchFamily="34" charset="-128"/>
                          <a:ea typeface="Meiryo UI" panose="020B0604030504040204" pitchFamily="34" charset="-128"/>
                          <a:cs typeface="Arial" panose="020B0604020202020204" pitchFamily="34" charset="0"/>
                        </a:rPr>
                        <a:t>加盟国での製造販売実績が最低３年以上あるかどうか</a:t>
                      </a:r>
                      <a:endParaRPr kumimoji="1" lang="en-US" altLang="ja-JP" sz="1050" dirty="0">
                        <a:latin typeface="Meiryo UI" panose="020B0604030504040204" pitchFamily="34" charset="-128"/>
                        <a:ea typeface="Meiryo UI" panose="020B0604030504040204" pitchFamily="34" charset="-128"/>
                        <a:cs typeface="Arial" panose="020B0604020202020204" pitchFamily="34" charset="0"/>
                      </a:endParaRPr>
                    </a:p>
                    <a:p>
                      <a:pPr marL="72000" lvl="1" indent="-171450" fontAlgn="ctr">
                        <a:buFont typeface="Wingdings" pitchFamily="2" charset="2"/>
                        <a:buChar char="n"/>
                      </a:pPr>
                      <a:r>
                        <a:rPr kumimoji="1" lang="ja-JP" altLang="en-US" sz="1050" dirty="0">
                          <a:latin typeface="Meiryo UI" panose="020B0604030504040204" pitchFamily="34" charset="-128"/>
                          <a:ea typeface="Meiryo UI" panose="020B0604030504040204" pitchFamily="34" charset="-128"/>
                          <a:cs typeface="Arial" panose="020B0604020202020204" pitchFamily="34" charset="0"/>
                        </a:rPr>
                        <a:t>製造販売</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する医療機器の安全有害事象が過去３年以内で無いかどうか（国は問わない</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p>
                    <a:p>
                      <a:pPr marL="72000" lvl="1" indent="-171450" fontAlgn="ctr">
                        <a:buFont typeface="Wingdings" pitchFamily="2" charset="2"/>
                        <a:buChar char="n"/>
                      </a:pP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当局（</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HSA)</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又は旧</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GHTF</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加盟国において過去に登録却下、又は登録を取り下げていないかどうか</a:t>
                      </a:r>
                      <a:endPar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0" lvl="1" indent="0" fontAlgn="ctr">
                        <a:buFont typeface="Wingdings" pitchFamily="2" charset="2"/>
                        <a:buNone/>
                      </a:pPr>
                      <a:r>
                        <a:rPr kumimoji="1" lang="en-US" altLang="ja-JP" sz="9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950" dirty="0">
                          <a:solidFill>
                            <a:schemeClr val="tx1"/>
                          </a:solidFill>
                          <a:latin typeface="Meiryo UI" panose="020B0604030504040204" pitchFamily="34" charset="-128"/>
                          <a:ea typeface="Meiryo UI" panose="020B0604030504040204" pitchFamily="34" charset="-128"/>
                          <a:cs typeface="Arial" panose="020B0604020202020204" pitchFamily="34" charset="0"/>
                        </a:rPr>
                        <a:t>簡易申請の</a:t>
                      </a:r>
                      <a:r>
                        <a:rPr kumimoji="1" lang="ja-JP" altLang="en-US" sz="950" dirty="0">
                          <a:latin typeface="Meiryo UI" panose="020B0604030504040204" pitchFamily="34" charset="-128"/>
                          <a:ea typeface="Meiryo UI" panose="020B0604030504040204" pitchFamily="34" charset="-128"/>
                          <a:cs typeface="Arial" panose="020B0604020202020204" pitchFamily="34" charset="0"/>
                        </a:rPr>
                        <a:t>適用ができない機器</a:t>
                      </a:r>
                      <a:endParaRPr kumimoji="1" lang="en-US" altLang="ja-JP" sz="950" dirty="0">
                        <a:latin typeface="Meiryo UI" panose="020B0604030504040204" pitchFamily="34" charset="-128"/>
                        <a:ea typeface="Meiryo UI" panose="020B0604030504040204" pitchFamily="34" charset="-128"/>
                        <a:cs typeface="Arial" panose="020B0604020202020204" pitchFamily="34" charset="0"/>
                      </a:endParaRPr>
                    </a:p>
                    <a:p>
                      <a:pPr marL="72000" lvl="1" indent="0" fontAlgn="ctr">
                        <a:buFont typeface="Wingdings" pitchFamily="2" charset="2"/>
                        <a:buNone/>
                      </a:pPr>
                      <a:r>
                        <a:rPr kumimoji="1" lang="ja-JP" altLang="en-US" sz="950" dirty="0">
                          <a:latin typeface="Meiryo UI" panose="020B0604030504040204" pitchFamily="34" charset="-128"/>
                          <a:ea typeface="Meiryo UI" panose="020B0604030504040204" pitchFamily="34" charset="-128"/>
                          <a:cs typeface="Arial" panose="020B0604020202020204" pitchFamily="34" charset="0"/>
                        </a:rPr>
                        <a:t>クラス</a:t>
                      </a:r>
                      <a:r>
                        <a:rPr kumimoji="1" lang="en-US" altLang="ja-JP" sz="950" dirty="0">
                          <a:latin typeface="Meiryo UI" panose="020B0604030504040204" pitchFamily="34" charset="-128"/>
                          <a:ea typeface="Meiryo UI" panose="020B0604030504040204" pitchFamily="34" charset="-128"/>
                          <a:cs typeface="Arial" panose="020B0604020202020204" pitchFamily="34" charset="0"/>
                        </a:rPr>
                        <a:t>C: </a:t>
                      </a:r>
                      <a:r>
                        <a:rPr lang="ja-JP" altLang="en-US" sz="950" dirty="0">
                          <a:effectLst/>
                          <a:latin typeface="Meiryo UI" panose="020B0604030504040204" pitchFamily="34" charset="-128"/>
                          <a:ea typeface="Meiryo UI" panose="020B0604030504040204" pitchFamily="34" charset="-128"/>
                          <a:cs typeface="Times New Roman" panose="02020603050405020304" pitchFamily="18" charset="0"/>
                        </a:rPr>
                        <a:t>股関節、膝関節、肩関節のインプラント（例：非生物活性金属</a:t>
                      </a:r>
                      <a:r>
                        <a:rPr lang="en-US" altLang="ja-JP" sz="950" dirty="0">
                          <a:effectLst/>
                          <a:latin typeface="Meiryo UI" panose="020B0604030504040204" pitchFamily="34" charset="-128"/>
                          <a:ea typeface="Meiryo UI" panose="020B0604030504040204" pitchFamily="34" charset="-128"/>
                          <a:cs typeface="Times New Roman" panose="02020603050405020304" pitchFamily="18" charset="0"/>
                        </a:rPr>
                        <a:t>/</a:t>
                      </a:r>
                      <a:r>
                        <a:rPr lang="ja-JP" altLang="en-US" sz="950" dirty="0">
                          <a:effectLst/>
                          <a:latin typeface="Meiryo UI" panose="020B0604030504040204" pitchFamily="34" charset="-128"/>
                          <a:ea typeface="Meiryo UI" panose="020B0604030504040204" pitchFamily="34" charset="-128"/>
                          <a:cs typeface="Times New Roman" panose="02020603050405020304" pitchFamily="18" charset="0"/>
                        </a:rPr>
                        <a:t>ポリマーインプラント）</a:t>
                      </a:r>
                      <a:endParaRPr kumimoji="1" lang="en-US" altLang="ja-JP" sz="950" dirty="0">
                        <a:latin typeface="Meiryo UI" panose="020B0604030504040204" pitchFamily="34" charset="-128"/>
                        <a:ea typeface="Meiryo UI" panose="020B0604030504040204" pitchFamily="34" charset="-128"/>
                        <a:cs typeface="Arial" panose="020B0604020202020204" pitchFamily="34" charset="0"/>
                      </a:endParaRPr>
                    </a:p>
                    <a:p>
                      <a:pPr marL="71755" lvl="1" indent="0" fontAlgn="ctr">
                        <a:buFont typeface="Wingdings" pitchFamily="2" charset="2"/>
                        <a:buNone/>
                      </a:pPr>
                      <a:r>
                        <a:rPr kumimoji="1" lang="ja-JP" altLang="en-US" sz="950" dirty="0">
                          <a:latin typeface="Meiryo UI"/>
                          <a:ea typeface="Meiryo UI"/>
                          <a:cs typeface="Arial"/>
                        </a:rPr>
                        <a:t>クラス</a:t>
                      </a:r>
                      <a:r>
                        <a:rPr kumimoji="1" lang="en-US" altLang="ja-JP" sz="950" dirty="0">
                          <a:latin typeface="Meiryo UI"/>
                          <a:ea typeface="Meiryo UI"/>
                          <a:cs typeface="Arial"/>
                        </a:rPr>
                        <a:t>D: </a:t>
                      </a:r>
                      <a:r>
                        <a:rPr lang="ja-JP" altLang="en-US" sz="950" dirty="0">
                          <a:effectLst/>
                          <a:latin typeface="Meiryo UI"/>
                          <a:ea typeface="Meiryo UI"/>
                          <a:cs typeface="Times New Roman"/>
                        </a:rPr>
                        <a:t>股関節、膝関節、肩関節のインプラント（例：非生物活性金属</a:t>
                      </a:r>
                      <a:r>
                        <a:rPr lang="en-US" altLang="ja-JP" sz="950" dirty="0">
                          <a:effectLst/>
                          <a:latin typeface="Meiryo UI"/>
                          <a:ea typeface="Meiryo UI"/>
                          <a:cs typeface="Times New Roman"/>
                        </a:rPr>
                        <a:t>/</a:t>
                      </a:r>
                      <a:r>
                        <a:rPr lang="ja-JP" altLang="en-US" sz="950" dirty="0">
                          <a:effectLst/>
                          <a:latin typeface="Meiryo UI"/>
                          <a:ea typeface="Meiryo UI"/>
                          <a:cs typeface="Times New Roman"/>
                        </a:rPr>
                        <a:t>ポリマーインプラント</a:t>
                      </a:r>
                      <a:r>
                        <a:rPr lang="en-US" altLang="ja-JP" sz="950" dirty="0">
                          <a:effectLst/>
                          <a:latin typeface="Meiryo UI"/>
                          <a:ea typeface="Meiryo UI"/>
                          <a:cs typeface="Times New Roman"/>
                        </a:rPr>
                        <a:t>/</a:t>
                      </a:r>
                      <a:r>
                        <a:rPr lang="ja-JP" altLang="en-US" sz="950" dirty="0">
                          <a:effectLst/>
                          <a:latin typeface="Meiryo UI"/>
                          <a:ea typeface="Meiryo UI"/>
                          <a:cs typeface="Times New Roman"/>
                        </a:rPr>
                        <a:t>生物活性インプラント）、能動体内埋め込み機器</a:t>
                      </a:r>
                      <a:r>
                        <a:rPr lang="en-US" altLang="ja-JP" sz="950" dirty="0">
                          <a:effectLst/>
                          <a:latin typeface="Meiryo UI"/>
                          <a:ea typeface="Meiryo UI"/>
                          <a:cs typeface="Times New Roman"/>
                        </a:rPr>
                        <a:t>(</a:t>
                      </a:r>
                      <a:r>
                        <a:rPr lang="ja-JP" altLang="en-US" sz="950" dirty="0">
                          <a:effectLst/>
                          <a:latin typeface="Meiryo UI"/>
                          <a:ea typeface="Meiryo UI"/>
                          <a:cs typeface="Times New Roman"/>
                        </a:rPr>
                        <a:t>ペースメーカー</a:t>
                      </a:r>
                      <a:r>
                        <a:rPr lang="en-US" altLang="ja-JP" sz="950" dirty="0">
                          <a:effectLst/>
                          <a:latin typeface="Meiryo UI"/>
                          <a:ea typeface="Meiryo UI"/>
                          <a:cs typeface="Times New Roman"/>
                        </a:rPr>
                        <a:t>)</a:t>
                      </a:r>
                      <a:r>
                        <a:rPr lang="ja-JP" altLang="en-US" sz="950" dirty="0">
                          <a:effectLst/>
                          <a:latin typeface="Meiryo UI"/>
                          <a:ea typeface="Meiryo UI"/>
                          <a:cs typeface="Times New Roman"/>
                        </a:rPr>
                        <a:t>、中枢循環又は中枢神経と直接接触するインプラント機器、医薬品組み込み機器、</a:t>
                      </a:r>
                      <a:r>
                        <a:rPr lang="en-US" altLang="ja-JP" sz="950" dirty="0">
                          <a:effectLst/>
                          <a:latin typeface="Meiryo UI"/>
                          <a:ea typeface="Meiryo UI"/>
                          <a:cs typeface="Times New Roman"/>
                        </a:rPr>
                        <a:t>HIV</a:t>
                      </a:r>
                      <a:r>
                        <a:rPr lang="ja-JP" altLang="en-US" sz="950" dirty="0">
                          <a:effectLst/>
                          <a:latin typeface="Meiryo UI"/>
                          <a:ea typeface="Meiryo UI"/>
                          <a:cs typeface="Times New Roman"/>
                        </a:rPr>
                        <a:t>検査</a:t>
                      </a:r>
                      <a:r>
                        <a:rPr lang="en-US" altLang="ja-JP" sz="950" dirty="0">
                          <a:effectLst/>
                          <a:latin typeface="Meiryo UI"/>
                          <a:ea typeface="Meiryo UI"/>
                          <a:cs typeface="Times New Roman"/>
                        </a:rPr>
                        <a:t>(</a:t>
                      </a:r>
                      <a:r>
                        <a:rPr lang="ja-JP" altLang="en-US" sz="950" dirty="0">
                          <a:effectLst/>
                          <a:latin typeface="Meiryo UI"/>
                          <a:ea typeface="Meiryo UI"/>
                          <a:cs typeface="Times New Roman"/>
                        </a:rPr>
                        <a:t>スクリーニング、診断</a:t>
                      </a:r>
                      <a:r>
                        <a:rPr lang="en-US" altLang="ja-JP" sz="950" dirty="0">
                          <a:effectLst/>
                          <a:latin typeface="Meiryo UI"/>
                          <a:ea typeface="Meiryo UI"/>
                          <a:cs typeface="Times New Roman"/>
                        </a:rPr>
                        <a:t>)</a:t>
                      </a:r>
                      <a:r>
                        <a:rPr lang="ja-JP" altLang="en-US" sz="950" dirty="0">
                          <a:effectLst/>
                          <a:latin typeface="Meiryo UI"/>
                          <a:ea typeface="Meiryo UI"/>
                          <a:cs typeface="Times New Roman"/>
                        </a:rPr>
                        <a:t>、血液・組織ドナー適合性試験</a:t>
                      </a:r>
                      <a:endParaRPr lang="en-US" altLang="ja-JP" sz="950" dirty="0">
                        <a:effectLst/>
                        <a:latin typeface="Meiryo UI"/>
                        <a:ea typeface="Meiryo UI"/>
                        <a:cs typeface="Times New Roman"/>
                      </a:endParaRPr>
                    </a:p>
                    <a:p>
                      <a:pPr marL="0" indent="0" fontAlgn="ctr">
                        <a:buFont typeface="Wingdings" pitchFamily="2" charset="2"/>
                        <a:buNone/>
                      </a:pPr>
                      <a:endParaRPr kumimoji="1" lang="en-US" altLang="ja-JP" sz="1050" dirty="0">
                        <a:effectLst/>
                        <a:latin typeface="Meiryo UI" panose="020B0604030504040204" pitchFamily="34" charset="-128"/>
                        <a:ea typeface="Meiryo UI" panose="020B0604030504040204" pitchFamily="34" charset="-128"/>
                        <a:cs typeface="Times New Roman" panose="02020603050405020304" pitchFamily="18" charset="0"/>
                      </a:endParaRPr>
                    </a:p>
                    <a:p>
                      <a:pPr marL="0" marR="0" lvl="0" indent="0" algn="l" defTabSz="914400" rtl="0" eaLnBrk="1" fontAlgn="ctr" latinLnBrk="0" hangingPunct="1">
                        <a:lnSpc>
                          <a:spcPct val="100000"/>
                        </a:lnSpc>
                        <a:spcBef>
                          <a:spcPts val="0"/>
                        </a:spcBef>
                        <a:spcAft>
                          <a:spcPts val="0"/>
                        </a:spcAft>
                        <a:buClrTx/>
                        <a:buSzTx/>
                        <a:buFont typeface="Wingdings" pitchFamily="2" charset="2"/>
                        <a:buNone/>
                        <a:tabLst/>
                        <a:defRPr/>
                      </a:pPr>
                      <a:r>
                        <a:rPr kumimoji="1" lang="en-US" altLang="ja-JP" sz="1050" dirty="0">
                          <a:latin typeface="Meiryo UI" panose="020B0604030504040204" pitchFamily="34" charset="-128"/>
                          <a:ea typeface="Meiryo UI" panose="020B0604030504040204" pitchFamily="34" charset="-128"/>
                          <a:cs typeface="Arial" panose="020B0604020202020204" pitchFamily="34" charset="0"/>
                        </a:rPr>
                        <a:t>※</a:t>
                      </a:r>
                      <a:r>
                        <a:rPr kumimoji="1" lang="ja-JP" altLang="en-US" sz="1050" dirty="0">
                          <a:latin typeface="Meiryo UI" panose="020B0604030504040204" pitchFamily="34" charset="-128"/>
                          <a:ea typeface="Meiryo UI" panose="020B0604030504040204" pitchFamily="34" charset="-128"/>
                          <a:cs typeface="Arial" panose="020B0604020202020204" pitchFamily="34" charset="0"/>
                        </a:rPr>
                        <a:t>適合性評価のルートによって審査費用、審査期間が異なる。詳細は当局のホームページを参照。</a:t>
                      </a:r>
                      <a:r>
                        <a:rPr kumimoji="1" lang="en-US" altLang="ja-JP" sz="900" dirty="0">
                          <a:latin typeface="Meiryo UI" panose="020B0604030504040204" pitchFamily="34" charset="-128"/>
                          <a:ea typeface="Meiryo UI" panose="020B0604030504040204" pitchFamily="34" charset="-128"/>
                          <a:cs typeface="Arial" panose="020B0604020202020204" pitchFamily="34" charset="0"/>
                          <a:hlinkClick r:id="rId9"/>
                        </a:rPr>
                        <a:t>https://www.hsa.gov.sg/medical-devices/fees</a:t>
                      </a:r>
                      <a:endParaRPr kumimoji="1" lang="en-US" altLang="ja-JP" sz="1050" dirty="0">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bl>
          </a:graphicData>
        </a:graphic>
      </p:graphicFrame>
      <p:sp>
        <p:nvSpPr>
          <p:cNvPr id="24" name="テキスト ボックス 23"/>
          <p:cNvSpPr txBox="1"/>
          <p:nvPr/>
        </p:nvSpPr>
        <p:spPr>
          <a:xfrm>
            <a:off x="200470" y="1061562"/>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Meiryo UI" panose="020B0604030504040204" pitchFamily="34" charset="-128"/>
                <a:ea typeface="Meiryo UI" panose="020B0604030504040204" pitchFamily="34" charset="-128"/>
                <a:cs typeface="Arial" panose="020B0604020202020204" pitchFamily="34" charset="0"/>
              </a:rPr>
              <a:t>シンガポールへの医療機器の輸入・販売には、健康科学庁</a:t>
            </a:r>
            <a:r>
              <a:rPr kumimoji="1" lang="en-US" altLang="ja-JP" sz="1400" dirty="0">
                <a:latin typeface="Meiryo UI" panose="020B0604030504040204" pitchFamily="34" charset="-128"/>
                <a:ea typeface="Meiryo UI" panose="020B0604030504040204" pitchFamily="34" charset="-128"/>
                <a:cs typeface="Arial" panose="020B0604020202020204" pitchFamily="34" charset="0"/>
              </a:rPr>
              <a:t>(HSA: Health Sciences Authority)</a:t>
            </a:r>
            <a:r>
              <a:rPr kumimoji="1" lang="ja-JP" altLang="en-US" sz="1400" dirty="0">
                <a:latin typeface="Meiryo UI" panose="020B0604030504040204" pitchFamily="34" charset="-128"/>
                <a:ea typeface="Meiryo UI" panose="020B0604030504040204" pitchFamily="34" charset="-128"/>
                <a:cs typeface="Arial" panose="020B0604020202020204" pitchFamily="34" charset="0"/>
              </a:rPr>
              <a:t>の許可が</a:t>
            </a:r>
            <a:r>
              <a:rPr lang="ja-JP" altLang="en-US" sz="1400" dirty="0">
                <a:latin typeface="Meiryo UI" panose="020B0604030504040204" pitchFamily="34" charset="-128"/>
                <a:ea typeface="Meiryo UI" panose="020B0604030504040204" pitchFamily="34" charset="-128"/>
                <a:cs typeface="Arial" panose="020B0604020202020204" pitchFamily="34" charset="0"/>
              </a:rPr>
              <a:t>必要となる。</a:t>
            </a:r>
          </a:p>
        </p:txBody>
      </p:sp>
      <p:sp>
        <p:nvSpPr>
          <p:cNvPr id="11" name="テキスト ボックス 33">
            <a:extLst>
              <a:ext uri="{FF2B5EF4-FFF2-40B4-BE49-F238E27FC236}">
                <a16:creationId xmlns:a16="http://schemas.microsoft.com/office/drawing/2014/main" id="{0EF44EA0-4707-4993-AC95-4C526C3FF8CE}"/>
              </a:ext>
            </a:extLst>
          </p:cNvPr>
          <p:cNvSpPr txBox="1"/>
          <p:nvPr/>
        </p:nvSpPr>
        <p:spPr>
          <a:xfrm>
            <a:off x="599546" y="6597352"/>
            <a:ext cx="8640960" cy="144016"/>
          </a:xfrm>
          <a:prstGeom prst="rect">
            <a:avLst/>
          </a:prstGeom>
          <a:noFill/>
        </p:spPr>
        <p:txBody>
          <a:bodyPr wrap="square" lIns="0" tIns="0" rIns="0" bIns="0" rtlCol="0">
            <a:noAutofit/>
          </a:bodyPr>
          <a:lstStyle/>
          <a:p>
            <a:pPr marL="444500" lvl="0" indent="-444500"/>
            <a:r>
              <a:rPr lang="ja-JP" altLang="en-US" sz="800" dirty="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海外医療機器規制レポート」 </a:t>
            </a:r>
            <a:r>
              <a:rPr lang="en-US" altLang="ja-JP" sz="800" dirty="0">
                <a:latin typeface="Meiryo UI" panose="020B0604030504040204" pitchFamily="34" charset="-128"/>
                <a:ea typeface="Meiryo UI" panose="020B0604030504040204" pitchFamily="34" charset="-128"/>
                <a:cs typeface="Arial" panose="020B0604020202020204" pitchFamily="34" charset="0"/>
              </a:rPr>
              <a:t>(p.20)</a:t>
            </a:r>
            <a:endParaRPr lang="ja-JP" altLang="en-US" sz="800" dirty="0">
              <a:latin typeface="Meiryo UI" panose="020B0604030504040204" pitchFamily="34" charset="-128"/>
              <a:ea typeface="Meiryo UI" panose="020B0604030504040204" pitchFamily="34" charset="-128"/>
              <a:cs typeface="Arial" panose="020B0604020202020204" pitchFamily="34" charset="0"/>
            </a:endParaRPr>
          </a:p>
        </p:txBody>
      </p:sp>
      <p:sp>
        <p:nvSpPr>
          <p:cNvPr id="14" name="タイトル 4">
            <a:extLst>
              <a:ext uri="{FF2B5EF4-FFF2-40B4-BE49-F238E27FC236}">
                <a16:creationId xmlns:a16="http://schemas.microsoft.com/office/drawing/2014/main" id="{9BDB1E7E-640F-49F5-9110-9DD6FC0814E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シンガポール／医療関連／制度</a:t>
            </a:r>
          </a:p>
        </p:txBody>
      </p:sp>
      <p:sp>
        <p:nvSpPr>
          <p:cNvPr id="12" name="テキスト ボックス 33">
            <a:extLst>
              <a:ext uri="{FF2B5EF4-FFF2-40B4-BE49-F238E27FC236}">
                <a16:creationId xmlns:a16="http://schemas.microsoft.com/office/drawing/2014/main" id="{FF4E1B52-18ED-47CB-BC01-0BC615CA9F00}"/>
              </a:ext>
            </a:extLst>
          </p:cNvPr>
          <p:cNvSpPr txBox="1"/>
          <p:nvPr/>
        </p:nvSpPr>
        <p:spPr>
          <a:xfrm>
            <a:off x="650363" y="6915200"/>
            <a:ext cx="8640960" cy="144016"/>
          </a:xfrm>
          <a:prstGeom prst="rect">
            <a:avLst/>
          </a:prstGeom>
          <a:noFill/>
        </p:spPr>
        <p:txBody>
          <a:bodyPr wrap="square" lIns="0" tIns="0" rIns="0" bIns="0" rtlCol="0">
            <a:noAutofit/>
          </a:bodyPr>
          <a:lstStyle/>
          <a:p>
            <a:pPr marL="444500" lvl="0" indent="-444500"/>
            <a:r>
              <a:rPr lang="en-US" altLang="ja-JP" sz="800" dirty="0">
                <a:latin typeface="Meiryo UI" panose="020B0604030504040204" pitchFamily="34" charset="-128"/>
                <a:ea typeface="Meiryo UI" panose="020B0604030504040204" pitchFamily="34" charset="-128"/>
                <a:cs typeface="Arial" panose="020B0604020202020204" pitchFamily="34" charset="0"/>
              </a:rPr>
              <a:t>https://www.meti.go.jp/policy/mono_info_service/healthcare/iryou/downloadfiles/pdf/r3fy_medicaldevice.pdf</a:t>
            </a:r>
            <a:endParaRPr lang="ja-JP" altLang="en-US" sz="800" dirty="0">
              <a:latin typeface="Meiryo UI" panose="020B0604030504040204" pitchFamily="34" charset="-128"/>
              <a:ea typeface="Meiryo UI" panose="020B0604030504040204" pitchFamily="34" charset="-128"/>
              <a:cs typeface="Arial" panose="020B0604020202020204" pitchFamily="34" charset="0"/>
            </a:endParaRPr>
          </a:p>
        </p:txBody>
      </p:sp>
    </p:spTree>
    <p:extLst>
      <p:ext uri="{BB962C8B-B14F-4D97-AF65-F5344CB8AC3E}">
        <p14:creationId xmlns:p14="http://schemas.microsoft.com/office/powerpoint/2010/main" val="31172674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973CA8FA-9B83-48B7-95DE-52E65A9B138F}"/>
              </a:ext>
            </a:extLst>
          </p:cNvPr>
          <p:cNvGraphicFramePr>
            <a:graphicFrameLocks noChangeAspect="1"/>
          </p:cNvGraphicFramePr>
          <p:nvPr>
            <p:custDataLst>
              <p:tags r:id="rId2"/>
            </p:custDataLst>
            <p:extLst>
              <p:ext uri="{D42A27DB-BD31-4B8C-83A1-F6EECF244321}">
                <p14:modId xmlns:p14="http://schemas.microsoft.com/office/powerpoint/2010/main" val="2879087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Slide" r:id="rId4" imgW="395" imgH="396" progId="TCLayout.ActiveDocument.1">
                  <p:embed/>
                </p:oleObj>
              </mc:Choice>
              <mc:Fallback>
                <p:oleObj name="think-cell Slide" r:id="rId4" imgW="395" imgH="396" progId="TCLayout.ActiveDocument.1">
                  <p:embed/>
                  <p:pic>
                    <p:nvPicPr>
                      <p:cNvPr id="17" name="Object 16" hidden="1">
                        <a:extLst>
                          <a:ext uri="{FF2B5EF4-FFF2-40B4-BE49-F238E27FC236}">
                            <a16:creationId xmlns:a16="http://schemas.microsoft.com/office/drawing/2014/main" id="{973CA8FA-9B83-48B7-95DE-52E65A9B138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p:cNvSpPr>
            <a:spLocks noGrp="1"/>
          </p:cNvSpPr>
          <p:nvPr>
            <p:ph type="body" sz="quarter" idx="15"/>
          </p:nvPr>
        </p:nvSpPr>
        <p:spPr/>
        <p:txBody>
          <a:bodyPr/>
          <a:lstStyle/>
          <a:p>
            <a:r>
              <a:rPr lang="ja-JP" altLang="en-US" b="1" dirty="0">
                <a:latin typeface="Meiryo UI" panose="020B0604030504040204" pitchFamily="34" charset="-128"/>
                <a:ea typeface="Meiryo UI" panose="020B0604030504040204" pitchFamily="34" charset="-128"/>
              </a:rPr>
              <a:t>医療機器に対する規制（</a:t>
            </a:r>
            <a:r>
              <a:rPr lang="en-US" altLang="ja-JP" b="1" dirty="0">
                <a:latin typeface="Meiryo UI" panose="020B0604030504040204" pitchFamily="34" charset="-128"/>
                <a:ea typeface="Meiryo UI" panose="020B0604030504040204" pitchFamily="34" charset="-128"/>
              </a:rPr>
              <a:t>2/2</a:t>
            </a:r>
            <a:r>
              <a:rPr lang="ja-JP" altLang="en-US" b="1" dirty="0">
                <a:latin typeface="Meiryo UI" panose="020B0604030504040204" pitchFamily="34" charset="-128"/>
                <a:ea typeface="Meiryo UI" panose="020B0604030504040204" pitchFamily="34" charset="-128"/>
              </a:rPr>
              <a:t>）</a:t>
            </a:r>
          </a:p>
        </p:txBody>
      </p:sp>
      <p:sp>
        <p:nvSpPr>
          <p:cNvPr id="4" name="テキスト ボックス 3"/>
          <p:cNvSpPr txBox="1"/>
          <p:nvPr/>
        </p:nvSpPr>
        <p:spPr>
          <a:xfrm>
            <a:off x="200472" y="1008739"/>
            <a:ext cx="9505056" cy="21332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Meiryo UI" panose="020B0604030504040204" pitchFamily="34" charset="-128"/>
                <a:ea typeface="Meiryo UI" panose="020B0604030504040204" pitchFamily="34" charset="-128"/>
                <a:cs typeface="Arial" panose="020B0604020202020204" pitchFamily="34" charset="0"/>
              </a:rPr>
              <a:t>クラス</a:t>
            </a:r>
            <a:r>
              <a:rPr lang="en-US" altLang="ja-JP" sz="1400" dirty="0">
                <a:latin typeface="Meiryo UI" panose="020B0604030504040204" pitchFamily="34" charset="-128"/>
                <a:ea typeface="Meiryo UI" panose="020B0604030504040204" pitchFamily="34" charset="-128"/>
                <a:cs typeface="Arial" panose="020B0604020202020204" pitchFamily="34" charset="0"/>
              </a:rPr>
              <a:t>B</a:t>
            </a:r>
            <a:r>
              <a:rPr lang="ja-JP" altLang="en-US" sz="1400">
                <a:latin typeface="Meiryo UI" panose="020B0604030504040204" pitchFamily="34" charset="-128"/>
                <a:ea typeface="Meiryo UI" panose="020B0604030504040204" pitchFamily="34" charset="-128"/>
                <a:cs typeface="Arial" panose="020B0604020202020204" pitchFamily="34" charset="0"/>
              </a:rPr>
              <a:t>、</a:t>
            </a:r>
            <a:r>
              <a:rPr lang="en-US" altLang="ja-JP" sz="1400" dirty="0">
                <a:latin typeface="Meiryo UI" panose="020B0604030504040204" pitchFamily="34" charset="-128"/>
                <a:ea typeface="Meiryo UI" panose="020B0604030504040204" pitchFamily="34" charset="-128"/>
                <a:cs typeface="Arial" panose="020B0604020202020204" pitchFamily="34" charset="0"/>
              </a:rPr>
              <a:t>C</a:t>
            </a:r>
            <a:r>
              <a:rPr lang="ja-JP" altLang="en-US" sz="1400">
                <a:latin typeface="Meiryo UI" panose="020B0604030504040204" pitchFamily="34" charset="-128"/>
                <a:ea typeface="Meiryo UI" panose="020B0604030504040204" pitchFamily="34" charset="-128"/>
                <a:cs typeface="Arial" panose="020B0604020202020204" pitchFamily="34" charset="0"/>
              </a:rPr>
              <a:t>、</a:t>
            </a:r>
            <a:r>
              <a:rPr lang="en-US" altLang="ja-JP" sz="1400" dirty="0">
                <a:latin typeface="Meiryo UI" panose="020B0604030504040204" pitchFamily="34" charset="-128"/>
                <a:ea typeface="Meiryo UI" panose="020B0604030504040204" pitchFamily="34" charset="-128"/>
                <a:cs typeface="Arial" panose="020B0604020202020204" pitchFamily="34" charset="0"/>
              </a:rPr>
              <a:t>D</a:t>
            </a:r>
            <a:r>
              <a:rPr lang="ja-JP" altLang="en-US" sz="1400">
                <a:latin typeface="Meiryo UI" panose="020B0604030504040204" pitchFamily="34" charset="-128"/>
                <a:ea typeface="Meiryo UI" panose="020B0604030504040204" pitchFamily="34" charset="-128"/>
                <a:cs typeface="Arial" panose="020B0604020202020204" pitchFamily="34" charset="0"/>
              </a:rPr>
              <a:t>の申請には簡易審査ルートが設けられている。ここでは本邦の薬事許認可を有する場合</a:t>
            </a:r>
            <a:r>
              <a:rPr lang="en-US" altLang="ja-JP" sz="1400" dirty="0">
                <a:latin typeface="Meiryo UI" panose="020B0604030504040204" pitchFamily="34" charset="-128"/>
                <a:ea typeface="Meiryo UI" panose="020B0604030504040204" pitchFamily="34" charset="-128"/>
                <a:cs typeface="Arial" panose="020B0604020202020204" pitchFamily="34" charset="0"/>
              </a:rPr>
              <a:t>(Abridged</a:t>
            </a:r>
            <a:r>
              <a:rPr lang="ja-JP" altLang="en-US" sz="1400">
                <a:latin typeface="Meiryo UI" panose="020B0604030504040204" pitchFamily="34" charset="-128"/>
                <a:ea typeface="Meiryo UI" panose="020B0604030504040204" pitchFamily="34" charset="-128"/>
                <a:cs typeface="Arial" panose="020B0604020202020204" pitchFamily="34" charset="0"/>
              </a:rPr>
              <a:t>審査</a:t>
            </a:r>
            <a:r>
              <a:rPr lang="en-US" altLang="ja-JP" sz="1400" dirty="0">
                <a:latin typeface="Meiryo UI" panose="020B0604030504040204" pitchFamily="34" charset="-128"/>
                <a:ea typeface="Meiryo UI" panose="020B0604030504040204" pitchFamily="34" charset="-128"/>
                <a:cs typeface="Arial" panose="020B0604020202020204" pitchFamily="34" charset="0"/>
              </a:rPr>
              <a:t>)</a:t>
            </a:r>
            <a:r>
              <a:rPr lang="ja-JP" altLang="en-US" sz="1400">
                <a:latin typeface="Meiryo UI" panose="020B0604030504040204" pitchFamily="34" charset="-128"/>
                <a:ea typeface="Meiryo UI" panose="020B0604030504040204" pitchFamily="34" charset="-128"/>
                <a:cs typeface="Arial" panose="020B0604020202020204" pitchFamily="34" charset="0"/>
              </a:rPr>
              <a:t>を例に示す。</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p:txBody>
      </p:sp>
      <p:grpSp>
        <p:nvGrpSpPr>
          <p:cNvPr id="5" name="グループ化 7"/>
          <p:cNvGrpSpPr/>
          <p:nvPr/>
        </p:nvGrpSpPr>
        <p:grpSpPr>
          <a:xfrm>
            <a:off x="411459" y="1375987"/>
            <a:ext cx="4320480" cy="273511"/>
            <a:chOff x="4803500" y="2113806"/>
            <a:chExt cx="5626916" cy="288032"/>
          </a:xfrm>
        </p:grpSpPr>
        <p:sp>
          <p:nvSpPr>
            <p:cNvPr id="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latin typeface="Meiryo UI" panose="020B0604030504040204" pitchFamily="34" charset="-128"/>
                  <a:ea typeface="Meiryo UI" panose="020B0604030504040204" pitchFamily="34" charset="-128"/>
                </a:rPr>
                <a:t>医療機器登録プロセス</a:t>
              </a:r>
            </a:p>
          </p:txBody>
        </p:sp>
        <p:cxnSp>
          <p:nvCxnSpPr>
            <p:cNvPr id="7" name="直線コネクタ 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8" name="角丸四角形 7"/>
          <p:cNvSpPr/>
          <p:nvPr/>
        </p:nvSpPr>
        <p:spPr>
          <a:xfrm>
            <a:off x="1856656" y="1720680"/>
            <a:ext cx="1440160" cy="324000"/>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HSA</a:t>
            </a:r>
            <a:r>
              <a:rPr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へ</a:t>
            </a: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オンライン</a:t>
            </a:r>
            <a:endPar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で申請</a:t>
            </a:r>
          </a:p>
        </p:txBody>
      </p:sp>
      <p:sp>
        <p:nvSpPr>
          <p:cNvPr id="9" name="角丸四角形 8"/>
          <p:cNvSpPr/>
          <p:nvPr/>
        </p:nvSpPr>
        <p:spPr>
          <a:xfrm>
            <a:off x="320489" y="2624384"/>
            <a:ext cx="1742594" cy="910375"/>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卸売業者ライセンス</a:t>
            </a:r>
            <a:endParaRPr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p>
            <a:pPr algn="ctr"/>
            <a:r>
              <a:rPr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Wholesaler’s License)</a:t>
            </a:r>
            <a:r>
              <a:rPr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を</a:t>
            </a:r>
            <a:endParaRPr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p>
            <a:pPr algn="ctr"/>
            <a:r>
              <a:rPr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持つ企業が</a:t>
            </a:r>
            <a:r>
              <a:rPr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HSA</a:t>
            </a:r>
            <a:r>
              <a:rPr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へ製品を</a:t>
            </a:r>
            <a:endParaRPr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p>
            <a:pPr algn="ctr"/>
            <a:r>
              <a:rPr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リスティング</a:t>
            </a:r>
            <a:endParaRPr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p>
            <a:pPr algn="ctr"/>
            <a:r>
              <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製品登録不要</a:t>
            </a:r>
            <a:r>
              <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a:t>
            </a:r>
            <a:endPar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1" name="角丸四角形 10"/>
          <p:cNvSpPr/>
          <p:nvPr/>
        </p:nvSpPr>
        <p:spPr>
          <a:xfrm>
            <a:off x="2471325" y="3264289"/>
            <a:ext cx="1440160" cy="520485"/>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クラス分類の確定</a:t>
            </a:r>
            <a:endPar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p>
            <a:pPr algn="ctr"/>
            <a:r>
              <a:rPr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Abridged(</a:t>
            </a:r>
            <a:r>
              <a:rPr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簡易</a:t>
            </a:r>
            <a:r>
              <a:rPr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a:t>
            </a:r>
            <a:r>
              <a:rPr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審査</a:t>
            </a:r>
            <a:r>
              <a:rPr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a:t>
            </a:r>
            <a:endPar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2" name="角丸四角形 11"/>
          <p:cNvSpPr/>
          <p:nvPr/>
        </p:nvSpPr>
        <p:spPr>
          <a:xfrm>
            <a:off x="2470163" y="4599832"/>
            <a:ext cx="1440160" cy="288032"/>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却下　または　登録</a:t>
            </a:r>
          </a:p>
        </p:txBody>
      </p:sp>
      <p:cxnSp>
        <p:nvCxnSpPr>
          <p:cNvPr id="18" name="カギ線コネクタ 17"/>
          <p:cNvCxnSpPr>
            <a:cxnSpLocks/>
          </p:cNvCxnSpPr>
          <p:nvPr/>
        </p:nvCxnSpPr>
        <p:spPr>
          <a:xfrm rot="5400000">
            <a:off x="1614449" y="1625826"/>
            <a:ext cx="540000" cy="1370549"/>
          </a:xfrm>
          <a:prstGeom prst="bentConnector3">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カギ線コネクタ 19"/>
          <p:cNvCxnSpPr/>
          <p:nvPr/>
        </p:nvCxnSpPr>
        <p:spPr>
          <a:xfrm rot="16200000" flipH="1">
            <a:off x="2610711" y="2000370"/>
            <a:ext cx="540000" cy="621387"/>
          </a:xfrm>
          <a:prstGeom prst="bentConnector3">
            <a:avLst>
              <a:gd name="adj1" fmla="val 50000"/>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8" name="角丸四角形 37"/>
          <p:cNvSpPr/>
          <p:nvPr/>
        </p:nvSpPr>
        <p:spPr>
          <a:xfrm>
            <a:off x="2723025" y="2603581"/>
            <a:ext cx="951541" cy="335747"/>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リスク分類申請</a:t>
            </a:r>
          </a:p>
        </p:txBody>
      </p:sp>
      <p:sp>
        <p:nvSpPr>
          <p:cNvPr id="39" name="正方形/長方形 38"/>
          <p:cNvSpPr/>
          <p:nvPr/>
        </p:nvSpPr>
        <p:spPr>
          <a:xfrm>
            <a:off x="432914" y="5041858"/>
            <a:ext cx="4762499" cy="1008111"/>
          </a:xfrm>
          <a:prstGeom prst="rect">
            <a:avLst/>
          </a:prstGeom>
          <a:noFill/>
          <a:extLst>
            <a:ext uri="{909E8E84-426E-40DD-AFC4-6F175D3DCCD1}">
              <a14:hiddenFill xmlns:a14="http://schemas.microsoft.com/office/drawing/2010/main">
                <a:gradFill flip="none" rotWithShape="1">
                  <a:gsLst>
                    <a:gs pos="0">
                      <a:srgbClr val="CCDAEC"/>
                    </a:gs>
                    <a:gs pos="67000">
                      <a:srgbClr val="CCDAEC"/>
                    </a:gs>
                    <a:gs pos="100000">
                      <a:schemeClr val="bg1"/>
                    </a:gs>
                  </a:gsLst>
                  <a:lin ang="16200000" scaled="1"/>
                  <a:tileRect/>
                </a:gradFill>
              </a14:hiddenFill>
            </a:ext>
          </a:extLst>
        </p:spPr>
        <p:txBody>
          <a:bodyPr lIns="0" tIns="72000" rIns="0" bIns="72000" anchor="t" anchorCtr="0">
            <a:noAutofit/>
          </a:bodyPr>
          <a:lstStyle/>
          <a:p>
            <a:pPr marL="123825" lvl="1" indent="-123825" algn="just" fontAlgn="ctr">
              <a:lnSpc>
                <a:spcPts val="1100"/>
              </a:lnSpc>
              <a:spcAft>
                <a:spcPts val="300"/>
              </a:spcAft>
              <a:buClr>
                <a:srgbClr val="5F8AC3"/>
              </a:buClr>
              <a:buSzPct val="80000"/>
              <a:buFont typeface="Wingdings" panose="05000000000000000000" pitchFamily="2" charset="2"/>
              <a:buChar char="l"/>
            </a:pPr>
            <a:r>
              <a:rPr lang="en-US" altLang="ja-JP" sz="1000" dirty="0">
                <a:latin typeface="Meiryo UI" panose="020B0604030504040204" pitchFamily="34" charset="-128"/>
                <a:ea typeface="Meiryo UI" panose="020B0604030504040204" pitchFamily="34" charset="-128"/>
              </a:rPr>
              <a:t>HSA</a:t>
            </a:r>
            <a:r>
              <a:rPr lang="ja-JP" altLang="en-US" sz="1000" dirty="0">
                <a:latin typeface="Meiryo UI" panose="020B0604030504040204" pitchFamily="34" charset="-128"/>
                <a:ea typeface="Meiryo UI" panose="020B0604030504040204" pitchFamily="34" charset="-128"/>
              </a:rPr>
              <a:t>の審査では、</a:t>
            </a:r>
            <a:r>
              <a:rPr lang="en-US" altLang="ja-JP" sz="1000" dirty="0">
                <a:latin typeface="Meiryo UI" panose="020B0604030504040204" pitchFamily="34" charset="-128"/>
                <a:ea typeface="Meiryo UI" panose="020B0604030504040204" pitchFamily="34" charset="-128"/>
              </a:rPr>
              <a:t>1</a:t>
            </a:r>
            <a:r>
              <a:rPr lang="ja-JP" altLang="en-US" sz="1000" dirty="0">
                <a:latin typeface="Meiryo UI" panose="020B0604030504040204" pitchFamily="34" charset="-128"/>
                <a:ea typeface="Meiryo UI" panose="020B0604030504040204" pitchFamily="34" charset="-128"/>
              </a:rPr>
              <a:t>回目の指摘事項へ回答後、</a:t>
            </a:r>
            <a:r>
              <a:rPr lang="en-US" altLang="ja-JP" sz="1000" dirty="0">
                <a:latin typeface="Meiryo UI" panose="020B0604030504040204" pitchFamily="34" charset="-128"/>
                <a:ea typeface="Meiryo UI" panose="020B0604030504040204" pitchFamily="34" charset="-128"/>
              </a:rPr>
              <a:t>2</a:t>
            </a:r>
            <a:r>
              <a:rPr lang="ja-JP" altLang="en-US" sz="1000" dirty="0">
                <a:latin typeface="Meiryo UI" panose="020B0604030504040204" pitchFamily="34" charset="-128"/>
                <a:ea typeface="Meiryo UI" panose="020B0604030504040204" pitchFamily="34" charset="-128"/>
              </a:rPr>
              <a:t>回目の指摘事項では新たな指摘が</a:t>
            </a:r>
            <a:endParaRPr lang="en-US" altLang="ja-JP" sz="1000" dirty="0">
              <a:latin typeface="Meiryo UI" panose="020B0604030504040204" pitchFamily="34" charset="-128"/>
              <a:ea typeface="Meiryo UI" panose="020B0604030504040204" pitchFamily="34" charset="-128"/>
            </a:endParaRPr>
          </a:p>
          <a:p>
            <a:pPr marL="0" lvl="1" algn="just" fontAlgn="ctr">
              <a:lnSpc>
                <a:spcPts val="1100"/>
              </a:lnSpc>
              <a:spcAft>
                <a:spcPts val="300"/>
              </a:spcAft>
              <a:buClr>
                <a:srgbClr val="5F8AC3"/>
              </a:buClr>
              <a:buSzPct val="80000"/>
            </a:pPr>
            <a:r>
              <a:rPr lang="en-US" altLang="ja-JP" sz="1000" dirty="0">
                <a:latin typeface="Meiryo UI" panose="020B0604030504040204" pitchFamily="34" charset="-128"/>
                <a:ea typeface="Meiryo UI" panose="020B0604030504040204" pitchFamily="34" charset="-128"/>
              </a:rPr>
              <a:t>   </a:t>
            </a:r>
            <a:r>
              <a:rPr lang="ja-JP" altLang="en-US" sz="1000" dirty="0">
                <a:latin typeface="Meiryo UI" panose="020B0604030504040204" pitchFamily="34" charset="-128"/>
                <a:ea typeface="Meiryo UI" panose="020B0604030504040204" pitchFamily="34" charset="-128"/>
              </a:rPr>
              <a:t>出される為、審査完了時期を予想するのが困難である。</a:t>
            </a:r>
            <a:endParaRPr lang="en-US" altLang="ja-JP" sz="1000" dirty="0">
              <a:latin typeface="Meiryo UI" panose="020B0604030504040204" pitchFamily="34" charset="-128"/>
              <a:ea typeface="Meiryo UI" panose="020B0604030504040204" pitchFamily="34" charset="-128"/>
            </a:endParaRPr>
          </a:p>
          <a:p>
            <a:pPr marL="0" lvl="1" algn="just" fontAlgn="ctr">
              <a:lnSpc>
                <a:spcPts val="1100"/>
              </a:lnSpc>
              <a:spcAft>
                <a:spcPts val="300"/>
              </a:spcAft>
              <a:buClr>
                <a:srgbClr val="5F8AC3"/>
              </a:buClr>
              <a:buSzPct val="80000"/>
            </a:pPr>
            <a:r>
              <a:rPr lang="en-US" altLang="ja-JP" sz="1000" dirty="0">
                <a:latin typeface="Meiryo UI" panose="020B0604030504040204" pitchFamily="34" charset="-128"/>
                <a:ea typeface="Meiryo UI" panose="020B0604030504040204" pitchFamily="34" charset="-128"/>
              </a:rPr>
              <a:t>   </a:t>
            </a:r>
            <a:r>
              <a:rPr lang="ja-JP" altLang="en-US" sz="1000" dirty="0">
                <a:latin typeface="Meiryo UI" panose="020B0604030504040204" pitchFamily="34" charset="-128"/>
                <a:ea typeface="Meiryo UI" panose="020B0604030504040204" pitchFamily="34" charset="-128"/>
              </a:rPr>
              <a:t>また、回答までの期間は</a:t>
            </a:r>
            <a:r>
              <a:rPr lang="en-US" altLang="ja-JP" sz="1000" dirty="0">
                <a:latin typeface="Meiryo UI" panose="020B0604030504040204" pitchFamily="34" charset="-128"/>
                <a:ea typeface="Meiryo UI" panose="020B0604030504040204" pitchFamily="34" charset="-128"/>
              </a:rPr>
              <a:t>1〜2</a:t>
            </a:r>
            <a:r>
              <a:rPr lang="ja-JP" altLang="en-US" sz="1000" dirty="0">
                <a:latin typeface="Meiryo UI" panose="020B0604030504040204" pitchFamily="34" charset="-128"/>
                <a:ea typeface="Meiryo UI" panose="020B0604030504040204" pitchFamily="34" charset="-128"/>
              </a:rPr>
              <a:t>ヶ月程度を設定されることが一般的である。</a:t>
            </a:r>
            <a:endParaRPr lang="en-US" altLang="ja-JP" sz="1000" dirty="0">
              <a:latin typeface="Meiryo UI" panose="020B0604030504040204" pitchFamily="34" charset="-128"/>
              <a:ea typeface="Meiryo UI" panose="020B0604030504040204" pitchFamily="34" charset="-128"/>
            </a:endParaRPr>
          </a:p>
          <a:p>
            <a:pPr marL="123825" lvl="1" indent="-123825" algn="just" fontAlgn="ctr">
              <a:lnSpc>
                <a:spcPts val="1100"/>
              </a:lnSpc>
              <a:spcAft>
                <a:spcPts val="300"/>
              </a:spcAft>
              <a:buClr>
                <a:srgbClr val="5F8AC3"/>
              </a:buClr>
              <a:buSzPct val="80000"/>
              <a:buFont typeface="Wingdings" panose="05000000000000000000" pitchFamily="2" charset="2"/>
              <a:buChar char="l"/>
            </a:pPr>
            <a:r>
              <a:rPr lang="ja-JP" altLang="en-US" sz="1000" dirty="0">
                <a:latin typeface="Meiryo UI" panose="020B0604030504040204" pitchFamily="34" charset="-128"/>
                <a:ea typeface="Meiryo UI" panose="020B0604030504040204" pitchFamily="34" charset="-128"/>
              </a:rPr>
              <a:t>上記の審査期間は申請者の回答に要する期間は含まれていない。</a:t>
            </a:r>
            <a:endParaRPr lang="en-US" altLang="ja-JP" sz="1000" dirty="0">
              <a:latin typeface="Meiryo UI" panose="020B0604030504040204" pitchFamily="34" charset="-128"/>
              <a:ea typeface="Meiryo UI" panose="020B0604030504040204" pitchFamily="34" charset="-128"/>
            </a:endParaRPr>
          </a:p>
          <a:p>
            <a:pPr marL="123825" lvl="1" indent="-123825" algn="just" fontAlgn="ctr">
              <a:lnSpc>
                <a:spcPts val="1100"/>
              </a:lnSpc>
              <a:spcAft>
                <a:spcPts val="300"/>
              </a:spcAft>
              <a:buClr>
                <a:srgbClr val="5F8AC3"/>
              </a:buClr>
              <a:buSzPct val="80000"/>
              <a:buFont typeface="Wingdings" panose="05000000000000000000" pitchFamily="2" charset="2"/>
              <a:buChar char="l"/>
            </a:pPr>
            <a:r>
              <a:rPr lang="ja-JP" altLang="en-US" sz="1000" dirty="0">
                <a:latin typeface="Meiryo UI" panose="020B0604030504040204" pitchFamily="34" charset="-128"/>
                <a:ea typeface="Meiryo UI" panose="020B0604030504040204" pitchFamily="34" charset="-128"/>
              </a:rPr>
              <a:t>審査期間は目安であり記載の期間より時間がかかる場合もある。</a:t>
            </a:r>
            <a:endParaRPr lang="en-US" altLang="ja-JP" sz="1000" dirty="0">
              <a:latin typeface="Meiryo UI" panose="020B0604030504040204" pitchFamily="34" charset="-128"/>
              <a:ea typeface="Meiryo UI" panose="020B0604030504040204" pitchFamily="34" charset="-128"/>
            </a:endParaRPr>
          </a:p>
          <a:p>
            <a:pPr marL="123825" lvl="1" indent="-123825" algn="just" fontAlgn="ctr">
              <a:lnSpc>
                <a:spcPts val="1100"/>
              </a:lnSpc>
              <a:spcAft>
                <a:spcPts val="300"/>
              </a:spcAft>
              <a:buClr>
                <a:srgbClr val="5F8AC3"/>
              </a:buClr>
              <a:buSzPct val="80000"/>
              <a:buFont typeface="Wingdings" panose="05000000000000000000" pitchFamily="2" charset="2"/>
              <a:buChar char="l"/>
            </a:pPr>
            <a:endParaRPr lang="en-US" altLang="ja-JP" sz="1000" dirty="0">
              <a:latin typeface="Meiryo UI" panose="020B0604030504040204" pitchFamily="34" charset="-128"/>
              <a:ea typeface="Meiryo UI" panose="020B0604030504040204" pitchFamily="34" charset="-128"/>
            </a:endParaRPr>
          </a:p>
          <a:p>
            <a:pPr marL="123825" lvl="1" indent="-123825" algn="just" fontAlgn="ctr">
              <a:lnSpc>
                <a:spcPts val="1100"/>
              </a:lnSpc>
              <a:spcAft>
                <a:spcPts val="300"/>
              </a:spcAft>
              <a:buClr>
                <a:srgbClr val="5F8AC3"/>
              </a:buClr>
              <a:buSzPct val="80000"/>
              <a:buFont typeface="Wingdings" panose="05000000000000000000" pitchFamily="2" charset="2"/>
              <a:buChar char="l"/>
            </a:pPr>
            <a:r>
              <a:rPr lang="ja-JP" altLang="en-US" sz="1000" dirty="0">
                <a:latin typeface="Meiryo UI" panose="020B0604030504040204" pitchFamily="34" charset="-128"/>
                <a:ea typeface="Meiryo UI" panose="020B0604030504040204" pitchFamily="34" charset="-128"/>
              </a:rPr>
              <a:t>中古品の医療機器はシンガポールへの輸入は禁止されている。</a:t>
            </a:r>
            <a:endParaRPr lang="en-US" altLang="ja-JP" sz="1000" dirty="0">
              <a:latin typeface="Meiryo UI" panose="020B0604030504040204" pitchFamily="34" charset="-128"/>
              <a:ea typeface="Meiryo UI" panose="020B0604030504040204" pitchFamily="34" charset="-128"/>
            </a:endParaRPr>
          </a:p>
          <a:p>
            <a:pPr marL="0" lvl="1" algn="just" fontAlgn="ctr">
              <a:lnSpc>
                <a:spcPts val="1100"/>
              </a:lnSpc>
              <a:spcAft>
                <a:spcPts val="300"/>
              </a:spcAft>
              <a:buClr>
                <a:srgbClr val="5F8AC3"/>
              </a:buClr>
              <a:buSzPct val="80000"/>
            </a:pPr>
            <a:r>
              <a:rPr lang="ja-JP" altLang="en-US" sz="1000" dirty="0">
                <a:latin typeface="Meiryo UI" panose="020B0604030504040204" pitchFamily="34" charset="-128"/>
                <a:ea typeface="Meiryo UI" panose="020B0604030504040204" pitchFamily="34" charset="-128"/>
              </a:rPr>
              <a:t>但し、改装された医療機器の流通は可能だが、民間の病院、クリニックに限定されている。</a:t>
            </a:r>
          </a:p>
        </p:txBody>
      </p:sp>
      <p:grpSp>
        <p:nvGrpSpPr>
          <p:cNvPr id="40" name="グループ化 7"/>
          <p:cNvGrpSpPr/>
          <p:nvPr/>
        </p:nvGrpSpPr>
        <p:grpSpPr>
          <a:xfrm>
            <a:off x="5169024" y="1359394"/>
            <a:ext cx="4736976" cy="288032"/>
            <a:chOff x="4803500" y="2113806"/>
            <a:chExt cx="6169353" cy="288032"/>
          </a:xfrm>
        </p:grpSpPr>
        <p:sp>
          <p:nvSpPr>
            <p:cNvPr id="41" name="Rectangle 6"/>
            <p:cNvSpPr>
              <a:spLocks noChangeArrowheads="1"/>
            </p:cNvSpPr>
            <p:nvPr/>
          </p:nvSpPr>
          <p:spPr bwMode="auto">
            <a:xfrm>
              <a:off x="4803500" y="2113806"/>
              <a:ext cx="616935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dirty="0">
                  <a:latin typeface="Meiryo UI" panose="020B0604030504040204" pitchFamily="34" charset="-128"/>
                  <a:ea typeface="Meiryo UI" panose="020B0604030504040204" pitchFamily="34" charset="-128"/>
                </a:rPr>
                <a:t>医療機器登録申請に必要な書類</a:t>
              </a:r>
              <a:r>
                <a:rPr lang="en-US" altLang="ja-JP" sz="1000" b="1" dirty="0">
                  <a:latin typeface="Meiryo UI" panose="020B0604030504040204" pitchFamily="34" charset="-128"/>
                  <a:ea typeface="Meiryo UI" panose="020B0604030504040204" pitchFamily="34" charset="-128"/>
                </a:rPr>
                <a:t>(ASEAN</a:t>
              </a:r>
              <a:r>
                <a:rPr lang="ja-JP" altLang="en-US" sz="1000" b="1" dirty="0">
                  <a:latin typeface="Meiryo UI" panose="020B0604030504040204" pitchFamily="34" charset="-128"/>
                  <a:ea typeface="Meiryo UI" panose="020B0604030504040204" pitchFamily="34" charset="-128"/>
                </a:rPr>
                <a:t>共通申請様式</a:t>
              </a:r>
              <a:r>
                <a:rPr lang="en-US" altLang="ja-JP" sz="1000" b="1" dirty="0">
                  <a:latin typeface="Meiryo UI" panose="020B0604030504040204" pitchFamily="34" charset="-128"/>
                  <a:ea typeface="Meiryo UI" panose="020B0604030504040204" pitchFamily="34" charset="-128"/>
                </a:rPr>
                <a:t>CSDT</a:t>
              </a:r>
              <a:r>
                <a:rPr lang="ja-JP" altLang="en-US" sz="1000" b="1" dirty="0">
                  <a:latin typeface="Meiryo UI" panose="020B0604030504040204" pitchFamily="34" charset="-128"/>
                  <a:ea typeface="Meiryo UI" panose="020B0604030504040204" pitchFamily="34" charset="-128"/>
                </a:rPr>
                <a:t>に基づく</a:t>
              </a:r>
              <a:r>
                <a:rPr lang="en-US" altLang="ja-JP" sz="1000" b="1" dirty="0">
                  <a:latin typeface="Meiryo UI" panose="020B0604030504040204" pitchFamily="34" charset="-128"/>
                  <a:ea typeface="Meiryo UI" panose="020B0604030504040204" pitchFamily="34" charset="-128"/>
                </a:rPr>
                <a:t>)</a:t>
              </a:r>
              <a:endParaRPr lang="ja-JP" altLang="en-US" sz="1000" b="1" dirty="0">
                <a:latin typeface="Meiryo UI" panose="020B0604030504040204" pitchFamily="34" charset="-128"/>
                <a:ea typeface="Meiryo UI" panose="020B0604030504040204" pitchFamily="34" charset="-128"/>
              </a:endParaRPr>
            </a:p>
          </p:txBody>
        </p:sp>
        <p:cxnSp>
          <p:nvCxnSpPr>
            <p:cNvPr id="42" name="直線コネクタ 41"/>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43" name="角丸四角形 42"/>
          <p:cNvSpPr/>
          <p:nvPr/>
        </p:nvSpPr>
        <p:spPr>
          <a:xfrm>
            <a:off x="5286050" y="1819203"/>
            <a:ext cx="4419476" cy="4392488"/>
          </a:xfrm>
          <a:prstGeom prst="roundRect">
            <a:avLst>
              <a:gd name="adj" fmla="val 1969"/>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rtlCol="0" anchor="t"/>
          <a:lstStyle/>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エグザクティブサマリー</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基本要件のチェックリスト</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適合宣言書</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機器概要、設計検証、妥当性確認のサマリー文書</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前臨床試験情報（滅菌バリデーション、製品寿命に関する試験等）</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設計検証、妥当性確認の詳細情報</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全臨床試験に関連する試験報告書一式（例：物性試験、化学性試験、生体適合性試験、動物試験、ソフトウェアバリデーション等）</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滅菌バリデーション（該当する場合）</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製品寿命に関する試験データ</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臨床評価報告書（参照した文献一式を含む）</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委任状、機器のラベル、リスク分析</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製造業者と滅菌製造者（該当する場合）の名称と住所</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品質マネジメントシステムの証明（少なくとも下記から一つ）　　　　　　</a:t>
            </a:r>
            <a:r>
              <a:rPr lang="ja-JP" altLang="en-US" sz="8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lang="en-US" altLang="ja-JP" sz="800" dirty="0">
                <a:solidFill>
                  <a:schemeClr val="tx1"/>
                </a:solidFill>
                <a:latin typeface="Meiryo UI" panose="020B0604030504040204" pitchFamily="34" charset="-128"/>
                <a:ea typeface="Meiryo UI" panose="020B0604030504040204" pitchFamily="34" charset="-128"/>
                <a:cs typeface="Arial" panose="020B0604020202020204" pitchFamily="34" charset="0"/>
              </a:rPr>
              <a:t>ISO13485</a:t>
            </a:r>
            <a:r>
              <a:rPr lang="ja-JP" altLang="en-US" sz="800" dirty="0">
                <a:solidFill>
                  <a:schemeClr val="tx1"/>
                </a:solidFill>
                <a:latin typeface="Meiryo UI" panose="020B0604030504040204" pitchFamily="34" charset="-128"/>
                <a:ea typeface="Meiryo UI" panose="020B0604030504040204" pitchFamily="34" charset="-128"/>
                <a:cs typeface="Arial" panose="020B0604020202020204" pitchFamily="34" charset="0"/>
              </a:rPr>
              <a:t>、アメリカ</a:t>
            </a:r>
            <a:r>
              <a:rPr lang="en-US" altLang="ja-JP" sz="800" dirty="0">
                <a:solidFill>
                  <a:schemeClr val="tx1"/>
                </a:solidFill>
                <a:latin typeface="Meiryo UI" panose="020B0604030504040204" pitchFamily="34" charset="-128"/>
                <a:ea typeface="Meiryo UI" panose="020B0604030504040204" pitchFamily="34" charset="-128"/>
                <a:cs typeface="Arial" panose="020B0604020202020204" pitchFamily="34" charset="0"/>
              </a:rPr>
              <a:t>FDA Quality System Regulations</a:t>
            </a:r>
            <a:r>
              <a:rPr lang="ja-JP" altLang="en-US" sz="800" dirty="0">
                <a:solidFill>
                  <a:schemeClr val="tx1"/>
                </a:solidFill>
                <a:latin typeface="Meiryo UI" panose="020B0604030504040204" pitchFamily="34" charset="-128"/>
                <a:ea typeface="Meiryo UI" panose="020B0604030504040204" pitchFamily="34" charset="-128"/>
                <a:cs typeface="Arial" panose="020B0604020202020204" pitchFamily="34" charset="0"/>
              </a:rPr>
              <a:t>、日本　</a:t>
            </a:r>
            <a:r>
              <a:rPr lang="en-US" altLang="ja-JP" sz="800" dirty="0">
                <a:solidFill>
                  <a:schemeClr val="tx1"/>
                </a:solidFill>
                <a:latin typeface="Meiryo UI" panose="020B0604030504040204" pitchFamily="34" charset="-128"/>
                <a:ea typeface="Meiryo UI" panose="020B0604030504040204" pitchFamily="34" charset="-128"/>
                <a:cs typeface="Arial" panose="020B0604020202020204" pitchFamily="34" charset="0"/>
              </a:rPr>
              <a:t>QMS</a:t>
            </a:r>
            <a:r>
              <a:rPr lang="ja-JP" altLang="en-US" sz="800" dirty="0">
                <a:solidFill>
                  <a:schemeClr val="tx1"/>
                </a:solidFill>
                <a:latin typeface="Meiryo UI" panose="020B0604030504040204" pitchFamily="34" charset="-128"/>
                <a:ea typeface="Meiryo UI" panose="020B0604030504040204" pitchFamily="34" charset="-128"/>
                <a:cs typeface="Arial" panose="020B0604020202020204" pitchFamily="34" charset="0"/>
              </a:rPr>
              <a:t>省令</a:t>
            </a:r>
            <a:r>
              <a:rPr lang="en-US" altLang="ja-JP" sz="800" dirty="0">
                <a:solidFill>
                  <a:schemeClr val="tx1"/>
                </a:solidFill>
                <a:latin typeface="Meiryo UI" panose="020B0604030504040204" pitchFamily="34" charset="-128"/>
                <a:ea typeface="Meiryo UI" panose="020B0604030504040204" pitchFamily="34" charset="-128"/>
                <a:cs typeface="Arial" panose="020B0604020202020204" pitchFamily="34" charset="0"/>
              </a:rPr>
              <a:t>169</a:t>
            </a:r>
            <a:r>
              <a:rPr lang="ja-JP" altLang="en-US" sz="800" dirty="0">
                <a:solidFill>
                  <a:schemeClr val="tx1"/>
                </a:solidFill>
                <a:latin typeface="Meiryo UI" panose="020B0604030504040204" pitchFamily="34" charset="-128"/>
                <a:ea typeface="Meiryo UI" panose="020B0604030504040204" pitchFamily="34" charset="-128"/>
                <a:cs typeface="Arial" panose="020B0604020202020204" pitchFamily="34" charset="0"/>
              </a:rPr>
              <a:t>号）</a:t>
            </a:r>
            <a:endPar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製造プロセスを含む製造フローチャート</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登録申請する医療機器のリスト（複数品目）</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参照国の薬事登録のエビデンス（日本の場合：届出、認証書、承認書）</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製造販売実績の証明（インボイス等）、安全有害事象が無いことの宣言書</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46" name="テキスト ボックス 45">
            <a:extLst>
              <a:ext uri="{FF2B5EF4-FFF2-40B4-BE49-F238E27FC236}">
                <a16:creationId xmlns:a16="http://schemas.microsoft.com/office/drawing/2014/main" id="{659E1DCF-ECD0-3941-B287-65592CE37610}"/>
              </a:ext>
            </a:extLst>
          </p:cNvPr>
          <p:cNvSpPr txBox="1"/>
          <p:nvPr/>
        </p:nvSpPr>
        <p:spPr>
          <a:xfrm>
            <a:off x="840025" y="2096044"/>
            <a:ext cx="713614" cy="324000"/>
          </a:xfrm>
          <a:prstGeom prst="rect">
            <a:avLst/>
          </a:prstGeom>
          <a:noFill/>
        </p:spPr>
        <p:txBody>
          <a:bodyPr wrap="square" lIns="0" tIns="36000" rIns="0" bIns="36000" rtlCol="0" anchor="t" anchorCtr="0">
            <a:noAutofit/>
          </a:bodyPr>
          <a:lstStyle/>
          <a:p>
            <a:pPr algn="ctr"/>
            <a:r>
              <a:rPr lang="ja-JP" altLang="en-US" sz="900">
                <a:latin typeface="Meiryo UI" panose="020B0604030504040204" pitchFamily="34" charset="-128"/>
                <a:ea typeface="Meiryo UI" panose="020B0604030504040204" pitchFamily="34" charset="-128"/>
              </a:rPr>
              <a:t>クラス</a:t>
            </a:r>
            <a:r>
              <a:rPr lang="en-US" altLang="ja-JP" sz="900" dirty="0">
                <a:latin typeface="Meiryo UI" panose="020B0604030504040204" pitchFamily="34" charset="-128"/>
                <a:ea typeface="Meiryo UI" panose="020B0604030504040204" pitchFamily="34" charset="-128"/>
              </a:rPr>
              <a:t>A</a:t>
            </a:r>
          </a:p>
        </p:txBody>
      </p:sp>
      <p:sp>
        <p:nvSpPr>
          <p:cNvPr id="47" name="テキスト ボックス 46">
            <a:extLst>
              <a:ext uri="{FF2B5EF4-FFF2-40B4-BE49-F238E27FC236}">
                <a16:creationId xmlns:a16="http://schemas.microsoft.com/office/drawing/2014/main" id="{A980144E-6D12-4442-8D50-3496E4C7EBC8}"/>
              </a:ext>
            </a:extLst>
          </p:cNvPr>
          <p:cNvSpPr txBox="1"/>
          <p:nvPr/>
        </p:nvSpPr>
        <p:spPr>
          <a:xfrm>
            <a:off x="2836211" y="2091049"/>
            <a:ext cx="713614" cy="324000"/>
          </a:xfrm>
          <a:prstGeom prst="rect">
            <a:avLst/>
          </a:prstGeom>
          <a:noFill/>
        </p:spPr>
        <p:txBody>
          <a:bodyPr wrap="square" lIns="0" tIns="36000" rIns="0" bIns="36000" rtlCol="0" anchor="t" anchorCtr="0">
            <a:noAutofit/>
          </a:bodyPr>
          <a:lstStyle/>
          <a:p>
            <a:pPr algn="ctr"/>
            <a:r>
              <a:rPr lang="ja-JP" altLang="en-US" sz="900">
                <a:latin typeface="Meiryo UI" panose="020B0604030504040204" pitchFamily="34" charset="-128"/>
                <a:ea typeface="Meiryo UI" panose="020B0604030504040204" pitchFamily="34" charset="-128"/>
              </a:rPr>
              <a:t>クラス</a:t>
            </a:r>
            <a:r>
              <a:rPr lang="en-US" altLang="ja-JP" sz="900" dirty="0">
                <a:latin typeface="Meiryo UI" panose="020B0604030504040204" pitchFamily="34" charset="-128"/>
                <a:ea typeface="Meiryo UI" panose="020B0604030504040204" pitchFamily="34" charset="-128"/>
              </a:rPr>
              <a:t>B, C, D</a:t>
            </a:r>
          </a:p>
        </p:txBody>
      </p:sp>
      <p:sp>
        <p:nvSpPr>
          <p:cNvPr id="48" name="テキスト ボックス 47">
            <a:extLst>
              <a:ext uri="{FF2B5EF4-FFF2-40B4-BE49-F238E27FC236}">
                <a16:creationId xmlns:a16="http://schemas.microsoft.com/office/drawing/2014/main" id="{63A94EDA-B638-C242-827D-26316C48572D}"/>
              </a:ext>
            </a:extLst>
          </p:cNvPr>
          <p:cNvSpPr txBox="1"/>
          <p:nvPr/>
        </p:nvSpPr>
        <p:spPr>
          <a:xfrm>
            <a:off x="3920079" y="3352455"/>
            <a:ext cx="1069189" cy="324000"/>
          </a:xfrm>
          <a:prstGeom prst="rect">
            <a:avLst/>
          </a:prstGeom>
          <a:noFill/>
        </p:spPr>
        <p:txBody>
          <a:bodyPr wrap="square" lIns="0" tIns="36000" rIns="0" bIns="36000" rtlCol="0" anchor="t" anchorCtr="0">
            <a:noAutofit/>
          </a:bodyPr>
          <a:lstStyle/>
          <a:p>
            <a:pPr algn="ctr"/>
            <a:r>
              <a:rPr lang="en-US" altLang="ja-JP" sz="900" dirty="0">
                <a:latin typeface="Meiryo UI" panose="020B0604030504040204" pitchFamily="34" charset="-128"/>
                <a:ea typeface="Meiryo UI" panose="020B0604030504040204" pitchFamily="34" charset="-128"/>
              </a:rPr>
              <a:t>*</a:t>
            </a:r>
            <a:r>
              <a:rPr lang="ja-JP" altLang="en-US" sz="900">
                <a:latin typeface="Meiryo UI" panose="020B0604030504040204" pitchFamily="34" charset="-128"/>
                <a:ea typeface="Meiryo UI" panose="020B0604030504040204" pitchFamily="34" charset="-128"/>
              </a:rPr>
              <a:t>日本の許認可を</a:t>
            </a:r>
            <a:endParaRPr lang="en-US" altLang="ja-JP" sz="900" dirty="0">
              <a:latin typeface="Meiryo UI" panose="020B0604030504040204" pitchFamily="34" charset="-128"/>
              <a:ea typeface="Meiryo UI" panose="020B0604030504040204" pitchFamily="34" charset="-128"/>
            </a:endParaRPr>
          </a:p>
          <a:p>
            <a:pPr algn="ctr"/>
            <a:r>
              <a:rPr lang="ja-JP" altLang="en-US" sz="900">
                <a:latin typeface="Meiryo UI" panose="020B0604030504040204" pitchFamily="34" charset="-128"/>
                <a:ea typeface="Meiryo UI" panose="020B0604030504040204" pitchFamily="34" charset="-128"/>
              </a:rPr>
              <a:t>有する医療機器申請</a:t>
            </a:r>
            <a:endParaRPr lang="en-US" altLang="ja-JP" sz="900" dirty="0">
              <a:latin typeface="Meiryo UI" panose="020B0604030504040204" pitchFamily="34" charset="-128"/>
              <a:ea typeface="Meiryo UI" panose="020B0604030504040204" pitchFamily="34" charset="-128"/>
            </a:endParaRPr>
          </a:p>
        </p:txBody>
      </p:sp>
      <p:cxnSp>
        <p:nvCxnSpPr>
          <p:cNvPr id="49" name="直線矢印コネクタ 48">
            <a:extLst>
              <a:ext uri="{FF2B5EF4-FFF2-40B4-BE49-F238E27FC236}">
                <a16:creationId xmlns:a16="http://schemas.microsoft.com/office/drawing/2014/main" id="{08E09372-C8BF-1A49-BF2F-4FFD620D20FE}"/>
              </a:ext>
            </a:extLst>
          </p:cNvPr>
          <p:cNvCxnSpPr/>
          <p:nvPr/>
        </p:nvCxnSpPr>
        <p:spPr>
          <a:xfrm>
            <a:off x="3193113" y="2945153"/>
            <a:ext cx="0" cy="278358"/>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0" name="テキスト ボックス 49">
            <a:extLst>
              <a:ext uri="{FF2B5EF4-FFF2-40B4-BE49-F238E27FC236}">
                <a16:creationId xmlns:a16="http://schemas.microsoft.com/office/drawing/2014/main" id="{0A201A55-820B-C84E-BCF8-7D3888CA01E1}"/>
              </a:ext>
            </a:extLst>
          </p:cNvPr>
          <p:cNvSpPr txBox="1"/>
          <p:nvPr/>
        </p:nvSpPr>
        <p:spPr>
          <a:xfrm>
            <a:off x="1392957" y="3900385"/>
            <a:ext cx="2154411" cy="619815"/>
          </a:xfrm>
          <a:prstGeom prst="rect">
            <a:avLst/>
          </a:prstGeom>
          <a:noFill/>
        </p:spPr>
        <p:txBody>
          <a:bodyPr wrap="square" lIns="0" tIns="36000" rIns="0" bIns="36000" rtlCol="0" anchor="t" anchorCtr="0">
            <a:noAutofit/>
          </a:bodyPr>
          <a:lstStyle/>
          <a:p>
            <a:r>
              <a:rPr lang="ja-JP" altLang="en-US" sz="900">
                <a:latin typeface="Meiryo UI" panose="020B0604030504040204" pitchFamily="34" charset="-128"/>
                <a:ea typeface="Meiryo UI" panose="020B0604030504040204" pitchFamily="34" charset="-128"/>
              </a:rPr>
              <a:t>審査期間（完全審査の場合）</a:t>
            </a:r>
            <a:endParaRPr lang="en-US" altLang="ja-JP" sz="900" dirty="0">
              <a:latin typeface="Meiryo UI" panose="020B0604030504040204" pitchFamily="34" charset="-128"/>
              <a:ea typeface="Meiryo UI" panose="020B0604030504040204" pitchFamily="34" charset="-128"/>
            </a:endParaRPr>
          </a:p>
          <a:p>
            <a:r>
              <a:rPr lang="ja-JP" altLang="en-US" sz="900">
                <a:latin typeface="Meiryo UI" panose="020B0604030504040204" pitchFamily="34" charset="-128"/>
                <a:ea typeface="Meiryo UI" panose="020B0604030504040204" pitchFamily="34" charset="-128"/>
              </a:rPr>
              <a:t>クラス</a:t>
            </a:r>
            <a:r>
              <a:rPr lang="en-US" altLang="ja-JP" sz="900" dirty="0">
                <a:latin typeface="Meiryo UI" panose="020B0604030504040204" pitchFamily="34" charset="-128"/>
                <a:ea typeface="Meiryo UI" panose="020B0604030504040204" pitchFamily="34" charset="-128"/>
              </a:rPr>
              <a:t>B: 100</a:t>
            </a:r>
            <a:r>
              <a:rPr lang="ja-JP" altLang="en-US" sz="900">
                <a:latin typeface="Meiryo UI" panose="020B0604030504040204" pitchFamily="34" charset="-128"/>
                <a:ea typeface="Meiryo UI" panose="020B0604030504040204" pitchFamily="34" charset="-128"/>
              </a:rPr>
              <a:t>営業日（</a:t>
            </a:r>
            <a:r>
              <a:rPr lang="en-US" altLang="ja-JP" sz="900" dirty="0">
                <a:latin typeface="Meiryo UI" panose="020B0604030504040204" pitchFamily="34" charset="-128"/>
                <a:ea typeface="Meiryo UI" panose="020B0604030504040204" pitchFamily="34" charset="-128"/>
              </a:rPr>
              <a:t>160</a:t>
            </a:r>
            <a:r>
              <a:rPr lang="ja-JP" altLang="en-US" sz="900">
                <a:latin typeface="Meiryo UI" panose="020B0604030504040204" pitchFamily="34" charset="-128"/>
                <a:ea typeface="Meiryo UI" panose="020B0604030504040204" pitchFamily="34" charset="-128"/>
              </a:rPr>
              <a:t>営業日）</a:t>
            </a:r>
            <a:r>
              <a:rPr lang="en-US" altLang="ja-JP" sz="900" dirty="0">
                <a:latin typeface="Meiryo UI" panose="020B0604030504040204" pitchFamily="34" charset="-128"/>
                <a:ea typeface="Meiryo UI" panose="020B0604030504040204" pitchFamily="34" charset="-128"/>
              </a:rPr>
              <a:t> </a:t>
            </a:r>
          </a:p>
          <a:p>
            <a:r>
              <a:rPr lang="ja-JP" altLang="en-US" sz="900">
                <a:latin typeface="Meiryo UI" panose="020B0604030504040204" pitchFamily="34" charset="-128"/>
                <a:ea typeface="Meiryo UI" panose="020B0604030504040204" pitchFamily="34" charset="-128"/>
              </a:rPr>
              <a:t>クラス</a:t>
            </a:r>
            <a:r>
              <a:rPr lang="en-US" altLang="ja-JP" sz="900" dirty="0">
                <a:latin typeface="Meiryo UI" panose="020B0604030504040204" pitchFamily="34" charset="-128"/>
                <a:ea typeface="Meiryo UI" panose="020B0604030504040204" pitchFamily="34" charset="-128"/>
              </a:rPr>
              <a:t>C: 160</a:t>
            </a:r>
            <a:r>
              <a:rPr lang="ja-JP" altLang="en-US" sz="900">
                <a:latin typeface="Meiryo UI" panose="020B0604030504040204" pitchFamily="34" charset="-128"/>
                <a:ea typeface="Meiryo UI" panose="020B0604030504040204" pitchFamily="34" charset="-128"/>
              </a:rPr>
              <a:t>営業日（</a:t>
            </a:r>
            <a:r>
              <a:rPr lang="en-US" altLang="ja-JP" sz="900" dirty="0">
                <a:latin typeface="Meiryo UI" panose="020B0604030504040204" pitchFamily="34" charset="-128"/>
                <a:ea typeface="Meiryo UI" panose="020B0604030504040204" pitchFamily="34" charset="-128"/>
              </a:rPr>
              <a:t>220</a:t>
            </a:r>
            <a:r>
              <a:rPr lang="ja-JP" altLang="en-US" sz="900">
                <a:latin typeface="Meiryo UI" panose="020B0604030504040204" pitchFamily="34" charset="-128"/>
                <a:ea typeface="Meiryo UI" panose="020B0604030504040204" pitchFamily="34" charset="-128"/>
              </a:rPr>
              <a:t>営業日）</a:t>
            </a:r>
            <a:r>
              <a:rPr lang="en-US" altLang="ja-JP" sz="900" dirty="0">
                <a:latin typeface="Meiryo UI" panose="020B0604030504040204" pitchFamily="34" charset="-128"/>
                <a:ea typeface="Meiryo UI" panose="020B0604030504040204" pitchFamily="34" charset="-128"/>
              </a:rPr>
              <a:t> </a:t>
            </a:r>
          </a:p>
          <a:p>
            <a:r>
              <a:rPr lang="ja-JP" altLang="en-US" sz="900">
                <a:latin typeface="Meiryo UI" panose="020B0604030504040204" pitchFamily="34" charset="-128"/>
                <a:ea typeface="Meiryo UI" panose="020B0604030504040204" pitchFamily="34" charset="-128"/>
              </a:rPr>
              <a:t>クラス</a:t>
            </a:r>
            <a:r>
              <a:rPr lang="en-US" altLang="ja-JP" sz="900" dirty="0">
                <a:latin typeface="Meiryo UI" panose="020B0604030504040204" pitchFamily="34" charset="-128"/>
                <a:ea typeface="Meiryo UI" panose="020B0604030504040204" pitchFamily="34" charset="-128"/>
              </a:rPr>
              <a:t>D: 220</a:t>
            </a:r>
            <a:r>
              <a:rPr lang="ja-JP" altLang="en-US" sz="900">
                <a:latin typeface="Meiryo UI" panose="020B0604030504040204" pitchFamily="34" charset="-128"/>
                <a:ea typeface="Meiryo UI" panose="020B0604030504040204" pitchFamily="34" charset="-128"/>
              </a:rPr>
              <a:t>営業日（</a:t>
            </a:r>
            <a:r>
              <a:rPr lang="en-US" altLang="ja-JP" sz="900" dirty="0">
                <a:latin typeface="Meiryo UI" panose="020B0604030504040204" pitchFamily="34" charset="-128"/>
                <a:ea typeface="Meiryo UI" panose="020B0604030504040204" pitchFamily="34" charset="-128"/>
              </a:rPr>
              <a:t>310</a:t>
            </a:r>
            <a:r>
              <a:rPr lang="ja-JP" altLang="en-US" sz="900">
                <a:latin typeface="Meiryo UI" panose="020B0604030504040204" pitchFamily="34" charset="-128"/>
                <a:ea typeface="Meiryo UI" panose="020B0604030504040204" pitchFamily="34" charset="-128"/>
              </a:rPr>
              <a:t>営業日）</a:t>
            </a:r>
            <a:r>
              <a:rPr lang="en-US" altLang="ja-JP" sz="900" dirty="0">
                <a:latin typeface="Meiryo UI" panose="020B0604030504040204" pitchFamily="34" charset="-128"/>
                <a:ea typeface="Meiryo UI" panose="020B0604030504040204" pitchFamily="34" charset="-128"/>
              </a:rPr>
              <a:t> </a:t>
            </a:r>
          </a:p>
        </p:txBody>
      </p:sp>
      <p:cxnSp>
        <p:nvCxnSpPr>
          <p:cNvPr id="51" name="直線矢印コネクタ 50">
            <a:extLst>
              <a:ext uri="{FF2B5EF4-FFF2-40B4-BE49-F238E27FC236}">
                <a16:creationId xmlns:a16="http://schemas.microsoft.com/office/drawing/2014/main" id="{D4D7DD78-FD0D-DB4E-B231-10A6F21C5228}"/>
              </a:ext>
            </a:extLst>
          </p:cNvPr>
          <p:cNvCxnSpPr/>
          <p:nvPr/>
        </p:nvCxnSpPr>
        <p:spPr>
          <a:xfrm>
            <a:off x="3190243" y="3794271"/>
            <a:ext cx="0" cy="794186"/>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2" name="テキスト ボックス 51">
            <a:extLst>
              <a:ext uri="{FF2B5EF4-FFF2-40B4-BE49-F238E27FC236}">
                <a16:creationId xmlns:a16="http://schemas.microsoft.com/office/drawing/2014/main" id="{32C05031-08FC-9447-BC87-714E7FE0BA9C}"/>
              </a:ext>
            </a:extLst>
          </p:cNvPr>
          <p:cNvSpPr txBox="1"/>
          <p:nvPr/>
        </p:nvSpPr>
        <p:spPr>
          <a:xfrm>
            <a:off x="3419754" y="3904408"/>
            <a:ext cx="2154411" cy="619815"/>
          </a:xfrm>
          <a:prstGeom prst="rect">
            <a:avLst/>
          </a:prstGeom>
          <a:noFill/>
        </p:spPr>
        <p:txBody>
          <a:bodyPr wrap="square" lIns="0" tIns="36000" rIns="0" bIns="36000" rtlCol="0" anchor="t" anchorCtr="0">
            <a:noAutofit/>
          </a:bodyPr>
          <a:lstStyle/>
          <a:p>
            <a:r>
              <a:rPr lang="ja-JP" altLang="en-US" sz="900" dirty="0">
                <a:latin typeface="Meiryo UI" panose="020B0604030504040204" pitchFamily="34" charset="-128"/>
                <a:ea typeface="Meiryo UI" panose="020B0604030504040204" pitchFamily="34" charset="-128"/>
              </a:rPr>
              <a:t>審査費用（完全審査の場合）</a:t>
            </a:r>
            <a:endParaRPr lang="en-US" altLang="ja-JP" sz="900" dirty="0">
              <a:latin typeface="Meiryo UI" panose="020B0604030504040204" pitchFamily="34" charset="-128"/>
              <a:ea typeface="Meiryo UI" panose="020B0604030504040204" pitchFamily="34" charset="-128"/>
            </a:endParaRPr>
          </a:p>
          <a:p>
            <a:r>
              <a:rPr lang="ja-JP" altLang="en-US" sz="900">
                <a:latin typeface="Meiryo UI"/>
                <a:ea typeface="Meiryo UI"/>
              </a:rPr>
              <a:t>クラス</a:t>
            </a:r>
            <a:r>
              <a:rPr lang="en-US" altLang="ja-JP" sz="900" dirty="0">
                <a:latin typeface="Meiryo UI"/>
                <a:ea typeface="Meiryo UI"/>
              </a:rPr>
              <a:t>B: $1,850</a:t>
            </a:r>
            <a:r>
              <a:rPr lang="ja-JP" altLang="en-US" sz="900">
                <a:latin typeface="Meiryo UI"/>
                <a:ea typeface="Meiryo UI"/>
              </a:rPr>
              <a:t>（</a:t>
            </a:r>
            <a:r>
              <a:rPr lang="en-US" altLang="ja-JP" sz="900" dirty="0">
                <a:latin typeface="Meiryo UI"/>
                <a:ea typeface="Meiryo UI"/>
              </a:rPr>
              <a:t> $3,605</a:t>
            </a:r>
            <a:r>
              <a:rPr lang="ja-JP" altLang="en-US" sz="900">
                <a:latin typeface="Meiryo UI"/>
                <a:ea typeface="Meiryo UI"/>
              </a:rPr>
              <a:t>）</a:t>
            </a:r>
            <a:r>
              <a:rPr lang="en-US" altLang="ja-JP" sz="900" dirty="0">
                <a:latin typeface="Meiryo UI"/>
                <a:ea typeface="Meiryo UI"/>
              </a:rPr>
              <a:t> </a:t>
            </a:r>
            <a:endParaRPr lang="en-US" altLang="ja-JP" sz="900" dirty="0">
              <a:latin typeface="Meiryo UI" panose="020B0604030504040204" pitchFamily="34" charset="-128"/>
              <a:ea typeface="Meiryo UI" panose="020B0604030504040204" pitchFamily="34" charset="-128"/>
            </a:endParaRPr>
          </a:p>
          <a:p>
            <a:r>
              <a:rPr lang="ja-JP" altLang="en-US" sz="900">
                <a:latin typeface="Meiryo UI"/>
                <a:ea typeface="Meiryo UI"/>
              </a:rPr>
              <a:t>クラス</a:t>
            </a:r>
            <a:r>
              <a:rPr lang="en-US" altLang="ja-JP" sz="900" dirty="0">
                <a:latin typeface="Meiryo UI"/>
                <a:ea typeface="Meiryo UI"/>
              </a:rPr>
              <a:t>C: $3,605</a:t>
            </a:r>
            <a:r>
              <a:rPr lang="ja-JP" altLang="en-US" sz="900">
                <a:latin typeface="Meiryo UI"/>
                <a:ea typeface="Meiryo UI"/>
              </a:rPr>
              <a:t>（</a:t>
            </a:r>
            <a:r>
              <a:rPr lang="en-US" altLang="ja-JP" sz="900" dirty="0">
                <a:latin typeface="Meiryo UI"/>
                <a:ea typeface="Meiryo UI"/>
              </a:rPr>
              <a:t> $5,870</a:t>
            </a:r>
            <a:r>
              <a:rPr lang="ja-JP" altLang="en-US" sz="900">
                <a:latin typeface="Meiryo UI"/>
                <a:ea typeface="Meiryo UI"/>
              </a:rPr>
              <a:t>）</a:t>
            </a:r>
            <a:r>
              <a:rPr lang="en-US" altLang="ja-JP" sz="900" dirty="0">
                <a:latin typeface="Meiryo UI"/>
                <a:ea typeface="Meiryo UI"/>
              </a:rPr>
              <a:t> </a:t>
            </a:r>
            <a:endParaRPr lang="en-US" altLang="ja-JP" sz="900" dirty="0">
              <a:latin typeface="Meiryo UI" panose="020B0604030504040204" pitchFamily="34" charset="-128"/>
              <a:ea typeface="Meiryo UI" panose="020B0604030504040204" pitchFamily="34" charset="-128"/>
            </a:endParaRPr>
          </a:p>
          <a:p>
            <a:r>
              <a:rPr lang="ja-JP" altLang="en-US" sz="900">
                <a:latin typeface="Meiryo UI"/>
                <a:ea typeface="Meiryo UI"/>
              </a:rPr>
              <a:t>クラス</a:t>
            </a:r>
            <a:r>
              <a:rPr lang="en-US" altLang="ja-JP" sz="900" dirty="0">
                <a:latin typeface="Meiryo UI"/>
                <a:ea typeface="Meiryo UI"/>
              </a:rPr>
              <a:t>D: $5,870</a:t>
            </a:r>
            <a:r>
              <a:rPr lang="ja-JP" altLang="en-US" sz="900">
                <a:latin typeface="Meiryo UI"/>
                <a:ea typeface="Meiryo UI"/>
              </a:rPr>
              <a:t>（</a:t>
            </a:r>
            <a:r>
              <a:rPr lang="en-US" altLang="ja-JP" sz="900" dirty="0">
                <a:latin typeface="Meiryo UI"/>
                <a:ea typeface="Meiryo UI"/>
              </a:rPr>
              <a:t> $11,600</a:t>
            </a:r>
            <a:r>
              <a:rPr lang="ja-JP" altLang="en-US" sz="900">
                <a:latin typeface="Meiryo UI"/>
                <a:ea typeface="Meiryo UI"/>
              </a:rPr>
              <a:t>）</a:t>
            </a:r>
            <a:r>
              <a:rPr lang="en-US" altLang="ja-JP" sz="900" dirty="0">
                <a:latin typeface="Meiryo UI"/>
                <a:ea typeface="Meiryo UI"/>
              </a:rPr>
              <a:t> </a:t>
            </a:r>
            <a:endParaRPr lang="en-US" altLang="ja-JP" sz="900" dirty="0">
              <a:latin typeface="Meiryo UI" panose="020B0604030504040204" pitchFamily="34" charset="-128"/>
              <a:ea typeface="Meiryo UI" panose="020B0604030504040204" pitchFamily="34" charset="-128"/>
            </a:endParaRPr>
          </a:p>
        </p:txBody>
      </p:sp>
      <p:sp>
        <p:nvSpPr>
          <p:cNvPr id="29" name="テキスト ボックス 33">
            <a:extLst>
              <a:ext uri="{FF2B5EF4-FFF2-40B4-BE49-F238E27FC236}">
                <a16:creationId xmlns:a16="http://schemas.microsoft.com/office/drawing/2014/main" id="{EA849CFD-9BF2-43A9-8463-1D7DB42A650D}"/>
              </a:ext>
            </a:extLst>
          </p:cNvPr>
          <p:cNvSpPr txBox="1"/>
          <p:nvPr/>
        </p:nvSpPr>
        <p:spPr>
          <a:xfrm>
            <a:off x="599546" y="6597352"/>
            <a:ext cx="8640960" cy="144016"/>
          </a:xfrm>
          <a:prstGeom prst="rect">
            <a:avLst/>
          </a:prstGeom>
          <a:noFill/>
        </p:spPr>
        <p:txBody>
          <a:bodyPr wrap="square" lIns="0" tIns="0" rIns="0" bIns="0" rtlCol="0">
            <a:noAutofit/>
          </a:bodyPr>
          <a:lstStyle/>
          <a:p>
            <a:pPr marL="444500" lvl="0" indent="-444500"/>
            <a:r>
              <a:rPr lang="ja-JP" altLang="en-US" sz="800" dirty="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海外医療機器規制レポート」 </a:t>
            </a:r>
            <a:r>
              <a:rPr lang="en-US" altLang="ja-JP" sz="800" dirty="0">
                <a:latin typeface="Meiryo UI" panose="020B0604030504040204" pitchFamily="34" charset="-128"/>
                <a:ea typeface="Meiryo UI" panose="020B0604030504040204" pitchFamily="34" charset="-128"/>
                <a:cs typeface="Arial" panose="020B0604020202020204" pitchFamily="34" charset="0"/>
              </a:rPr>
              <a:t>(p.21)</a:t>
            </a:r>
            <a:endParaRPr lang="ja-JP" altLang="en-US" sz="800" dirty="0">
              <a:latin typeface="Meiryo UI" panose="020B0604030504040204" pitchFamily="34" charset="-128"/>
              <a:ea typeface="Meiryo UI" panose="020B0604030504040204" pitchFamily="34" charset="-128"/>
              <a:cs typeface="Arial" panose="020B0604020202020204" pitchFamily="34" charset="0"/>
            </a:endParaRPr>
          </a:p>
        </p:txBody>
      </p:sp>
      <p:sp>
        <p:nvSpPr>
          <p:cNvPr id="37" name="タイトル 4">
            <a:extLst>
              <a:ext uri="{FF2B5EF4-FFF2-40B4-BE49-F238E27FC236}">
                <a16:creationId xmlns:a16="http://schemas.microsoft.com/office/drawing/2014/main" id="{F3188FB1-CC95-438B-BBEE-3FC8482AAC0F}"/>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シンガポール／医療関連／制度</a:t>
            </a:r>
          </a:p>
        </p:txBody>
      </p:sp>
      <p:sp>
        <p:nvSpPr>
          <p:cNvPr id="30" name="テキスト ボックス 33">
            <a:extLst>
              <a:ext uri="{FF2B5EF4-FFF2-40B4-BE49-F238E27FC236}">
                <a16:creationId xmlns:a16="http://schemas.microsoft.com/office/drawing/2014/main" id="{7A32BAF6-FFB6-4E65-B78F-F986B613448C}"/>
              </a:ext>
            </a:extLst>
          </p:cNvPr>
          <p:cNvSpPr txBox="1"/>
          <p:nvPr/>
        </p:nvSpPr>
        <p:spPr>
          <a:xfrm>
            <a:off x="599546" y="7029400"/>
            <a:ext cx="8640960" cy="144016"/>
          </a:xfrm>
          <a:prstGeom prst="rect">
            <a:avLst/>
          </a:prstGeom>
          <a:noFill/>
        </p:spPr>
        <p:txBody>
          <a:bodyPr wrap="square" lIns="0" tIns="0" rIns="0" bIns="0" rtlCol="0">
            <a:noAutofit/>
          </a:bodyPr>
          <a:lstStyle/>
          <a:p>
            <a:pPr marL="444500" lvl="0" indent="-444500"/>
            <a:r>
              <a:rPr lang="en-US" altLang="ja-JP" sz="800" dirty="0">
                <a:latin typeface="Meiryo UI" panose="020B0604030504040204" pitchFamily="34" charset="-128"/>
                <a:ea typeface="Meiryo UI" panose="020B0604030504040204" pitchFamily="34" charset="-128"/>
                <a:cs typeface="Arial" panose="020B0604020202020204" pitchFamily="34" charset="0"/>
              </a:rPr>
              <a:t>https://www.meti.go.jp/policy/mono_info_service/healthcare/iryou/downloadfiles/pdf/r3fy_medicaldevice.pdf</a:t>
            </a:r>
            <a:endParaRPr lang="ja-JP" altLang="en-US" sz="800" dirty="0">
              <a:latin typeface="Meiryo UI" panose="020B0604030504040204" pitchFamily="34" charset="-128"/>
              <a:ea typeface="Meiryo UI" panose="020B0604030504040204" pitchFamily="34" charset="-128"/>
              <a:cs typeface="Arial" panose="020B0604020202020204" pitchFamily="34" charset="0"/>
            </a:endParaRPr>
          </a:p>
        </p:txBody>
      </p:sp>
    </p:spTree>
    <p:extLst>
      <p:ext uri="{BB962C8B-B14F-4D97-AF65-F5344CB8AC3E}">
        <p14:creationId xmlns:p14="http://schemas.microsoft.com/office/powerpoint/2010/main" val="344490924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C005844-C499-4356-B4D3-683A3D9DB136}"/>
              </a:ext>
            </a:extLst>
          </p:cNvPr>
          <p:cNvGraphicFramePr>
            <a:graphicFrameLocks noChangeAspect="1"/>
          </p:cNvGraphicFramePr>
          <p:nvPr>
            <p:custDataLst>
              <p:tags r:id="rId2"/>
            </p:custDataLst>
            <p:extLst>
              <p:ext uri="{D42A27DB-BD31-4B8C-83A1-F6EECF244321}">
                <p14:modId xmlns:p14="http://schemas.microsoft.com/office/powerpoint/2010/main" val="3852089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7C005844-C499-4356-B4D3-683A3D9DB1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シンガポール／医療関連／制度</a:t>
            </a:r>
          </a:p>
        </p:txBody>
      </p:sp>
      <p:sp>
        <p:nvSpPr>
          <p:cNvPr id="6" name="テキスト プレースホルダー 5"/>
          <p:cNvSpPr>
            <a:spLocks noGrp="1"/>
          </p:cNvSpPr>
          <p:nvPr>
            <p:ph type="body" sz="quarter" idx="15"/>
          </p:nvPr>
        </p:nvSpPr>
        <p:spPr>
          <a:xfrm>
            <a:off x="200025" y="508610"/>
            <a:ext cx="9505950" cy="400110"/>
          </a:xfrm>
        </p:spPr>
        <p:txBody>
          <a:bodyPr vert="horz" lIns="91440" tIns="45720" rIns="91440" bIns="45720" rtlCol="0" anchor="b" anchorCtr="0">
            <a:noAutofit/>
          </a:bodyPr>
          <a:lstStyle/>
          <a:p>
            <a:r>
              <a:rPr lang="ja-JP" altLang="en-US" b="1" dirty="0">
                <a:latin typeface="Meiryo UI" panose="020B0604030504040204" pitchFamily="34" charset="-128"/>
                <a:ea typeface="Meiryo UI" panose="020B0604030504040204" pitchFamily="34" charset="-128"/>
              </a:rPr>
              <a:t>医薬品に対する規制</a:t>
            </a:r>
          </a:p>
        </p:txBody>
      </p:sp>
      <p:sp>
        <p:nvSpPr>
          <p:cNvPr id="34" name="テキスト ボックス 33"/>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dirty="0">
                <a:latin typeface="Meiryo UI" panose="020B0604030504040204" pitchFamily="34" charset="-128"/>
                <a:ea typeface="Meiryo UI" panose="020B0604030504040204" pitchFamily="34" charset="-128"/>
                <a:cs typeface="Arial" panose="020B0604020202020204" pitchFamily="34" charset="0"/>
              </a:rPr>
              <a:t>（出所）</a:t>
            </a:r>
            <a:r>
              <a:rPr lang="en-US" altLang="ja-JP" sz="800" dirty="0">
                <a:latin typeface="Meiryo UI" panose="020B0604030504040204" pitchFamily="34" charset="-128"/>
                <a:ea typeface="Meiryo UI" panose="020B0604030504040204" pitchFamily="34" charset="-128"/>
                <a:cs typeface="Arial" panose="020B0604020202020204" pitchFamily="34" charset="0"/>
              </a:rPr>
              <a:t>Health Sciences Authority</a:t>
            </a:r>
            <a:endParaRPr lang="ja-JP" altLang="en-US" sz="800" dirty="0">
              <a:latin typeface="Meiryo UI" panose="020B0604030504040204" pitchFamily="34" charset="-128"/>
              <a:ea typeface="Meiryo UI" panose="020B0604030504040204" pitchFamily="34" charset="-128"/>
              <a:cs typeface="Arial" panose="020B0604020202020204" pitchFamily="34" charset="0"/>
            </a:endParaRPr>
          </a:p>
        </p:txBody>
      </p:sp>
      <p:sp>
        <p:nvSpPr>
          <p:cNvPr id="2" name="TextBox 1">
            <a:extLst>
              <a:ext uri="{FF2B5EF4-FFF2-40B4-BE49-F238E27FC236}">
                <a16:creationId xmlns:a16="http://schemas.microsoft.com/office/drawing/2014/main" id="{ECA4E801-88F9-4C24-91D6-DE67014D9173}"/>
              </a:ext>
            </a:extLst>
          </p:cNvPr>
          <p:cNvSpPr txBox="1"/>
          <p:nvPr/>
        </p:nvSpPr>
        <p:spPr>
          <a:xfrm>
            <a:off x="1689833" y="1208669"/>
            <a:ext cx="7344816" cy="64633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altLang="ja-JP" sz="1200" dirty="0"/>
              <a:t>1977 </a:t>
            </a:r>
            <a:r>
              <a:rPr lang="ja-JP" altLang="en-US" sz="1200" dirty="0"/>
              <a:t>年医薬品法（</a:t>
            </a:r>
            <a:r>
              <a:rPr lang="en-US" altLang="ja-JP" sz="1200" dirty="0"/>
              <a:t>Medicines Act</a:t>
            </a:r>
            <a:r>
              <a:rPr lang="ja-JP" altLang="en-US" sz="1200" dirty="0"/>
              <a:t>）、</a:t>
            </a:r>
            <a:r>
              <a:rPr lang="en-US" altLang="ja-JP" sz="1200" dirty="0"/>
              <a:t>2007 </a:t>
            </a:r>
            <a:r>
              <a:rPr lang="ja-JP" altLang="en-US" sz="1200" dirty="0"/>
              <a:t>年医療製品法（</a:t>
            </a:r>
            <a:r>
              <a:rPr lang="en-US" altLang="ja-JP" sz="1200" dirty="0"/>
              <a:t>Health Products Act of 2007</a:t>
            </a:r>
            <a:r>
              <a:rPr lang="ja-JP" altLang="en-US" sz="1200" dirty="0"/>
              <a:t>）、</a:t>
            </a:r>
            <a:r>
              <a:rPr lang="en-US" altLang="ja-JP" sz="1200" dirty="0"/>
              <a:t>1939 </a:t>
            </a:r>
            <a:r>
              <a:rPr lang="ja-JP" altLang="en-US" sz="1200" dirty="0"/>
              <a:t>年毒物の取り扱いに関する法律（</a:t>
            </a:r>
            <a:r>
              <a:rPr lang="en-US" altLang="ja-JP" sz="1200" dirty="0"/>
              <a:t>Poisons Act</a:t>
            </a:r>
            <a:r>
              <a:rPr lang="ja-JP" altLang="en-US" sz="1200" dirty="0"/>
              <a:t>）、</a:t>
            </a:r>
            <a:r>
              <a:rPr lang="en-US" altLang="ja-JP" sz="1200" dirty="0"/>
              <a:t>1956 </a:t>
            </a:r>
            <a:r>
              <a:rPr lang="ja-JP" altLang="en-US" sz="1200" dirty="0"/>
              <a:t>年医 薬品の宣伝販売に関する法律（</a:t>
            </a:r>
            <a:r>
              <a:rPr lang="en-US" altLang="ja-JP" sz="1200" dirty="0"/>
              <a:t>Medicines </a:t>
            </a:r>
            <a:r>
              <a:rPr lang="ja-JP" altLang="en-US" sz="1200" dirty="0"/>
              <a:t>（</a:t>
            </a:r>
            <a:r>
              <a:rPr lang="en-US" altLang="ja-JP" sz="1200" dirty="0"/>
              <a:t>Advertisement and Sale</a:t>
            </a:r>
            <a:r>
              <a:rPr lang="ja-JP" altLang="en-US" sz="1200" dirty="0"/>
              <a:t>） </a:t>
            </a:r>
            <a:r>
              <a:rPr lang="en-US" altLang="ja-JP" sz="1200" dirty="0"/>
              <a:t>Act</a:t>
            </a:r>
            <a:r>
              <a:rPr lang="ja-JP" altLang="en-US" sz="1200" dirty="0"/>
              <a:t>）、</a:t>
            </a:r>
            <a:r>
              <a:rPr lang="en-US" altLang="ja-JP" sz="1200" dirty="0"/>
              <a:t>1919 </a:t>
            </a:r>
            <a:r>
              <a:rPr lang="ja-JP" altLang="en-US" sz="1200" dirty="0"/>
              <a:t>年薬 物の販売に関する法律（</a:t>
            </a:r>
            <a:r>
              <a:rPr lang="en-US" altLang="ja-JP" sz="1200" dirty="0"/>
              <a:t>Sale of Drugs Act</a:t>
            </a:r>
            <a:r>
              <a:rPr lang="ja-JP" altLang="en-US" sz="1200" dirty="0"/>
              <a:t>）等</a:t>
            </a:r>
            <a:endParaRPr lang="en-US" sz="1200" dirty="0"/>
          </a:p>
        </p:txBody>
      </p:sp>
      <p:sp>
        <p:nvSpPr>
          <p:cNvPr id="11" name="TextBox 10">
            <a:extLst>
              <a:ext uri="{FF2B5EF4-FFF2-40B4-BE49-F238E27FC236}">
                <a16:creationId xmlns:a16="http://schemas.microsoft.com/office/drawing/2014/main" id="{6F1DE076-3BB5-44C6-937C-10804CE40D82}"/>
              </a:ext>
            </a:extLst>
          </p:cNvPr>
          <p:cNvSpPr txBox="1"/>
          <p:nvPr/>
        </p:nvSpPr>
        <p:spPr>
          <a:xfrm>
            <a:off x="361865" y="1208669"/>
            <a:ext cx="864096" cy="276999"/>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200" dirty="0"/>
              <a:t>根拠法</a:t>
            </a:r>
            <a:endParaRPr lang="en-US" sz="1200" dirty="0"/>
          </a:p>
        </p:txBody>
      </p:sp>
      <p:sp>
        <p:nvSpPr>
          <p:cNvPr id="12" name="TextBox 11">
            <a:extLst>
              <a:ext uri="{FF2B5EF4-FFF2-40B4-BE49-F238E27FC236}">
                <a16:creationId xmlns:a16="http://schemas.microsoft.com/office/drawing/2014/main" id="{56993E43-7E95-4CE8-AF86-271F3DDD2DD5}"/>
              </a:ext>
            </a:extLst>
          </p:cNvPr>
          <p:cNvSpPr txBox="1"/>
          <p:nvPr/>
        </p:nvSpPr>
        <p:spPr>
          <a:xfrm>
            <a:off x="1689833" y="2322295"/>
            <a:ext cx="7344816" cy="64633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200" dirty="0"/>
              <a:t>医薬品を輸入、生産、卸売するためには、企業は</a:t>
            </a:r>
            <a:r>
              <a:rPr lang="en-US" altLang="ja-JP" sz="1200" dirty="0"/>
              <a:t>dealer</a:t>
            </a:r>
            <a:r>
              <a:rPr lang="ja-JP" altLang="en-US" sz="1200" dirty="0"/>
              <a:t>としての免許を取得する必要がある。また、適正流通基準を順守するための責任者（</a:t>
            </a:r>
            <a:r>
              <a:rPr lang="en-US" altLang="ja-JP" sz="1200" dirty="0"/>
              <a:t>Responsible Person - RP</a:t>
            </a:r>
            <a:r>
              <a:rPr lang="ja-JP" altLang="en-US" sz="1200" dirty="0"/>
              <a:t>）を任命することが求められている。処方箋が必要な、もしくは薬局のみが販売できる医薬品を取り扱うためには、</a:t>
            </a:r>
            <a:r>
              <a:rPr lang="en-US" altLang="ja-JP" sz="1200" dirty="0"/>
              <a:t>RP</a:t>
            </a:r>
            <a:r>
              <a:rPr lang="ja-JP" altLang="en-US" sz="1200" dirty="0"/>
              <a:t>は薬剤師でなくてはならない。</a:t>
            </a:r>
            <a:endParaRPr lang="en-US" sz="1200" dirty="0"/>
          </a:p>
        </p:txBody>
      </p:sp>
      <p:sp>
        <p:nvSpPr>
          <p:cNvPr id="13" name="TextBox 12">
            <a:extLst>
              <a:ext uri="{FF2B5EF4-FFF2-40B4-BE49-F238E27FC236}">
                <a16:creationId xmlns:a16="http://schemas.microsoft.com/office/drawing/2014/main" id="{3813E498-8072-4E0A-8B8A-B3B19C63199C}"/>
              </a:ext>
            </a:extLst>
          </p:cNvPr>
          <p:cNvSpPr txBox="1"/>
          <p:nvPr/>
        </p:nvSpPr>
        <p:spPr>
          <a:xfrm>
            <a:off x="361865" y="2320581"/>
            <a:ext cx="1046390" cy="276999"/>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200" dirty="0"/>
              <a:t>事業者免許</a:t>
            </a:r>
            <a:endParaRPr lang="en-US" sz="1200" dirty="0"/>
          </a:p>
        </p:txBody>
      </p:sp>
      <p:sp>
        <p:nvSpPr>
          <p:cNvPr id="14" name="TextBox 13">
            <a:extLst>
              <a:ext uri="{FF2B5EF4-FFF2-40B4-BE49-F238E27FC236}">
                <a16:creationId xmlns:a16="http://schemas.microsoft.com/office/drawing/2014/main" id="{08A71E46-16A0-4609-B6DD-79A8AEC16C75}"/>
              </a:ext>
            </a:extLst>
          </p:cNvPr>
          <p:cNvSpPr txBox="1"/>
          <p:nvPr/>
        </p:nvSpPr>
        <p:spPr>
          <a:xfrm>
            <a:off x="1689833" y="1876434"/>
            <a:ext cx="7344816" cy="276999"/>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200" dirty="0"/>
              <a:t>保健省、</a:t>
            </a:r>
            <a:r>
              <a:rPr lang="en-US" sz="1200" dirty="0"/>
              <a:t>Health Sciences Authority (HS)</a:t>
            </a:r>
          </a:p>
        </p:txBody>
      </p:sp>
      <p:sp>
        <p:nvSpPr>
          <p:cNvPr id="15" name="TextBox 14">
            <a:extLst>
              <a:ext uri="{FF2B5EF4-FFF2-40B4-BE49-F238E27FC236}">
                <a16:creationId xmlns:a16="http://schemas.microsoft.com/office/drawing/2014/main" id="{6F33CAD4-84C4-4668-8C9A-5087599A18AD}"/>
              </a:ext>
            </a:extLst>
          </p:cNvPr>
          <p:cNvSpPr txBox="1"/>
          <p:nvPr/>
        </p:nvSpPr>
        <p:spPr>
          <a:xfrm>
            <a:off x="361865" y="1876434"/>
            <a:ext cx="864096" cy="276999"/>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200" dirty="0"/>
              <a:t>規制機関</a:t>
            </a:r>
            <a:endParaRPr lang="en-US" sz="1200" dirty="0"/>
          </a:p>
        </p:txBody>
      </p:sp>
      <p:sp>
        <p:nvSpPr>
          <p:cNvPr id="16" name="TextBox 15">
            <a:extLst>
              <a:ext uri="{FF2B5EF4-FFF2-40B4-BE49-F238E27FC236}">
                <a16:creationId xmlns:a16="http://schemas.microsoft.com/office/drawing/2014/main" id="{D0784085-C61C-4139-940A-8F86058F8338}"/>
              </a:ext>
            </a:extLst>
          </p:cNvPr>
          <p:cNvSpPr txBox="1"/>
          <p:nvPr/>
        </p:nvSpPr>
        <p:spPr>
          <a:xfrm>
            <a:off x="1689833" y="3228338"/>
            <a:ext cx="7344816" cy="276999"/>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200" dirty="0"/>
              <a:t>新薬・ジェネリック医薬品ともに、配合・用量・適用に応じて製品の登録が必要となる。</a:t>
            </a:r>
          </a:p>
        </p:txBody>
      </p:sp>
      <p:sp>
        <p:nvSpPr>
          <p:cNvPr id="17" name="TextBox 16">
            <a:extLst>
              <a:ext uri="{FF2B5EF4-FFF2-40B4-BE49-F238E27FC236}">
                <a16:creationId xmlns:a16="http://schemas.microsoft.com/office/drawing/2014/main" id="{9ED343AA-0F41-410D-9D2F-E085D9E95FC4}"/>
              </a:ext>
            </a:extLst>
          </p:cNvPr>
          <p:cNvSpPr txBox="1"/>
          <p:nvPr/>
        </p:nvSpPr>
        <p:spPr>
          <a:xfrm>
            <a:off x="361865" y="3226624"/>
            <a:ext cx="1168320" cy="276999"/>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200" dirty="0"/>
              <a:t>医薬品の登録</a:t>
            </a:r>
            <a:endParaRPr lang="en-US" sz="1200" dirty="0"/>
          </a:p>
        </p:txBody>
      </p:sp>
      <p:sp>
        <p:nvSpPr>
          <p:cNvPr id="29" name="TextBox 28">
            <a:extLst>
              <a:ext uri="{FF2B5EF4-FFF2-40B4-BE49-F238E27FC236}">
                <a16:creationId xmlns:a16="http://schemas.microsoft.com/office/drawing/2014/main" id="{190D6C94-0F8F-4EAB-8D44-99F0F066EDA6}"/>
              </a:ext>
            </a:extLst>
          </p:cNvPr>
          <p:cNvSpPr txBox="1"/>
          <p:nvPr/>
        </p:nvSpPr>
        <p:spPr>
          <a:xfrm>
            <a:off x="361865" y="3751984"/>
            <a:ext cx="1168320" cy="461665"/>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200" dirty="0"/>
              <a:t>医薬品規制の全体像</a:t>
            </a:r>
            <a:endParaRPr lang="en-US" sz="1200" dirty="0"/>
          </a:p>
        </p:txBody>
      </p:sp>
      <p:grpSp>
        <p:nvGrpSpPr>
          <p:cNvPr id="53" name="Group 52">
            <a:extLst>
              <a:ext uri="{FF2B5EF4-FFF2-40B4-BE49-F238E27FC236}">
                <a16:creationId xmlns:a16="http://schemas.microsoft.com/office/drawing/2014/main" id="{B1B07BAB-945A-4664-B338-DED58898BB83}"/>
              </a:ext>
            </a:extLst>
          </p:cNvPr>
          <p:cNvGrpSpPr/>
          <p:nvPr/>
        </p:nvGrpSpPr>
        <p:grpSpPr>
          <a:xfrm>
            <a:off x="2000672" y="3830507"/>
            <a:ext cx="5557813" cy="2518883"/>
            <a:chOff x="1928664" y="3840913"/>
            <a:chExt cx="5557813" cy="2518883"/>
          </a:xfrm>
        </p:grpSpPr>
        <p:sp>
          <p:nvSpPr>
            <p:cNvPr id="20" name="Rectangle: Rounded Corners 19">
              <a:extLst>
                <a:ext uri="{FF2B5EF4-FFF2-40B4-BE49-F238E27FC236}">
                  <a16:creationId xmlns:a16="http://schemas.microsoft.com/office/drawing/2014/main" id="{1C0D28C2-5F88-4DCB-9F6A-3E1B23E91B18}"/>
                </a:ext>
              </a:extLst>
            </p:cNvPr>
            <p:cNvSpPr/>
            <p:nvPr/>
          </p:nvSpPr>
          <p:spPr>
            <a:xfrm>
              <a:off x="3187350" y="3840913"/>
              <a:ext cx="1008112" cy="504056"/>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000" dirty="0"/>
                <a:t>臨床試験</a:t>
              </a:r>
              <a:endParaRPr kumimoji="1" lang="en-US" sz="1000" dirty="0"/>
            </a:p>
          </p:txBody>
        </p:sp>
        <p:sp>
          <p:nvSpPr>
            <p:cNvPr id="23" name="Rectangle: Rounded Corners 22">
              <a:extLst>
                <a:ext uri="{FF2B5EF4-FFF2-40B4-BE49-F238E27FC236}">
                  <a16:creationId xmlns:a16="http://schemas.microsoft.com/office/drawing/2014/main" id="{27BEE10F-3625-4D98-B224-B4528D1BB5D9}"/>
                </a:ext>
              </a:extLst>
            </p:cNvPr>
            <p:cNvSpPr/>
            <p:nvPr/>
          </p:nvSpPr>
          <p:spPr>
            <a:xfrm>
              <a:off x="3187350" y="4509120"/>
              <a:ext cx="1008112" cy="504056"/>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000" dirty="0"/>
                <a:t>医薬品の登録</a:t>
              </a:r>
              <a:endParaRPr kumimoji="1" lang="en-US" sz="1000" dirty="0"/>
            </a:p>
          </p:txBody>
        </p:sp>
        <p:sp>
          <p:nvSpPr>
            <p:cNvPr id="24" name="Rectangle: Rounded Corners 23">
              <a:extLst>
                <a:ext uri="{FF2B5EF4-FFF2-40B4-BE49-F238E27FC236}">
                  <a16:creationId xmlns:a16="http://schemas.microsoft.com/office/drawing/2014/main" id="{D2A35AE7-C7D3-4A67-8E3B-A7827E3C7EAE}"/>
                </a:ext>
              </a:extLst>
            </p:cNvPr>
            <p:cNvSpPr/>
            <p:nvPr/>
          </p:nvSpPr>
          <p:spPr>
            <a:xfrm>
              <a:off x="5275582" y="4494102"/>
              <a:ext cx="1008112" cy="504056"/>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000" dirty="0"/>
                <a:t>ディーラー免許</a:t>
              </a:r>
              <a:endParaRPr kumimoji="1" lang="en-US" sz="1000" dirty="0"/>
            </a:p>
          </p:txBody>
        </p:sp>
        <p:sp>
          <p:nvSpPr>
            <p:cNvPr id="25" name="Rectangle: Rounded Corners 24">
              <a:extLst>
                <a:ext uri="{FF2B5EF4-FFF2-40B4-BE49-F238E27FC236}">
                  <a16:creationId xmlns:a16="http://schemas.microsoft.com/office/drawing/2014/main" id="{06D2E063-6F29-439D-8E65-2E30F128A535}"/>
                </a:ext>
              </a:extLst>
            </p:cNvPr>
            <p:cNvSpPr/>
            <p:nvPr/>
          </p:nvSpPr>
          <p:spPr>
            <a:xfrm>
              <a:off x="2617030" y="5763847"/>
              <a:ext cx="1008112" cy="504056"/>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000" dirty="0"/>
                <a:t>適応・安全性情報などの変更手続き</a:t>
              </a:r>
              <a:endParaRPr kumimoji="1" lang="en-US" sz="1000" dirty="0"/>
            </a:p>
          </p:txBody>
        </p:sp>
        <p:sp>
          <p:nvSpPr>
            <p:cNvPr id="26" name="Rectangle: Rounded Corners 25">
              <a:extLst>
                <a:ext uri="{FF2B5EF4-FFF2-40B4-BE49-F238E27FC236}">
                  <a16:creationId xmlns:a16="http://schemas.microsoft.com/office/drawing/2014/main" id="{7BA823B8-1B11-439F-ACE1-FF83CFBE13FB}"/>
                </a:ext>
              </a:extLst>
            </p:cNvPr>
            <p:cNvSpPr/>
            <p:nvPr/>
          </p:nvSpPr>
          <p:spPr>
            <a:xfrm>
              <a:off x="3875740" y="5753650"/>
              <a:ext cx="1008112" cy="504056"/>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000" dirty="0"/>
                <a:t>広告規制（事前承認は不要）</a:t>
              </a:r>
              <a:endParaRPr kumimoji="1" lang="en-US" sz="1000" dirty="0"/>
            </a:p>
          </p:txBody>
        </p:sp>
        <p:sp>
          <p:nvSpPr>
            <p:cNvPr id="27" name="Rectangle: Rounded Corners 26">
              <a:extLst>
                <a:ext uri="{FF2B5EF4-FFF2-40B4-BE49-F238E27FC236}">
                  <a16:creationId xmlns:a16="http://schemas.microsoft.com/office/drawing/2014/main" id="{544F9F76-C63B-4759-AD6F-5A142A8AE47E}"/>
                </a:ext>
              </a:extLst>
            </p:cNvPr>
            <p:cNvSpPr/>
            <p:nvPr/>
          </p:nvSpPr>
          <p:spPr>
            <a:xfrm>
              <a:off x="5134450" y="5743453"/>
              <a:ext cx="1008112" cy="504056"/>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000" dirty="0"/>
                <a:t>有害事象の報告</a:t>
              </a:r>
              <a:endParaRPr kumimoji="1" lang="en-US" sz="1000" dirty="0"/>
            </a:p>
          </p:txBody>
        </p:sp>
        <p:sp>
          <p:nvSpPr>
            <p:cNvPr id="28" name="Rectangle: Rounded Corners 27">
              <a:extLst>
                <a:ext uri="{FF2B5EF4-FFF2-40B4-BE49-F238E27FC236}">
                  <a16:creationId xmlns:a16="http://schemas.microsoft.com/office/drawing/2014/main" id="{956757A2-1359-4977-A822-84D16B12D155}"/>
                </a:ext>
              </a:extLst>
            </p:cNvPr>
            <p:cNvSpPr/>
            <p:nvPr/>
          </p:nvSpPr>
          <p:spPr>
            <a:xfrm>
              <a:off x="6393160" y="5733256"/>
              <a:ext cx="1008112" cy="504056"/>
            </a:xfrm>
            <a:prstGeom prst="roundRect">
              <a:avLst/>
            </a:prstGeom>
            <a:solidFill>
              <a:srgbClr val="A2BBDC"/>
            </a:solidFill>
          </p:spPr>
          <p:txBody>
            <a:bodyPr wrap="square" rtlCol="0" anchor="ctr">
              <a:noAutofit/>
            </a:bodyPr>
            <a:lstStyle/>
            <a:p>
              <a:pPr marL="0" algn="ctr" fontAlgn="ctr">
                <a:lnSpc>
                  <a:spcPct val="114000"/>
                </a:lnSpc>
                <a:spcAft>
                  <a:spcPts val="400"/>
                </a:spcAft>
              </a:pPr>
              <a:r>
                <a:rPr kumimoji="1" lang="ja-JP" altLang="en-US" sz="1000" dirty="0"/>
                <a:t>製品欠陥の報告</a:t>
              </a:r>
              <a:endParaRPr kumimoji="1" lang="en-US" sz="1000" dirty="0"/>
            </a:p>
          </p:txBody>
        </p:sp>
        <p:cxnSp>
          <p:nvCxnSpPr>
            <p:cNvPr id="30" name="Straight Arrow Connector 29">
              <a:extLst>
                <a:ext uri="{FF2B5EF4-FFF2-40B4-BE49-F238E27FC236}">
                  <a16:creationId xmlns:a16="http://schemas.microsoft.com/office/drawing/2014/main" id="{1665BD04-E2D1-4158-BC1A-CCB200990FF1}"/>
                </a:ext>
              </a:extLst>
            </p:cNvPr>
            <p:cNvCxnSpPr>
              <a:stCxn id="20" idx="2"/>
              <a:endCxn id="23" idx="0"/>
            </p:cNvCxnSpPr>
            <p:nvPr/>
          </p:nvCxnSpPr>
          <p:spPr>
            <a:xfrm>
              <a:off x="3691406" y="4344969"/>
              <a:ext cx="0" cy="164151"/>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B70659FA-2249-4E89-8C6F-B1A85533B68C}"/>
                </a:ext>
              </a:extLst>
            </p:cNvPr>
            <p:cNvCxnSpPr>
              <a:stCxn id="23" idx="2"/>
              <a:endCxn id="24" idx="2"/>
            </p:cNvCxnSpPr>
            <p:nvPr/>
          </p:nvCxnSpPr>
          <p:spPr>
            <a:xfrm rot="5400000" flipH="1" flipV="1">
              <a:off x="4728013" y="3961551"/>
              <a:ext cx="15018" cy="2088232"/>
            </a:xfrm>
            <a:prstGeom prst="bentConnector3">
              <a:avLst>
                <a:gd name="adj1" fmla="val -1522173"/>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Connector: Elbow 36">
              <a:extLst>
                <a:ext uri="{FF2B5EF4-FFF2-40B4-BE49-F238E27FC236}">
                  <a16:creationId xmlns:a16="http://schemas.microsoft.com/office/drawing/2014/main" id="{C6DFF8B9-3B89-4CC7-B828-D139AB523A6C}"/>
                </a:ext>
              </a:extLst>
            </p:cNvPr>
            <p:cNvCxnSpPr>
              <a:stCxn id="25" idx="0"/>
              <a:endCxn id="28" idx="0"/>
            </p:cNvCxnSpPr>
            <p:nvPr/>
          </p:nvCxnSpPr>
          <p:spPr>
            <a:xfrm rot="5400000" flipH="1" flipV="1">
              <a:off x="4993856" y="3860487"/>
              <a:ext cx="30591" cy="3776130"/>
            </a:xfrm>
            <a:prstGeom prst="bentConnector3">
              <a:avLst>
                <a:gd name="adj1" fmla="val 847279"/>
              </a:avLst>
            </a:prstGeom>
            <a:ln w="952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52488BDD-5FEE-4382-A653-07105306DEB9}"/>
                </a:ext>
              </a:extLst>
            </p:cNvPr>
            <p:cNvSpPr/>
            <p:nvPr/>
          </p:nvSpPr>
          <p:spPr>
            <a:xfrm>
              <a:off x="1941861" y="5333734"/>
              <a:ext cx="5544616" cy="1026062"/>
            </a:xfrm>
            <a:prstGeom prst="rect">
              <a:avLst/>
            </a:prstGeom>
            <a:noFill/>
            <a:ln w="3175">
              <a:solidFill>
                <a:schemeClr val="tx1"/>
              </a:solidFill>
              <a:prstDash val="dash"/>
            </a:ln>
          </p:spPr>
          <p:txBody>
            <a:bodyPr wrap="square" rtlCol="0" anchor="ctr">
              <a:noAutofit/>
            </a:bodyPr>
            <a:lstStyle/>
            <a:p>
              <a:pPr marL="0" algn="ctr" fontAlgn="ctr">
                <a:lnSpc>
                  <a:spcPct val="114000"/>
                </a:lnSpc>
                <a:spcAft>
                  <a:spcPts val="400"/>
                </a:spcAft>
              </a:pPr>
              <a:endParaRPr kumimoji="1" lang="en-US" sz="1200" dirty="0"/>
            </a:p>
          </p:txBody>
        </p:sp>
        <p:cxnSp>
          <p:nvCxnSpPr>
            <p:cNvPr id="42" name="Connector: Elbow 41">
              <a:extLst>
                <a:ext uri="{FF2B5EF4-FFF2-40B4-BE49-F238E27FC236}">
                  <a16:creationId xmlns:a16="http://schemas.microsoft.com/office/drawing/2014/main" id="{BE1A494E-3281-4903-B4C2-7D85B89D7A9E}"/>
                </a:ext>
              </a:extLst>
            </p:cNvPr>
            <p:cNvCxnSpPr>
              <a:cxnSpLocks/>
              <a:stCxn id="27" idx="0"/>
              <a:endCxn id="26" idx="0"/>
            </p:cNvCxnSpPr>
            <p:nvPr/>
          </p:nvCxnSpPr>
          <p:spPr>
            <a:xfrm rot="16200000" flipH="1" flipV="1">
              <a:off x="5004052" y="5119196"/>
              <a:ext cx="10197" cy="1258710"/>
            </a:xfrm>
            <a:prstGeom prst="bentConnector3">
              <a:avLst>
                <a:gd name="adj1" fmla="val -2293076"/>
              </a:avLst>
            </a:prstGeom>
            <a:ln w="952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51AC3FB8-94FB-408B-975E-0175DEC67E86}"/>
                </a:ext>
              </a:extLst>
            </p:cNvPr>
            <p:cNvCxnSpPr/>
            <p:nvPr/>
          </p:nvCxnSpPr>
          <p:spPr>
            <a:xfrm>
              <a:off x="4736976" y="5229200"/>
              <a:ext cx="0" cy="28803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C6B27C96-8D56-4526-83F2-4EBCBC04DF08}"/>
                </a:ext>
              </a:extLst>
            </p:cNvPr>
            <p:cNvSpPr txBox="1"/>
            <p:nvPr/>
          </p:nvSpPr>
          <p:spPr>
            <a:xfrm>
              <a:off x="1928664" y="5319697"/>
              <a:ext cx="936104" cy="369332"/>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900" dirty="0"/>
                <a:t>医薬品の輸入及び製造</a:t>
              </a:r>
              <a:endParaRPr lang="en-US" sz="900" dirty="0"/>
            </a:p>
          </p:txBody>
        </p:sp>
      </p:grpSp>
    </p:spTree>
    <p:extLst>
      <p:ext uri="{BB962C8B-B14F-4D97-AF65-F5344CB8AC3E}">
        <p14:creationId xmlns:p14="http://schemas.microsoft.com/office/powerpoint/2010/main" val="6149645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1C8FAC2-311D-4315-98E1-B1EA46534FF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473" imgH="473" progId="TCLayout.ActiveDocument.1">
                  <p:embed/>
                </p:oleObj>
              </mc:Choice>
              <mc:Fallback>
                <p:oleObj name="think-cell Slide" r:id="rId5" imgW="473" imgH="473" progId="TCLayout.ActiveDocument.1">
                  <p:embed/>
                  <p:pic>
                    <p:nvPicPr>
                      <p:cNvPr id="2" name="Object 1" hidden="1">
                        <a:extLst>
                          <a:ext uri="{FF2B5EF4-FFF2-40B4-BE49-F238E27FC236}">
                            <a16:creationId xmlns:a16="http://schemas.microsoft.com/office/drawing/2014/main" id="{11C8FAC2-311D-4315-98E1-B1EA46534FF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a:t>目次（</a:t>
            </a:r>
            <a:r>
              <a:rPr lang="en-US" altLang="ja-JP" dirty="0"/>
              <a:t>2/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1023115756"/>
              </p:ext>
            </p:extLst>
          </p:nvPr>
        </p:nvGraphicFramePr>
        <p:xfrm>
          <a:off x="200472" y="1152000"/>
          <a:ext cx="4499998" cy="4856991"/>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7999">
                  <a:extLst>
                    <a:ext uri="{9D8B030D-6E8A-4147-A177-3AD203B41FA5}">
                      <a16:colId xmlns:a16="http://schemas.microsoft.com/office/drawing/2014/main" val="20003"/>
                    </a:ext>
                  </a:extLst>
                </a:gridCol>
                <a:gridCol w="287999">
                  <a:extLst>
                    <a:ext uri="{9D8B030D-6E8A-4147-A177-3AD203B41FA5}">
                      <a16:colId xmlns:a16="http://schemas.microsoft.com/office/drawing/2014/main" val="20004"/>
                    </a:ext>
                  </a:extLst>
                </a:gridCol>
              </a:tblGrid>
              <a:tr h="213039">
                <a:tc gridSpan="3">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200" kern="1200" dirty="0">
                          <a:solidFill>
                            <a:schemeClr val="tx1"/>
                          </a:solidFill>
                          <a:latin typeface="HGP創英角ｺﾞｼｯｸUB" panose="020B0900000000000000" pitchFamily="50" charset="-128"/>
                          <a:ea typeface="HGP創英角ｺﾞｼｯｸUB" panose="020B0900000000000000" pitchFamily="50" charset="-128"/>
                          <a:cs typeface="+mn-cs"/>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3589505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3155490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3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3807597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4201920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3913222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3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2922293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3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3915366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日本企業以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3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506101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日本企業以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1200011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ローカル企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3991652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0149363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市場規模</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歯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654060159"/>
              </p:ext>
            </p:extLst>
          </p:nvPr>
        </p:nvGraphicFramePr>
        <p:xfrm>
          <a:off x="5205528" y="1152000"/>
          <a:ext cx="4500000" cy="4810135"/>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kern="1200" dirty="0">
                          <a:solidFill>
                            <a:schemeClr val="tx1"/>
                          </a:solidFill>
                          <a:latin typeface="+mn-lt"/>
                          <a:ea typeface="+mn-ea"/>
                          <a:cs typeface="+mn-cs"/>
                        </a:rPr>
                        <a:t>その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a:lnSpc>
                          <a:spcPct val="90000"/>
                        </a:lnSpc>
                      </a:pPr>
                      <a:endParaRPr lang="ja-JP" altLang="en-US" sz="1050" dirty="0"/>
                    </a:p>
                  </a:txBody>
                  <a:tcPr marL="36000" marR="36000" marT="36000" marB="252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39725431"/>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t>デジタルヘルス関連</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8878633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t>オンライン診療の主要プラットフォーマー</a:t>
                      </a:r>
                      <a:endParaRPr kumimoji="1"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1367459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学会</a:t>
                      </a: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7226628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団体・イベント</a:t>
                      </a: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0869250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zh-CN" altLang="en-US" sz="1050" dirty="0"/>
                        <a:t>外国人患者受入／医療渡航</a:t>
                      </a:r>
                      <a:endParaRPr lang="ja-JP"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1161233"/>
                  </a:ext>
                </a:extLst>
              </a:tr>
              <a:tr h="213039">
                <a:tc gridSpan="3">
                  <a:txBody>
                    <a:bodyPr/>
                    <a:lstStyle/>
                    <a:p>
                      <a:pPr lvl="0">
                        <a:lnSpc>
                          <a:spcPct val="90000"/>
                        </a:lnSpc>
                      </a:pPr>
                      <a:endPar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gridSpan="3">
                  <a:txBody>
                    <a:bodyPr/>
                    <a:lstStyle/>
                    <a:p>
                      <a:pPr lvl="0">
                        <a:lnSpc>
                          <a:spcPct val="90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医療関連政策の将来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gridSpan="3">
                  <a:txBody>
                    <a:bodyPr/>
                    <a:lstStyle/>
                    <a:p>
                      <a:pPr lvl="0">
                        <a:lnSpc>
                          <a:spcPct val="90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とシンガポール共和国保健省の協力覚書（</a:t>
                      </a:r>
                      <a:r>
                        <a:rPr lang="en-US" altLang="ja-JP" sz="1050" dirty="0"/>
                        <a:t>MOC</a:t>
                      </a:r>
                      <a:r>
                        <a:rPr lang="ja-JP" altLang="en-US" sz="1050" dirty="0"/>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en-US" altLang="ja-JP" sz="1050" dirty="0"/>
                        <a:t>JICA</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en-US" altLang="ja-JP" sz="1050" dirty="0"/>
                        <a:t>AMED</a:t>
                      </a:r>
                      <a:r>
                        <a:rPr lang="ja-JP" altLang="en-US" sz="1050" dirty="0"/>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en-US" altLang="ja-JP" sz="1050" dirty="0"/>
                        <a:t>JETRO</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7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77746017"/>
                  </a:ext>
                </a:extLst>
              </a:tr>
            </a:tbl>
          </a:graphicData>
        </a:graphic>
      </p:graphicFrame>
      <p:cxnSp>
        <p:nvCxnSpPr>
          <p:cNvPr id="16" name="Straight Connector 15">
            <a:extLst>
              <a:ext uri="{FF2B5EF4-FFF2-40B4-BE49-F238E27FC236}">
                <a16:creationId xmlns:a16="http://schemas.microsoft.com/office/drawing/2014/main" id="{5BEA9CEF-6DFE-459A-A818-10306496EF9D}"/>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B8B03988-7762-4AD3-8639-8D71695A6701}"/>
              </a:ext>
            </a:extLst>
          </p:cNvPr>
          <p:cNvGrpSpPr/>
          <p:nvPr/>
        </p:nvGrpSpPr>
        <p:grpSpPr>
          <a:xfrm>
            <a:off x="-3229139" y="3284984"/>
            <a:ext cx="7929609" cy="2054546"/>
            <a:chOff x="-3301149" y="4725144"/>
            <a:chExt cx="7929609" cy="2054546"/>
          </a:xfrm>
        </p:grpSpPr>
        <p:sp>
          <p:nvSpPr>
            <p:cNvPr id="17" name="Oval 16">
              <a:extLst>
                <a:ext uri="{FF2B5EF4-FFF2-40B4-BE49-F238E27FC236}">
                  <a16:creationId xmlns:a16="http://schemas.microsoft.com/office/drawing/2014/main" id="{AE3354D8-DB6A-4B84-ACC6-F1832CF5B290}"/>
                </a:ext>
              </a:extLst>
            </p:cNvPr>
            <p:cNvSpPr/>
            <p:nvPr/>
          </p:nvSpPr>
          <p:spPr>
            <a:xfrm>
              <a:off x="272480" y="4725144"/>
              <a:ext cx="4355980" cy="359445"/>
            </a:xfrm>
            <a:prstGeom prst="ellipse">
              <a:avLst/>
            </a:prstGeom>
            <a:noFill/>
            <a:ln>
              <a:solidFill>
                <a:srgbClr val="FF0000"/>
              </a:solidFill>
            </a:ln>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18" name="Straight Arrow Connector 17">
              <a:extLst>
                <a:ext uri="{FF2B5EF4-FFF2-40B4-BE49-F238E27FC236}">
                  <a16:creationId xmlns:a16="http://schemas.microsoft.com/office/drawing/2014/main" id="{1D144FA3-DB36-4415-9246-52A3A4E43336}"/>
                </a:ext>
              </a:extLst>
            </p:cNvPr>
            <p:cNvCxnSpPr/>
            <p:nvPr/>
          </p:nvCxnSpPr>
          <p:spPr>
            <a:xfrm flipV="1">
              <a:off x="-519608" y="5013176"/>
              <a:ext cx="792088" cy="360040"/>
            </a:xfrm>
            <a:prstGeom prst="straightConnector1">
              <a:avLst/>
            </a:prstGeom>
            <a:ln w="95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9245700E-4989-455C-88C2-26DE2D74619D}"/>
                </a:ext>
              </a:extLst>
            </p:cNvPr>
            <p:cNvSpPr txBox="1"/>
            <p:nvPr/>
          </p:nvSpPr>
          <p:spPr>
            <a:xfrm>
              <a:off x="-3301149" y="4889942"/>
              <a:ext cx="3229139" cy="1889748"/>
            </a:xfrm>
            <a:prstGeom prst="rect">
              <a:avLst/>
            </a:prstGeom>
            <a:solidFill>
              <a:srgbClr val="92D050"/>
            </a:solidFill>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dirty="0">
                  <a:solidFill>
                    <a:srgbClr val="FF0000"/>
                  </a:solidFill>
                </a:rPr>
                <a:t>要確認</a:t>
              </a:r>
            </a:p>
            <a:p>
              <a:pPr marL="0" indent="0">
                <a:buNone/>
              </a:pPr>
              <a:r>
                <a:rPr lang="ja-JP" altLang="en-US" dirty="0">
                  <a:solidFill>
                    <a:srgbClr val="FF0000"/>
                  </a:solidFill>
                </a:rPr>
                <a:t>原稿で医療機器、「業界構造</a:t>
              </a:r>
              <a:r>
                <a:rPr lang="en-US" altLang="ja-JP" dirty="0">
                  <a:solidFill>
                    <a:srgbClr val="FF0000"/>
                  </a:solidFill>
                </a:rPr>
                <a:t>-</a:t>
              </a:r>
              <a:r>
                <a:rPr lang="ja-JP" altLang="en-US" dirty="0">
                  <a:solidFill>
                    <a:srgbClr val="FF0000"/>
                  </a:solidFill>
                </a:rPr>
                <a:t>流通」が４</a:t>
              </a:r>
              <a:r>
                <a:rPr lang="en-US" altLang="ja-JP" dirty="0">
                  <a:solidFill>
                    <a:srgbClr val="FF0000"/>
                  </a:solidFill>
                </a:rPr>
                <a:t>2</a:t>
              </a:r>
              <a:r>
                <a:rPr lang="ja-JP" altLang="en-US" dirty="0">
                  <a:solidFill>
                    <a:srgbClr val="FF0000"/>
                  </a:solidFill>
                </a:rPr>
                <a:t>ページで終わったあと、</a:t>
              </a:r>
              <a:r>
                <a:rPr lang="en-US" altLang="ja-JP" dirty="0">
                  <a:solidFill>
                    <a:srgbClr val="FF0000"/>
                  </a:solidFill>
                </a:rPr>
                <a:t>P.44-46</a:t>
              </a:r>
              <a:r>
                <a:rPr lang="ja-JP" altLang="en-US" dirty="0">
                  <a:solidFill>
                    <a:srgbClr val="FF0000"/>
                  </a:solidFill>
                </a:rPr>
                <a:t>も同じタイトルで続いておりましたので、この</a:t>
              </a:r>
              <a:r>
                <a:rPr lang="en-US" altLang="ja-JP" dirty="0">
                  <a:solidFill>
                    <a:srgbClr val="FF0000"/>
                  </a:solidFill>
                </a:rPr>
                <a:t>3</a:t>
              </a:r>
              <a:r>
                <a:rPr lang="ja-JP" altLang="en-US" dirty="0">
                  <a:solidFill>
                    <a:srgbClr val="FF0000"/>
                  </a:solidFill>
                </a:rPr>
                <a:t>ページを</a:t>
              </a:r>
              <a:r>
                <a:rPr lang="en-US" altLang="ja-JP" dirty="0">
                  <a:solidFill>
                    <a:srgbClr val="FF0000"/>
                  </a:solidFill>
                </a:rPr>
                <a:t>42</a:t>
              </a:r>
              <a:r>
                <a:rPr lang="ja-JP" altLang="en-US" dirty="0">
                  <a:solidFill>
                    <a:srgbClr val="FF0000"/>
                  </a:solidFill>
                </a:rPr>
                <a:t>ページの後ろにずらしました</a:t>
              </a:r>
              <a:r>
                <a:rPr lang="en-US" altLang="ja-JP" dirty="0">
                  <a:solidFill>
                    <a:srgbClr val="FF0000"/>
                  </a:solidFill>
                </a:rPr>
                <a:t>(</a:t>
              </a:r>
              <a:r>
                <a:rPr lang="ja-JP" altLang="en-US" dirty="0">
                  <a:solidFill>
                    <a:srgbClr val="FF0000"/>
                  </a:solidFill>
                </a:rPr>
                <a:t>現在</a:t>
              </a:r>
              <a:r>
                <a:rPr lang="en-US" altLang="ja-JP" dirty="0">
                  <a:solidFill>
                    <a:srgbClr val="FF0000"/>
                  </a:solidFill>
                </a:rPr>
                <a:t>43-45</a:t>
              </a:r>
              <a:r>
                <a:rPr lang="ja-JP" altLang="en-US" dirty="0">
                  <a:solidFill>
                    <a:srgbClr val="FF0000"/>
                  </a:solidFill>
                </a:rPr>
                <a:t>ページに入っています</a:t>
              </a:r>
              <a:r>
                <a:rPr lang="en-US" altLang="ja-JP" dirty="0">
                  <a:solidFill>
                    <a:srgbClr val="FF0000"/>
                  </a:solidFill>
                </a:rPr>
                <a:t>)</a:t>
              </a:r>
              <a:endParaRPr lang="ja-JP" altLang="en-US" dirty="0">
                <a:solidFill>
                  <a:srgbClr val="FF0000"/>
                </a:solidFill>
              </a:endParaRPr>
            </a:p>
          </p:txBody>
        </p:sp>
      </p:grpSp>
    </p:spTree>
    <p:extLst>
      <p:ext uri="{BB962C8B-B14F-4D97-AF65-F5344CB8AC3E}">
        <p14:creationId xmlns:p14="http://schemas.microsoft.com/office/powerpoint/2010/main" val="5460554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7C005844-C499-4356-B4D3-683A3D9DB136}"/>
              </a:ext>
            </a:extLst>
          </p:cNvPr>
          <p:cNvGraphicFramePr>
            <a:graphicFrameLocks noChangeAspect="1"/>
          </p:cNvGraphicFramePr>
          <p:nvPr>
            <p:custDataLst>
              <p:tags r:id="rId2"/>
            </p:custDataLst>
            <p:extLst>
              <p:ext uri="{D42A27DB-BD31-4B8C-83A1-F6EECF244321}">
                <p14:modId xmlns:p14="http://schemas.microsoft.com/office/powerpoint/2010/main" val="636325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5" imgW="395" imgH="396" progId="TCLayout.ActiveDocument.1">
                  <p:embed/>
                </p:oleObj>
              </mc:Choice>
              <mc:Fallback>
                <p:oleObj name="think-cell Slide" r:id="rId5" imgW="395" imgH="396" progId="TCLayout.ActiveDocument.1">
                  <p:embed/>
                  <p:pic>
                    <p:nvPicPr>
                      <p:cNvPr id="3" name="Object 1" hidden="1">
                        <a:extLst>
                          <a:ext uri="{FF2B5EF4-FFF2-40B4-BE49-F238E27FC236}">
                            <a16:creationId xmlns:a16="http://schemas.microsoft.com/office/drawing/2014/main" id="{7C005844-C499-4356-B4D3-683A3D9DB13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dirty="0"/>
              <a:t>シンガポール／医療関連／制度</a:t>
            </a:r>
          </a:p>
        </p:txBody>
      </p:sp>
      <p:sp>
        <p:nvSpPr>
          <p:cNvPr id="6" name="テキスト プレースホルダー 5"/>
          <p:cNvSpPr>
            <a:spLocks noGrp="1"/>
          </p:cNvSpPr>
          <p:nvPr>
            <p:ph type="body" sz="quarter" idx="15"/>
          </p:nvPr>
        </p:nvSpPr>
        <p:spPr>
          <a:xfrm>
            <a:off x="200025" y="508610"/>
            <a:ext cx="9505950" cy="400110"/>
          </a:xfrm>
        </p:spPr>
        <p:txBody>
          <a:bodyPr vert="horz" lIns="91440" tIns="45720" rIns="91440" bIns="45720" rtlCol="0" anchor="b" anchorCtr="0">
            <a:noAutofit/>
          </a:bodyPr>
          <a:lstStyle/>
          <a:p>
            <a:r>
              <a:rPr lang="ja-JP" altLang="en-US" b="1" dirty="0">
                <a:latin typeface="Meiryo UI" panose="020B0604030504040204" pitchFamily="34" charset="-128"/>
                <a:ea typeface="Meiryo UI" panose="020B0604030504040204" pitchFamily="34" charset="-128"/>
              </a:rPr>
              <a:t>臨床試験に関する規制</a:t>
            </a:r>
          </a:p>
        </p:txBody>
      </p:sp>
      <p:sp>
        <p:nvSpPr>
          <p:cNvPr id="4" name="Sticky">
            <a:extLst>
              <a:ext uri="{FF2B5EF4-FFF2-40B4-BE49-F238E27FC236}">
                <a16:creationId xmlns:a16="http://schemas.microsoft.com/office/drawing/2014/main" id="{AAA12E64-8B0B-47D6-8570-0606F1D6D757}"/>
              </a:ext>
            </a:extLst>
          </p:cNvPr>
          <p:cNvSpPr/>
          <p:nvPr>
            <p:custDataLst>
              <p:tags r:id="rId3"/>
            </p:custDataLst>
          </p:nvPr>
        </p:nvSpPr>
        <p:spPr>
          <a:xfrm>
            <a:off x="9906000" y="2564904"/>
            <a:ext cx="1905000" cy="1040890"/>
          </a:xfrm>
          <a:prstGeom prst="foldedCorner">
            <a:avLst/>
          </a:prstGeom>
          <a:solidFill>
            <a:srgbClr val="FFFF66"/>
          </a:solidFill>
        </p:spPr>
        <p:txBody>
          <a:bodyPr wrap="square" lIns="63500" tIns="70638" rIns="63500" bIns="63500" rtlCol="0" anchor="t">
            <a:spAutoFit/>
          </a:bodyPr>
          <a:lstStyle/>
          <a:p>
            <a:pPr marL="0" fontAlgn="ctr">
              <a:lnSpc>
                <a:spcPct val="114000"/>
              </a:lnSpc>
              <a:spcAft>
                <a:spcPts val="400"/>
              </a:spcAft>
            </a:pPr>
            <a:r>
              <a:rPr kumimoji="1" lang="en-US" sz="1400" dirty="0">
                <a:solidFill>
                  <a:srgbClr val="000000"/>
                </a:solidFill>
              </a:rPr>
              <a:t>https://www.hsa.gov.sg/clinical-trials/overview</a:t>
            </a:r>
          </a:p>
        </p:txBody>
      </p:sp>
      <p:sp>
        <p:nvSpPr>
          <p:cNvPr id="39" name="テキスト ボックス 3">
            <a:extLst>
              <a:ext uri="{FF2B5EF4-FFF2-40B4-BE49-F238E27FC236}">
                <a16:creationId xmlns:a16="http://schemas.microsoft.com/office/drawing/2014/main" id="{90761275-CB52-4120-9287-BDF9B4ABDDEC}"/>
              </a:ext>
            </a:extLst>
          </p:cNvPr>
          <p:cNvSpPr txBox="1"/>
          <p:nvPr/>
        </p:nvSpPr>
        <p:spPr>
          <a:xfrm>
            <a:off x="200472" y="1124744"/>
            <a:ext cx="9505056" cy="121783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治療薬、クラス2の細胞・組織・遺伝子治療製品（CTGTP）、</a:t>
            </a:r>
            <a:r>
              <a:rPr lang="ja-JP" altLang="en-US" sz="1400" dirty="0"/>
              <a:t>伝統的</a:t>
            </a:r>
            <a:r>
              <a:rPr lang="en-US" altLang="ja-JP" sz="1400" dirty="0"/>
              <a:t>医薬品（中国独自の医薬品、病気の治療や予防を目的とした健康補助食品など）の臨床試験は、観察臨床試験を除き、すべてにHSAよって規制されてい</a:t>
            </a:r>
            <a:r>
              <a:rPr lang="ja-JP" altLang="en-US" sz="1400" dirty="0"/>
              <a:t>る</a:t>
            </a:r>
            <a:r>
              <a:rPr lang="en-US" altLang="ja-JP" sz="1400" dirty="0"/>
              <a:t>。</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クラス</a:t>
            </a:r>
            <a:r>
              <a:rPr lang="en-US" altLang="ja-JP" sz="1400" dirty="0"/>
              <a:t>1</a:t>
            </a:r>
            <a:r>
              <a:rPr lang="ja-JP" altLang="en-US" sz="1400" dirty="0"/>
              <a:t>の</a:t>
            </a:r>
            <a:r>
              <a:rPr lang="en-US" altLang="ja-JP" sz="1400" dirty="0"/>
              <a:t>CTGTP</a:t>
            </a:r>
            <a:r>
              <a:rPr lang="ja-JP" altLang="en-US" sz="1400" dirty="0"/>
              <a:t>や医療機器に関する臨床試験は、</a:t>
            </a:r>
            <a:r>
              <a:rPr lang="en-US" altLang="ja-JP" sz="1400" dirty="0"/>
              <a:t>HAS</a:t>
            </a:r>
            <a:r>
              <a:rPr lang="ja-JP" altLang="en-US" sz="1400" dirty="0"/>
              <a:t>による規制はされていないが、ヒト生物医学研究法（</a:t>
            </a:r>
            <a:r>
              <a:rPr lang="en-US" altLang="ja-JP" sz="1400" dirty="0"/>
              <a:t>Human Biomedical Research Act</a:t>
            </a:r>
            <a:r>
              <a:rPr lang="ja-JP" altLang="en-US" sz="1400" dirty="0"/>
              <a:t>）を遵守する必要があ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 name="グループ化 7">
            <a:extLst>
              <a:ext uri="{FF2B5EF4-FFF2-40B4-BE49-F238E27FC236}">
                <a16:creationId xmlns:a16="http://schemas.microsoft.com/office/drawing/2014/main" id="{3F78E9A8-DD7A-454D-9FF1-C33DFC200BA8}"/>
              </a:ext>
            </a:extLst>
          </p:cNvPr>
          <p:cNvGrpSpPr/>
          <p:nvPr/>
        </p:nvGrpSpPr>
        <p:grpSpPr>
          <a:xfrm>
            <a:off x="1208584" y="2132856"/>
            <a:ext cx="7488832" cy="288032"/>
            <a:chOff x="4803500" y="2113806"/>
            <a:chExt cx="2954133" cy="288032"/>
          </a:xfrm>
        </p:grpSpPr>
        <p:cxnSp>
          <p:nvCxnSpPr>
            <p:cNvPr id="10" name="直線コネクタ 16">
              <a:extLst>
                <a:ext uri="{FF2B5EF4-FFF2-40B4-BE49-F238E27FC236}">
                  <a16:creationId xmlns:a16="http://schemas.microsoft.com/office/drawing/2014/main" id="{8F5D0961-5DA0-4C64-88CB-FB5E7165398D}"/>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 name="Rectangle 6">
              <a:extLst>
                <a:ext uri="{FF2B5EF4-FFF2-40B4-BE49-F238E27FC236}">
                  <a16:creationId xmlns:a16="http://schemas.microsoft.com/office/drawing/2014/main" id="{81CFF87A-40E2-46B3-94FB-1336133DD433}"/>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臨床試験に関する主な規制分類</a:t>
              </a:r>
            </a:p>
          </p:txBody>
        </p:sp>
      </p:grpSp>
      <p:graphicFrame>
        <p:nvGraphicFramePr>
          <p:cNvPr id="12" name="表 34">
            <a:extLst>
              <a:ext uri="{FF2B5EF4-FFF2-40B4-BE49-F238E27FC236}">
                <a16:creationId xmlns:a16="http://schemas.microsoft.com/office/drawing/2014/main" id="{B2D1F001-5BB5-49BB-986A-65101DB1C5ED}"/>
              </a:ext>
            </a:extLst>
          </p:cNvPr>
          <p:cNvGraphicFramePr>
            <a:graphicFrameLocks noGrp="1"/>
          </p:cNvGraphicFramePr>
          <p:nvPr/>
        </p:nvGraphicFramePr>
        <p:xfrm>
          <a:off x="1208583" y="2492896"/>
          <a:ext cx="7488833" cy="1605762"/>
        </p:xfrm>
        <a:graphic>
          <a:graphicData uri="http://schemas.openxmlformats.org/drawingml/2006/table">
            <a:tbl>
              <a:tblPr firstRow="1" bandRow="1">
                <a:tableStyleId>{2D5ABB26-0587-4C30-8999-92F81FD0307C}</a:tableStyleId>
              </a:tblPr>
              <a:tblGrid>
                <a:gridCol w="1800201">
                  <a:extLst>
                    <a:ext uri="{9D8B030D-6E8A-4147-A177-3AD203B41FA5}">
                      <a16:colId xmlns:a16="http://schemas.microsoft.com/office/drawing/2014/main" val="20000"/>
                    </a:ext>
                  </a:extLst>
                </a:gridCol>
                <a:gridCol w="3168352">
                  <a:extLst>
                    <a:ext uri="{9D8B030D-6E8A-4147-A177-3AD203B41FA5}">
                      <a16:colId xmlns:a16="http://schemas.microsoft.com/office/drawing/2014/main" val="20001"/>
                    </a:ext>
                  </a:extLst>
                </a:gridCol>
                <a:gridCol w="2520280">
                  <a:extLst>
                    <a:ext uri="{9D8B030D-6E8A-4147-A177-3AD203B41FA5}">
                      <a16:colId xmlns:a16="http://schemas.microsoft.com/office/drawing/2014/main" val="20003"/>
                    </a:ext>
                  </a:extLst>
                </a:gridCol>
              </a:tblGrid>
              <a:tr h="347192">
                <a:tc>
                  <a:txBody>
                    <a:bodyPr/>
                    <a:lstStyle/>
                    <a:p>
                      <a:pPr algn="ctr" fontAlgn="ctr" hangingPunct="0"/>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分類</a:t>
                      </a: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な規制</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提出内容</a:t>
                      </a:r>
                    </a:p>
                  </a:txBody>
                  <a:tcPr marL="72000" marR="0" marT="0" marB="0" anchor="ctr">
                    <a:lnL w="12700" cap="flat" cmpd="sng" algn="ctr">
                      <a:solidFill>
                        <a:schemeClr val="tx2"/>
                      </a:solidFill>
                      <a:prstDash val="solid"/>
                      <a:round/>
                      <a:headEnd type="none" w="med" len="med"/>
                      <a:tailEnd type="none" w="med" len="med"/>
                    </a:lnL>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47192">
                <a:tc>
                  <a:txBody>
                    <a:bodyPr/>
                    <a:lstStyle/>
                    <a:p>
                      <a:pPr algn="ctr" fontAlgn="ctr" hangingPunct="0"/>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治療薬</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rowSpan="2">
                  <a:txBody>
                    <a:bodyPr/>
                    <a:lstStyle/>
                    <a:p>
                      <a:pPr marL="0" indent="0" algn="ctr" fontAlgn="ctr" hangingPunct="0">
                        <a:buFont typeface="Arial" panose="020B0604020202020204" pitchFamily="34" charset="0"/>
                        <a:buNone/>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健康製品法、健康製品（臨床試験）規制</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rowSpan="2">
                  <a:txBody>
                    <a:bodyPr/>
                    <a:lstStyle/>
                    <a:p>
                      <a:pPr marL="0" indent="0" algn="ctr" fontAlgn="ctr" hangingPunct="0">
                        <a:buFont typeface="Arial" panose="020B0604020202020204" pitchFamily="34" charset="0"/>
                        <a:buNone/>
                      </a:pP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臨床試験認可（</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TA</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又は臨床試験通知（</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CTN</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aseline="30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564186">
                <a:tc>
                  <a:txBody>
                    <a:bodyPr/>
                    <a:lstStyle/>
                    <a:p>
                      <a:pPr algn="ctr" fontAlgn="ctr" hangingPunct="0"/>
                      <a:r>
                        <a:rPr kumimoji="1" lang="en-US" altLang="ja-JP" sz="105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クラス2の細胞・組織・遺伝子治療製品（CTGTP）</a:t>
                      </a:r>
                      <a:endParaRPr kumimoji="1" lang="ja-JP" altLang="en-US" sz="105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vMerge="1">
                  <a:txBody>
                    <a:bodyPr/>
                    <a:lstStyle/>
                    <a:p>
                      <a:pPr marL="0" marR="0" indent="0" algn="ctr" defTabSz="914400" rtl="0" eaLnBrk="1" fontAlgn="ctr" latinLnBrk="0" hangingPunct="0">
                        <a:lnSpc>
                          <a:spcPct val="100000"/>
                        </a:lnSpc>
                        <a:spcBef>
                          <a:spcPts val="0"/>
                        </a:spcBef>
                        <a:spcAft>
                          <a:spcPts val="200"/>
                        </a:spcAft>
                        <a:buClrTx/>
                        <a:buSzTx/>
                        <a:buFont typeface="Arial" pitchFamily="34" charset="0"/>
                        <a:buNone/>
                        <a:tabLst/>
                        <a:defRPr/>
                      </a:pP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vMerge="1">
                  <a:txBody>
                    <a:bodyPr/>
                    <a:lstStyle/>
                    <a:p>
                      <a:pPr marL="0" marR="0" indent="0" algn="ctr" defTabSz="914400" rtl="0" eaLnBrk="1" fontAlgn="ctr" latinLnBrk="0" hangingPunct="0">
                        <a:lnSpc>
                          <a:spcPct val="100000"/>
                        </a:lnSpc>
                        <a:spcBef>
                          <a:spcPts val="0"/>
                        </a:spcBef>
                        <a:spcAft>
                          <a:spcPts val="0"/>
                        </a:spcAft>
                        <a:buClr>
                          <a:srgbClr val="A2A2A2"/>
                        </a:buClr>
                        <a:buSzPct val="80000"/>
                        <a:buFont typeface="Wingdings" panose="05000000000000000000" pitchFamily="2" charset="2"/>
                        <a:buNone/>
                        <a:tabLst/>
                        <a:defRPr/>
                      </a:pP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PⅠ</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PⅡ</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PⅢ</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PⅣ</a:t>
                      </a:r>
                      <a:r>
                        <a:rPr lang="en-US" altLang="ja-JP" sz="1000" baseline="30000" dirty="0">
                          <a:latin typeface="Arial" panose="020B0604020202020204" pitchFamily="34" charset="0"/>
                          <a:ea typeface="ＭＳ Ｐゴシック" panose="020B0600070205080204" pitchFamily="50" charset="-128"/>
                          <a:cs typeface="Arial" panose="020B0604020202020204" pitchFamily="34" charset="0"/>
                        </a:rPr>
                        <a:t>※1</a:t>
                      </a:r>
                    </a:p>
                  </a:txBody>
                  <a:tcPr marL="7200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347192">
                <a:tc>
                  <a:txBody>
                    <a:bodyPr/>
                    <a:lstStyle/>
                    <a:p>
                      <a:pPr algn="ctr" fontAlgn="ctr" hangingPunct="0"/>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伝統的医薬品</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indent="0" algn="ctr" fontAlgn="ctr" hangingPunct="0">
                        <a:buFont typeface="Arial" panose="020B0604020202020204" pitchFamily="34" charset="0"/>
                        <a:buNone/>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薬品法、薬品（臨床試験）規制</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tc>
                  <a:txBody>
                    <a:bodyPr/>
                    <a:lstStyle/>
                    <a:p>
                      <a:pPr marL="0" indent="0" algn="ctr" fontAlgn="ctr" hangingPunct="0">
                        <a:buFont typeface="Arial" panose="020B0604020202020204" pitchFamily="34" charset="0"/>
                        <a:buNone/>
                      </a:pP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臨床試験証明</a:t>
                      </a:r>
                      <a:endPar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5" name="テキスト ボックス 3">
            <a:extLst>
              <a:ext uri="{FF2B5EF4-FFF2-40B4-BE49-F238E27FC236}">
                <a16:creationId xmlns:a16="http://schemas.microsoft.com/office/drawing/2014/main" id="{D1994498-2DF0-42A7-9331-FA1C6C1CB090}"/>
              </a:ext>
            </a:extLst>
          </p:cNvPr>
          <p:cNvSpPr txBox="1"/>
          <p:nvPr/>
        </p:nvSpPr>
        <p:spPr>
          <a:xfrm>
            <a:off x="200472" y="4221088"/>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HAS</a:t>
            </a:r>
            <a:r>
              <a:rPr lang="ja-JP" altLang="en-US" sz="1400" dirty="0"/>
              <a:t>によって臨床試験が規制されているか否かに関わらず、シンガポールで臨床研究材料（</a:t>
            </a:r>
            <a:r>
              <a:rPr lang="en-US" altLang="ja-JP" sz="1400" dirty="0"/>
              <a:t>CRM</a:t>
            </a:r>
            <a:r>
              <a:rPr lang="ja-JP" altLang="en-US" sz="1400" dirty="0"/>
              <a:t>）として使用される治療薬、</a:t>
            </a:r>
            <a:r>
              <a:rPr lang="en-US" altLang="ja-JP" sz="1400" dirty="0"/>
              <a:t>CTGTP</a:t>
            </a:r>
            <a:r>
              <a:rPr lang="ja-JP" altLang="en-US" sz="1400" dirty="0"/>
              <a:t>、医薬品または医療機器の製造、輸入および供給は、臨床研究材料に関する規制管理を遵守する必要がある。</a:t>
            </a:r>
            <a:endParaRPr lang="en-US" altLang="ja-JP" sz="1400" dirty="0"/>
          </a:p>
        </p:txBody>
      </p:sp>
      <p:grpSp>
        <p:nvGrpSpPr>
          <p:cNvPr id="16" name="グループ化 7">
            <a:extLst>
              <a:ext uri="{FF2B5EF4-FFF2-40B4-BE49-F238E27FC236}">
                <a16:creationId xmlns:a16="http://schemas.microsoft.com/office/drawing/2014/main" id="{85841E91-BA2D-4C33-A756-1BD7EEDCAEC5}"/>
              </a:ext>
            </a:extLst>
          </p:cNvPr>
          <p:cNvGrpSpPr/>
          <p:nvPr/>
        </p:nvGrpSpPr>
        <p:grpSpPr>
          <a:xfrm>
            <a:off x="1208584" y="4737993"/>
            <a:ext cx="7488832" cy="288032"/>
            <a:chOff x="4803500" y="2113806"/>
            <a:chExt cx="2954133" cy="288032"/>
          </a:xfrm>
        </p:grpSpPr>
        <p:cxnSp>
          <p:nvCxnSpPr>
            <p:cNvPr id="17" name="直線コネクタ 16">
              <a:extLst>
                <a:ext uri="{FF2B5EF4-FFF2-40B4-BE49-F238E27FC236}">
                  <a16:creationId xmlns:a16="http://schemas.microsoft.com/office/drawing/2014/main" id="{BDCDE0C5-A5DE-41E8-BBF4-C85FB79C11BF}"/>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a:extLst>
                <a:ext uri="{FF2B5EF4-FFF2-40B4-BE49-F238E27FC236}">
                  <a16:creationId xmlns:a16="http://schemas.microsoft.com/office/drawing/2014/main" id="{B048953D-4F3A-40B0-A51D-02898BAEEE19}"/>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臨床研究材料の製造、輸入等に関する主な規制分類</a:t>
              </a:r>
            </a:p>
          </p:txBody>
        </p:sp>
      </p:grpSp>
      <p:graphicFrame>
        <p:nvGraphicFramePr>
          <p:cNvPr id="19" name="表 34">
            <a:extLst>
              <a:ext uri="{FF2B5EF4-FFF2-40B4-BE49-F238E27FC236}">
                <a16:creationId xmlns:a16="http://schemas.microsoft.com/office/drawing/2014/main" id="{E44AD1C6-7C22-4F16-9F89-D66FCEE7CF7C}"/>
              </a:ext>
            </a:extLst>
          </p:cNvPr>
          <p:cNvGraphicFramePr>
            <a:graphicFrameLocks noGrp="1"/>
          </p:cNvGraphicFramePr>
          <p:nvPr/>
        </p:nvGraphicFramePr>
        <p:xfrm>
          <a:off x="1208583" y="5098033"/>
          <a:ext cx="7488830" cy="1571327"/>
        </p:xfrm>
        <a:graphic>
          <a:graphicData uri="http://schemas.openxmlformats.org/drawingml/2006/table">
            <a:tbl>
              <a:tblPr firstRow="1" bandRow="1">
                <a:tableStyleId>{2D5ABB26-0587-4C30-8999-92F81FD0307C}</a:tableStyleId>
              </a:tblPr>
              <a:tblGrid>
                <a:gridCol w="3744417">
                  <a:extLst>
                    <a:ext uri="{9D8B030D-6E8A-4147-A177-3AD203B41FA5}">
                      <a16:colId xmlns:a16="http://schemas.microsoft.com/office/drawing/2014/main" val="20000"/>
                    </a:ext>
                  </a:extLst>
                </a:gridCol>
                <a:gridCol w="3744413">
                  <a:extLst>
                    <a:ext uri="{9D8B030D-6E8A-4147-A177-3AD203B41FA5}">
                      <a16:colId xmlns:a16="http://schemas.microsoft.com/office/drawing/2014/main" val="20001"/>
                    </a:ext>
                  </a:extLst>
                </a:gridCol>
              </a:tblGrid>
              <a:tr h="347192">
                <a:tc>
                  <a:txBody>
                    <a:bodyPr/>
                    <a:lstStyle/>
                    <a:p>
                      <a:pPr algn="ctr" fontAlgn="ctr" hangingPunct="0"/>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分類</a:t>
                      </a: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主な規制</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08045">
                <a:tc>
                  <a:txBody>
                    <a:bodyPr/>
                    <a:lstStyle/>
                    <a:p>
                      <a:pPr algn="ctr" fontAlgn="ctr" hangingPunct="0"/>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治療薬、クラス２の</a:t>
                      </a:r>
                      <a:r>
                        <a:rPr kumimoji="1" lang="en-US" altLang="ja-JP"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CTGTP,</a:t>
                      </a:r>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　製造者等の届出が</a:t>
                      </a:r>
                      <a:r>
                        <a:rPr kumimoji="1" lang="en-US" altLang="ja-JP"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HAS</a:t>
                      </a:r>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になされていないクラス１の</a:t>
                      </a:r>
                      <a:r>
                        <a:rPr kumimoji="1" lang="en-US" altLang="ja-JP"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CTGTP</a:t>
                      </a:r>
                      <a:endPar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indent="0" algn="ctr" fontAlgn="ctr" hangingPunct="0">
                        <a:buFont typeface="Arial" panose="020B0604020202020204" pitchFamily="34" charset="0"/>
                        <a:buNone/>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健康製品（臨床研究材料）規制</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408045">
                <a:tc>
                  <a:txBody>
                    <a:bodyPr/>
                    <a:lstStyle/>
                    <a:p>
                      <a:pPr algn="ctr" fontAlgn="ctr" hangingPunct="0"/>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伝統的医薬品</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indent="0" algn="ctr" fontAlgn="ctr" hangingPunct="0">
                        <a:buFont typeface="Arial" panose="020B0604020202020204" pitchFamily="34" charset="0"/>
                        <a:buNone/>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薬品（臨床試験用伝統的医薬品）規制</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408045">
                <a:tc>
                  <a:txBody>
                    <a:bodyPr/>
                    <a:lstStyle/>
                    <a:p>
                      <a:pPr algn="ctr" fontAlgn="ctr" hangingPunct="0"/>
                      <a:r>
                        <a:rPr kumimoji="1" lang="ja-JP" altLang="en-US" sz="105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機器</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indent="0" algn="ctr" fontAlgn="ctr" hangingPunct="0">
                        <a:buFont typeface="Arial" panose="020B0604020202020204" pitchFamily="34" charset="0"/>
                        <a:buNone/>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健康製品（医療機器）規制</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834581243"/>
                  </a:ext>
                </a:extLst>
              </a:tr>
            </a:tbl>
          </a:graphicData>
        </a:graphic>
      </p:graphicFrame>
      <p:sp>
        <p:nvSpPr>
          <p:cNvPr id="20" name="テキスト ボックス 33">
            <a:extLst>
              <a:ext uri="{FF2B5EF4-FFF2-40B4-BE49-F238E27FC236}">
                <a16:creationId xmlns:a16="http://schemas.microsoft.com/office/drawing/2014/main" id="{5C9A3424-8388-4712-AF6C-B4D273B096E8}"/>
              </a:ext>
            </a:extLst>
          </p:cNvPr>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dirty="0">
                <a:latin typeface="Meiryo UI" panose="020B0604030504040204" pitchFamily="34" charset="-128"/>
                <a:ea typeface="Meiryo UI" panose="020B0604030504040204" pitchFamily="34" charset="-128"/>
                <a:cs typeface="Arial" panose="020B0604020202020204" pitchFamily="34" charset="0"/>
              </a:rPr>
              <a:t>（出所）</a:t>
            </a:r>
            <a:r>
              <a:rPr lang="en-US" altLang="ja-JP" sz="800" dirty="0">
                <a:latin typeface="Meiryo UI" panose="020B0604030504040204" pitchFamily="34" charset="-128"/>
                <a:ea typeface="Meiryo UI" panose="020B0604030504040204" pitchFamily="34" charset="-128"/>
                <a:cs typeface="Arial" panose="020B0604020202020204" pitchFamily="34" charset="0"/>
              </a:rPr>
              <a:t>Health Sciences Authority</a:t>
            </a:r>
            <a:endParaRPr lang="ja-JP" altLang="en-US" sz="800" dirty="0">
              <a:latin typeface="Meiryo UI" panose="020B0604030504040204" pitchFamily="34" charset="-128"/>
              <a:ea typeface="Meiryo UI" panose="020B0604030504040204" pitchFamily="34" charset="-128"/>
              <a:cs typeface="Arial" panose="020B0604020202020204" pitchFamily="34" charset="0"/>
            </a:endParaRPr>
          </a:p>
        </p:txBody>
      </p:sp>
    </p:spTree>
    <p:extLst>
      <p:ext uri="{BB962C8B-B14F-4D97-AF65-F5344CB8AC3E}">
        <p14:creationId xmlns:p14="http://schemas.microsoft.com/office/powerpoint/2010/main" val="2916072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2"/>
            </p:custDataLst>
            <p:extLst>
              <p:ext uri="{D42A27DB-BD31-4B8C-83A1-F6EECF244321}">
                <p14:modId xmlns:p14="http://schemas.microsoft.com/office/powerpoint/2010/main" val="2720454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情報・個人情報保護に関する法規制</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72479" y="3627599"/>
            <a:ext cx="9073008" cy="1215910"/>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の国外移転・ローカリゼーション要求</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個人データの国外移転については原則として禁止されている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DP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基づく保護基準と同等の保護を与えることができる国への移転については要件を満たせば認められ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個人情報などの重要データを自国にとどめるローカリゼーション要求については、特にどの業種についても定めはない。</a:t>
            </a: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12" name="テキスト ボックス 6">
            <a:extLst>
              <a:ext uri="{FF2B5EF4-FFF2-40B4-BE49-F238E27FC236}">
                <a16:creationId xmlns:a16="http://schemas.microsoft.com/office/drawing/2014/main" id="{D54F1358-C4CF-4D33-8FB0-69AEB587D216}"/>
              </a:ext>
            </a:extLst>
          </p:cNvPr>
          <p:cNvSpPr txBox="1"/>
          <p:nvPr/>
        </p:nvSpPr>
        <p:spPr>
          <a:xfrm>
            <a:off x="272479" y="1268760"/>
            <a:ext cx="8928993" cy="195252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における個人情報保護に関する包括的な法律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ersonal Data Protect Act 2012 (PDP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全面施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改正された。個人情報保護委員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DP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監督機関であり、各種ガイドラインの制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DP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違反の可能性があるものに対する直接的な指示権限が与えられている。違反事例は摘発されると実名の公表や罰金につなが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PDP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規模・法人格の有無を問わずすべての企業・団体が適用対象になる。個人情報には医療情報も含まれ、氏名などとの組み合わせで漏洩した場合、重大な損害と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DP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への通知義務が生じる。</a:t>
            </a:r>
          </a:p>
        </p:txBody>
      </p:sp>
      <p:sp>
        <p:nvSpPr>
          <p:cNvPr id="13" name="TextBox 12">
            <a:extLst>
              <a:ext uri="{FF2B5EF4-FFF2-40B4-BE49-F238E27FC236}">
                <a16:creationId xmlns:a16="http://schemas.microsoft.com/office/drawing/2014/main" id="{B2CB6774-2315-42AD-9F00-4E60A660D8D2}"/>
              </a:ext>
            </a:extLst>
          </p:cNvPr>
          <p:cNvSpPr txBox="1"/>
          <p:nvPr/>
        </p:nvSpPr>
        <p:spPr>
          <a:xfrm>
            <a:off x="200025" y="6885451"/>
            <a:ext cx="5472608" cy="707886"/>
          </a:xfrm>
          <a:prstGeom prst="rect">
            <a:avLst/>
          </a:prstGeom>
          <a:noFill/>
        </p:spPr>
        <p:txBody>
          <a:bodyPr wrap="square">
            <a:spAutoFit/>
          </a:bodyPr>
          <a:lstStyle/>
          <a:p>
            <a:r>
              <a:rPr lang="en-US" sz="1000" dirty="0"/>
              <a:t>https://www.jetro.go.jp/ext_images/_Reports/02/2022/4939f55034e15306/202203_2.pdf</a:t>
            </a:r>
          </a:p>
          <a:p>
            <a:r>
              <a:rPr lang="en-US" sz="1000" dirty="0">
                <a:hlinkClick r:id="rId6"/>
              </a:rPr>
              <a:t>https://www.jetro.go.jp/biz/areareports/2021/e178293b9f08889a.html</a:t>
            </a:r>
            <a:endParaRPr lang="en-US" sz="1000" dirty="0"/>
          </a:p>
          <a:p>
            <a:r>
              <a:rPr lang="en-US" sz="1000" dirty="0"/>
              <a:t>https://businessandlaw.jp/articles/a20211029-1/</a:t>
            </a:r>
          </a:p>
          <a:p>
            <a:r>
              <a:rPr lang="en-US" sz="1000" dirty="0"/>
              <a:t>https://businessandlaw.jp/articles/a20211116-1/</a:t>
            </a:r>
          </a:p>
        </p:txBody>
      </p:sp>
    </p:spTree>
    <p:extLst>
      <p:ext uri="{BB962C8B-B14F-4D97-AF65-F5344CB8AC3E}">
        <p14:creationId xmlns:p14="http://schemas.microsoft.com/office/powerpoint/2010/main" val="357787158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025" y="1268760"/>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をはじめとする医療従事者間では、書面および口頭のコミュニケーションにおいて一般的に英語が使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患者は必ずしも英語が堪能とは限らず、マレー語などが必要となる場面も多い。</a:t>
            </a: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デスクトップリサーチ</a:t>
            </a:r>
          </a:p>
        </p:txBody>
      </p:sp>
    </p:spTree>
    <p:extLst>
      <p:ext uri="{BB962C8B-B14F-4D97-AF65-F5344CB8AC3E}">
        <p14:creationId xmlns:p14="http://schemas.microsoft.com/office/powerpoint/2010/main" val="16034795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ライセンス・教育水準</a:t>
            </a:r>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416495" y="1277144"/>
            <a:ext cx="8928993" cy="14528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になる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制の医科大学もしくは米国のシステムに則っ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制の医学系大学院に入ることが必要となる。シンガポールの医科大学は教授陣や教育設備の質の高さから多くの留学生も集まる先となっ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卒業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インターンシップを経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ingapore Medical Council (SMC)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正式な医師としての登録をすることができ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専門医となる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研修医としての勤務が必要となるうえ、専門分野についての講義を受け、試験に合格しなくてはならな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道を選んだ場合は、家庭医学を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修めることにな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デスクトップリサーチ</a:t>
            </a:r>
          </a:p>
        </p:txBody>
      </p:sp>
    </p:spTree>
    <p:extLst>
      <p:ext uri="{BB962C8B-B14F-4D97-AF65-F5344CB8AC3E}">
        <p14:creationId xmlns:p14="http://schemas.microsoft.com/office/powerpoint/2010/main" val="331491755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師の社会的地位</a:t>
            </a:r>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416495" y="1277144"/>
            <a:ext cx="8928993" cy="198009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で医師になるには、医科大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tional Universit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nyang Technological University</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もしくは医科大学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uke-NUS Medical Schoo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いずれかに入学する必要があり、毎年の入学者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程度とみられる。競争は熾烈で、バカロレア（注）などで高い成績を修めていることが求められ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収入面では、比較的高給が約束されているが、昨今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系の職種のほうがさらに高給を提示されることも多い。</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特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場合は、専門医に比べて社会的地位が低く、激務にもかかわらず報酬が比較的低いということで不満を抱えているという調査結果も出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デスクトップリサーチ</a:t>
            </a:r>
          </a:p>
        </p:txBody>
      </p:sp>
      <p:sp>
        <p:nvSpPr>
          <p:cNvPr id="11" name="TextBox 10">
            <a:extLst>
              <a:ext uri="{FF2B5EF4-FFF2-40B4-BE49-F238E27FC236}">
                <a16:creationId xmlns:a16="http://schemas.microsoft.com/office/drawing/2014/main" id="{73279C7E-98D7-4D30-BA3E-C3C7C1F36EC6}"/>
              </a:ext>
            </a:extLst>
          </p:cNvPr>
          <p:cNvSpPr txBox="1"/>
          <p:nvPr/>
        </p:nvSpPr>
        <p:spPr>
          <a:xfrm>
            <a:off x="776536" y="6858000"/>
            <a:ext cx="4953434" cy="1061829"/>
          </a:xfrm>
          <a:prstGeom prst="rect">
            <a:avLst/>
          </a:prstGeom>
          <a:noFill/>
        </p:spPr>
        <p:txBody>
          <a:bodyPr wrap="square">
            <a:spAutoFit/>
          </a:bodyPr>
          <a:lstStyle/>
          <a:p>
            <a:r>
              <a:rPr lang="en-US" sz="900" dirty="0">
                <a:hlinkClick r:id="rId6"/>
              </a:rPr>
              <a:t>https://www.todayonline.com/commentary/want-study-medicine-and-be-doctor-singapore-heres-what-you-need-know-1813681#:~:text=To%20become%20a%20specialist%2C%20a,get%20into%20the%20residency%20programme</a:t>
            </a:r>
            <a:r>
              <a:rPr lang="en-US" sz="900" dirty="0"/>
              <a:t>.</a:t>
            </a:r>
          </a:p>
          <a:p>
            <a:r>
              <a:rPr lang="en-US" sz="900" dirty="0">
                <a:hlinkClick r:id="rId7"/>
              </a:rPr>
              <a:t>https://blog.moneysmart.sg/career/doctor-lawyer-salary-singapore/</a:t>
            </a:r>
            <a:endParaRPr lang="en-US" sz="900" dirty="0"/>
          </a:p>
          <a:p>
            <a:r>
              <a:rPr lang="en-US" sz="900" dirty="0">
                <a:hlinkClick r:id="rId8"/>
              </a:rPr>
              <a:t>https://blog.moneysmart.sg/career/highest-paying-jobs-in-singapore/</a:t>
            </a:r>
            <a:endParaRPr lang="en-US" sz="900" dirty="0"/>
          </a:p>
          <a:p>
            <a:r>
              <a:rPr lang="en-US" sz="900" dirty="0"/>
              <a:t>https://bmcprimcare.biomedcentral.com/articles/10.1186/s12875-022-01774-z</a:t>
            </a:r>
          </a:p>
        </p:txBody>
      </p:sp>
      <p:sp>
        <p:nvSpPr>
          <p:cNvPr id="10" name="テキスト ボックス 14">
            <a:extLst>
              <a:ext uri="{FF2B5EF4-FFF2-40B4-BE49-F238E27FC236}">
                <a16:creationId xmlns:a16="http://schemas.microsoft.com/office/drawing/2014/main" id="{B3D18B8D-DD6B-43F8-A7E6-6D50E6C08983}"/>
              </a:ext>
            </a:extLst>
          </p:cNvPr>
          <p:cNvSpPr txBox="1"/>
          <p:nvPr/>
        </p:nvSpPr>
        <p:spPr>
          <a:xfrm>
            <a:off x="200472" y="633670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ja-JP" altLang="en-US" sz="800" dirty="0"/>
              <a:t> 国際バカロレア機構（本部ジュネーブ）が</a:t>
            </a:r>
            <a:r>
              <a:rPr lang="en-US" altLang="ja-JP" sz="800" dirty="0"/>
              <a:t>1968</a:t>
            </a:r>
            <a:r>
              <a:rPr lang="ja-JP" altLang="en-US" sz="800" dirty="0"/>
              <a:t>年から提供している国 際的な教育プログラム。 特に高校レベルの ディプロマ・プログラム（</a:t>
            </a:r>
            <a:r>
              <a:rPr lang="en-US" altLang="ja-JP" sz="800" dirty="0"/>
              <a:t>DP</a:t>
            </a:r>
            <a:r>
              <a:rPr lang="ja-JP" altLang="en-US" sz="800" dirty="0"/>
              <a:t>）では、国際的に通用する大学入学資格（</a:t>
            </a:r>
            <a:r>
              <a:rPr lang="en-US" altLang="ja-JP" sz="800" dirty="0"/>
              <a:t>IB</a:t>
            </a:r>
            <a:r>
              <a:rPr lang="ja-JP" altLang="en-US" sz="800" dirty="0"/>
              <a:t>資格）が取得可能。</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46098205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8"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人医師のライセンス</a:t>
            </a:r>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416495" y="1277144"/>
            <a:ext cx="8928993" cy="19268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で教育を受けた医師がシンガポール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ternational Medical Graduat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して医師登録をするためには、指定された大学の医学士の取得もしくはメディカルスクールの修了が要件となっている。日本の場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現在、東京大学・京都大学・大阪大学の医学部が指定されている。条件付き登録が許され、一定期間</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ingapore Medical Counci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定める病院にて勤務をしたあと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ull registra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切り替えることができ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経験を積んだ外国人医師がシンガポールで治療に携わる場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Visiting exper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しての一時的な登録をすることもできる。ただし、母国での有効な医師免許保持などの条件の他、シンガポールの医療に資するかどうかについ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M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審査を行う。</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182430" y="6597352"/>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シンガポール保健省ホームページ</a:t>
            </a:r>
          </a:p>
        </p:txBody>
      </p:sp>
      <p:sp>
        <p:nvSpPr>
          <p:cNvPr id="10" name="テキスト ボックス 14">
            <a:extLst>
              <a:ext uri="{FF2B5EF4-FFF2-40B4-BE49-F238E27FC236}">
                <a16:creationId xmlns:a16="http://schemas.microsoft.com/office/drawing/2014/main" id="{1FEF4D42-C716-42AD-B95F-C2F15F6F2147}"/>
              </a:ext>
            </a:extLst>
          </p:cNvPr>
          <p:cNvSpPr txBox="1"/>
          <p:nvPr/>
        </p:nvSpPr>
        <p:spPr>
          <a:xfrm>
            <a:off x="272480" y="6998180"/>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hlinkClick r:id="rId6"/>
              </a:rPr>
              <a:t>https://www.healthprofessionals.gov.sg/smc/becoming-a-registered-doctor/register-of-medical-practitioners/international-medical-graduates</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28613" indent="-328613"/>
            <a:r>
              <a:rPr lang="en-US" altLang="ja-JP" sz="800" dirty="0">
                <a:latin typeface="Arial" panose="020B0604020202020204" pitchFamily="34" charset="0"/>
                <a:ea typeface="ＭＳ Ｐゴシック" panose="020B0600070205080204" pitchFamily="50" charset="-128"/>
                <a:cs typeface="Arial" panose="020B0604020202020204" pitchFamily="34" charset="0"/>
                <a:hlinkClick r:id="rId7"/>
              </a:rPr>
              <a:t>https://www.healthprofessionals.gov.sg/smc/becoming-a-registered-doctor/register-of-medical-practitioners/temporary-registration</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28613" indent="-328613"/>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www.healthprofessionals.gov.sg/smc/becoming-a-registered-doctor/register-of-medical-practitioners/conditional-registration#:~:text=Allows%20an%20international%20medical%20graduate,a%20fully%20registered%20medical%20practitioner.</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3791381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40627491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2" name="think-cell Slide" r:id="rId26" imgW="360" imgH="360" progId="TCLayout.ActiveDocument.1">
                  <p:embed/>
                </p:oleObj>
              </mc:Choice>
              <mc:Fallback>
                <p:oleObj name="think-cell Slide" r:id="rId26" imgW="360" imgH="360" progId="TCLayout.ActiveDocument.1">
                  <p:embed/>
                  <p:pic>
                    <p:nvPicPr>
                      <p:cNvPr id="11" name="Object 10"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サービス</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060848"/>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Current Healthcare Expenditur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graphicFrame>
        <p:nvGraphicFramePr>
          <p:cNvPr id="51" name="Chart 50">
            <a:extLst>
              <a:ext uri="{FF2B5EF4-FFF2-40B4-BE49-F238E27FC236}">
                <a16:creationId xmlns:a16="http://schemas.microsoft.com/office/drawing/2014/main" id="{C20DA01B-8525-4B25-B2B7-097EC7A1B0A0}"/>
              </a:ext>
            </a:extLst>
          </p:cNvPr>
          <p:cNvGraphicFramePr/>
          <p:nvPr>
            <p:custDataLst>
              <p:tags r:id="rId4"/>
            </p:custDataLst>
            <p:extLst>
              <p:ext uri="{D42A27DB-BD31-4B8C-83A1-F6EECF244321}">
                <p14:modId xmlns:p14="http://schemas.microsoft.com/office/powerpoint/2010/main" val="214673265"/>
              </p:ext>
            </p:extLst>
          </p:nvPr>
        </p:nvGraphicFramePr>
        <p:xfrm>
          <a:off x="549275" y="2424113"/>
          <a:ext cx="8807450" cy="3427412"/>
        </p:xfrm>
        <a:graphic>
          <a:graphicData uri="http://schemas.openxmlformats.org/drawingml/2006/chart">
            <c:chart xmlns:c="http://schemas.openxmlformats.org/drawingml/2006/chart" xmlns:r="http://schemas.openxmlformats.org/officeDocument/2006/relationships" r:id="rId28"/>
          </a:graphicData>
        </a:graphic>
      </p:graphicFrame>
      <p:sp>
        <p:nvSpPr>
          <p:cNvPr id="46" name="テキスト プレースホルダ 9"/>
          <p:cNvSpPr>
            <a:spLocks noGrp="1"/>
          </p:cNvSpPr>
          <p:nvPr>
            <p:custDataLst>
              <p:tags r:id="rId5"/>
            </p:custDataLst>
          </p:nvPr>
        </p:nvSpPr>
        <p:spPr bwMode="auto">
          <a:xfrm>
            <a:off x="29051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5230FC0-A46B-4B0B-8C11-B81A7F7F0B98}" type="datetime'''''''''''''''''''04'''''''''''''''''''''''''''''''''''''''''">
              <a:rPr lang="ja-JP" altLang="en-US" sz="1000"/>
              <a:pPr marL="0" indent="0" algn="ctr">
                <a:spcBef>
                  <a:spcPct val="0"/>
                </a:spcBef>
                <a:buNone/>
              </a:pPr>
              <a:t>04</a:t>
            </a:fld>
            <a:endParaRPr kumimoji="0" lang="ja-JP" altLang="en-US" sz="1000" dirty="0">
              <a:sym typeface="+mn-lt"/>
            </a:endParaRPr>
          </a:p>
        </p:txBody>
      </p:sp>
      <p:sp>
        <p:nvSpPr>
          <p:cNvPr id="55" name="テキスト プレースホルダ 9"/>
          <p:cNvSpPr>
            <a:spLocks noGrp="1"/>
          </p:cNvSpPr>
          <p:nvPr>
            <p:custDataLst>
              <p:tags r:id="rId6"/>
            </p:custDataLst>
          </p:nvPr>
        </p:nvSpPr>
        <p:spPr bwMode="auto">
          <a:xfrm>
            <a:off x="1211263" y="5838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BEAABF-98F4-48AE-97A7-F530C5AE1392}" type="datetime'''''''''2''''''''''''''''''''''''''''''''''''''00''''''0'">
              <a:rPr lang="ja-JP" altLang="en-US" sz="1000"/>
              <a:pPr marL="0" indent="0" algn="ctr">
                <a:spcBef>
                  <a:spcPct val="0"/>
                </a:spcBef>
                <a:buNone/>
              </a:pPr>
              <a:t>2000</a:t>
            </a:fld>
            <a:endParaRPr kumimoji="0" lang="ja-JP" altLang="en-US" sz="1000" dirty="0">
              <a:sym typeface="+mn-lt"/>
            </a:endParaRPr>
          </a:p>
        </p:txBody>
      </p:sp>
      <p:sp>
        <p:nvSpPr>
          <p:cNvPr id="53" name="テキスト プレースホルダ 9"/>
          <p:cNvSpPr>
            <a:spLocks noGrp="1"/>
          </p:cNvSpPr>
          <p:nvPr>
            <p:custDataLst>
              <p:tags r:id="rId7"/>
            </p:custDataLst>
          </p:nvPr>
        </p:nvSpPr>
        <p:spPr bwMode="auto">
          <a:xfrm>
            <a:off x="16875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3301C4E-65CE-4431-9CEB-3D916AF64E39}" type="datetime'''''''''0''''''''''''''''''''''''''''''''''1'''''''''''''''">
              <a:rPr lang="ja-JP" altLang="en-US" sz="1000"/>
              <a:pPr marL="0" indent="0" algn="ctr">
                <a:spcBef>
                  <a:spcPct val="0"/>
                </a:spcBef>
                <a:buNone/>
              </a:pPr>
              <a:t>01</a:t>
            </a:fld>
            <a:endParaRPr kumimoji="0" lang="ja-JP" altLang="en-US" sz="1000" dirty="0">
              <a:sym typeface="+mn-lt"/>
            </a:endParaRPr>
          </a:p>
        </p:txBody>
      </p:sp>
      <p:sp>
        <p:nvSpPr>
          <p:cNvPr id="42" name="テキスト プレースホルダ 9"/>
          <p:cNvSpPr>
            <a:spLocks noGrp="1"/>
          </p:cNvSpPr>
          <p:nvPr>
            <p:custDataLst>
              <p:tags r:id="rId8"/>
            </p:custDataLst>
          </p:nvPr>
        </p:nvSpPr>
        <p:spPr bwMode="auto">
          <a:xfrm>
            <a:off x="371633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91EAB9-F690-47BE-8017-7EA7C5B74778}" type="datetime'''''''''''''''0''''''''''''6'''''''''">
              <a:rPr lang="ja-JP" altLang="en-US" sz="1000"/>
              <a:pPr marL="0" indent="0" algn="ctr">
                <a:spcBef>
                  <a:spcPct val="0"/>
                </a:spcBef>
                <a:buNone/>
              </a:pPr>
              <a:t>06</a:t>
            </a:fld>
            <a:endParaRPr kumimoji="0" lang="ja-JP" altLang="en-US" sz="1000" dirty="0">
              <a:sym typeface="+mn-lt"/>
            </a:endParaRPr>
          </a:p>
        </p:txBody>
      </p:sp>
      <p:sp>
        <p:nvSpPr>
          <p:cNvPr id="40" name="テキスト プレースホルダ 9"/>
          <p:cNvSpPr>
            <a:spLocks noGrp="1"/>
          </p:cNvSpPr>
          <p:nvPr>
            <p:custDataLst>
              <p:tags r:id="rId9"/>
            </p:custDataLst>
          </p:nvPr>
        </p:nvSpPr>
        <p:spPr bwMode="auto">
          <a:xfrm>
            <a:off x="412273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DDC621-8E48-4F6A-B90A-27A222ED4E63}" type="datetime'''''''''''''0''''''''''''7'''''''''''">
              <a:rPr lang="ja-JP" altLang="en-US" sz="1000"/>
              <a:pPr marL="0" indent="0" algn="ctr">
                <a:spcBef>
                  <a:spcPct val="0"/>
                </a:spcBef>
                <a:buNone/>
              </a:pPr>
              <a:t>07</a:t>
            </a:fld>
            <a:endParaRPr kumimoji="0" lang="ja-JP" altLang="en-US" sz="1000" dirty="0">
              <a:sym typeface="+mn-lt"/>
            </a:endParaRPr>
          </a:p>
        </p:txBody>
      </p:sp>
      <p:sp>
        <p:nvSpPr>
          <p:cNvPr id="50" name="テキスト プレースホルダ 9"/>
          <p:cNvSpPr>
            <a:spLocks noGrp="1"/>
          </p:cNvSpPr>
          <p:nvPr>
            <p:custDataLst>
              <p:tags r:id="rId10"/>
            </p:custDataLst>
          </p:nvPr>
        </p:nvSpPr>
        <p:spPr bwMode="auto">
          <a:xfrm>
            <a:off x="20923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A1B8B7-C312-4427-A6E7-91308AFBAC03}" type="datetime'''''''''''''''''''0''''''''2'''''''''''''''''''''''''">
              <a:rPr lang="ja-JP" altLang="en-US" sz="1000"/>
              <a:pPr marL="0" indent="0" algn="ctr">
                <a:spcBef>
                  <a:spcPct val="0"/>
                </a:spcBef>
                <a:buNone/>
              </a:pPr>
              <a:t>02</a:t>
            </a:fld>
            <a:endParaRPr kumimoji="0" lang="ja-JP" altLang="en-US" sz="1000" dirty="0">
              <a:sym typeface="+mn-lt"/>
            </a:endParaRPr>
          </a:p>
        </p:txBody>
      </p:sp>
      <p:sp>
        <p:nvSpPr>
          <p:cNvPr id="48" name="テキスト プレースホルダ 9"/>
          <p:cNvSpPr>
            <a:spLocks noGrp="1"/>
          </p:cNvSpPr>
          <p:nvPr>
            <p:custDataLst>
              <p:tags r:id="rId11"/>
            </p:custDataLst>
          </p:nvPr>
        </p:nvSpPr>
        <p:spPr bwMode="auto">
          <a:xfrm>
            <a:off x="24987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894596-D4BF-4B95-84DE-A839F63A6A28}" type="datetime'''''''0''''''''''''''''''''''''''''3'''''">
              <a:rPr lang="ja-JP" altLang="en-US" sz="1000"/>
              <a:pPr marL="0" indent="0" algn="ctr">
                <a:spcBef>
                  <a:spcPct val="0"/>
                </a:spcBef>
                <a:buNone/>
              </a:pPr>
              <a:t>03</a:t>
            </a:fld>
            <a:endParaRPr kumimoji="0" lang="ja-JP" altLang="en-US" sz="1000" dirty="0">
              <a:sym typeface="+mn-lt"/>
            </a:endParaRPr>
          </a:p>
        </p:txBody>
      </p:sp>
      <p:sp>
        <p:nvSpPr>
          <p:cNvPr id="44" name="テキスト プレースホルダ 9"/>
          <p:cNvSpPr>
            <a:spLocks noGrp="1"/>
          </p:cNvSpPr>
          <p:nvPr>
            <p:custDataLst>
              <p:tags r:id="rId12"/>
            </p:custDataLst>
          </p:nvPr>
        </p:nvSpPr>
        <p:spPr bwMode="auto">
          <a:xfrm>
            <a:off x="33115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1570995-D14E-45F9-B55B-5CA4A1FA63F7}" type="datetime'''0''''''''''''''5'''''''''">
              <a:rPr lang="ja-JP" altLang="en-US" sz="1000"/>
              <a:pPr marL="0" indent="0" algn="ctr">
                <a:spcBef>
                  <a:spcPct val="0"/>
                </a:spcBef>
                <a:buNone/>
              </a:pPr>
              <a:t>05</a:t>
            </a:fld>
            <a:endParaRPr kumimoji="0" lang="ja-JP" altLang="en-US" sz="1000" dirty="0">
              <a:sym typeface="+mn-lt"/>
            </a:endParaRPr>
          </a:p>
        </p:txBody>
      </p:sp>
      <p:sp>
        <p:nvSpPr>
          <p:cNvPr id="43" name="テキスト プレースホルダ 9">
            <a:extLst>
              <a:ext uri="{FF2B5EF4-FFF2-40B4-BE49-F238E27FC236}">
                <a16:creationId xmlns:a16="http://schemas.microsoft.com/office/drawing/2014/main" id="{797B16D6-6EF2-4D95-8F50-9543CF268298}"/>
              </a:ext>
            </a:extLst>
          </p:cNvPr>
          <p:cNvSpPr>
            <a:spLocks noGrp="1"/>
          </p:cNvSpPr>
          <p:nvPr>
            <p:custDataLst>
              <p:tags r:id="rId13"/>
            </p:custDataLst>
          </p:nvPr>
        </p:nvSpPr>
        <p:spPr bwMode="auto">
          <a:xfrm>
            <a:off x="89947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12AE1A7-DF07-4B0A-8494-19A11B55D0ED}" type="datetime'''''''''''''''1''''''9'''''''''''''''''''''''''''''''''''">
              <a:rPr kumimoji="0" lang="ja-JP" altLang="en-US" sz="1000" smtClean="0"/>
              <a:pPr/>
              <a:t>19</a:t>
            </a:fld>
            <a:endParaRPr kumimoji="0" lang="ja-JP" altLang="en-US" sz="1000" dirty="0">
              <a:sym typeface="+mn-lt"/>
            </a:endParaRPr>
          </a:p>
        </p:txBody>
      </p:sp>
      <p:sp>
        <p:nvSpPr>
          <p:cNvPr id="38" name="テキスト プレースホルダ 9"/>
          <p:cNvSpPr>
            <a:spLocks noGrp="1"/>
          </p:cNvSpPr>
          <p:nvPr>
            <p:custDataLst>
              <p:tags r:id="rId14"/>
            </p:custDataLst>
          </p:nvPr>
        </p:nvSpPr>
        <p:spPr bwMode="auto">
          <a:xfrm>
            <a:off x="452913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493433-6668-4AA8-870D-BC2CCE0AD692}" type="datetime'''''''0''''''''''8'''''''''''''''''''''">
              <a:rPr lang="ja-JP" altLang="en-US" sz="1000"/>
              <a:pPr marL="0" indent="0" algn="ctr">
                <a:spcBef>
                  <a:spcPct val="0"/>
                </a:spcBef>
                <a:buNone/>
              </a:pPr>
              <a:t>08</a:t>
            </a:fld>
            <a:endParaRPr kumimoji="0" lang="ja-JP" altLang="en-US" sz="1000" dirty="0">
              <a:sym typeface="+mn-lt"/>
            </a:endParaRPr>
          </a:p>
        </p:txBody>
      </p:sp>
      <p:sp>
        <p:nvSpPr>
          <p:cNvPr id="36" name="テキスト プレースホルダ 9"/>
          <p:cNvSpPr>
            <a:spLocks noGrp="1"/>
          </p:cNvSpPr>
          <p:nvPr>
            <p:custDataLst>
              <p:tags r:id="rId15"/>
            </p:custDataLst>
          </p:nvPr>
        </p:nvSpPr>
        <p:spPr bwMode="auto">
          <a:xfrm>
            <a:off x="493553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76D249-8D53-4C12-B700-86E21B41E0D3}" type="datetime'''''0''9'''''''''''''''''''''''''">
              <a:rPr lang="ja-JP" altLang="en-US" sz="1000"/>
              <a:pPr marL="0" indent="0" algn="ctr">
                <a:spcBef>
                  <a:spcPct val="0"/>
                </a:spcBef>
                <a:buNone/>
              </a:pPr>
              <a:t>09</a:t>
            </a:fld>
            <a:endParaRPr kumimoji="0" lang="ja-JP" altLang="en-US" sz="1000" dirty="0">
              <a:sym typeface="+mn-lt"/>
            </a:endParaRPr>
          </a:p>
        </p:txBody>
      </p:sp>
      <p:sp>
        <p:nvSpPr>
          <p:cNvPr id="34" name="テキスト プレースホルダ 9"/>
          <p:cNvSpPr>
            <a:spLocks noGrp="1"/>
          </p:cNvSpPr>
          <p:nvPr>
            <p:custDataLst>
              <p:tags r:id="rId16"/>
            </p:custDataLst>
          </p:nvPr>
        </p:nvSpPr>
        <p:spPr bwMode="auto">
          <a:xfrm>
            <a:off x="53403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2850DD0-C7C3-4127-87CE-3FBA529CE6A7}" type="datetime'''''''''''''''''''1''''''''''''''''''''''''0'''''''">
              <a:rPr lang="ja-JP" altLang="en-US" sz="1000"/>
              <a:pPr marL="0" indent="0" algn="ctr">
                <a:spcBef>
                  <a:spcPct val="0"/>
                </a:spcBef>
                <a:buNone/>
              </a:pPr>
              <a:t>10</a:t>
            </a:fld>
            <a:endParaRPr kumimoji="0" lang="ja-JP" altLang="en-US" sz="1000" dirty="0">
              <a:sym typeface="+mn-lt"/>
            </a:endParaRPr>
          </a:p>
        </p:txBody>
      </p:sp>
      <p:sp>
        <p:nvSpPr>
          <p:cNvPr id="32" name="テキスト プレースホルダ 9"/>
          <p:cNvSpPr>
            <a:spLocks noGrp="1"/>
          </p:cNvSpPr>
          <p:nvPr>
            <p:custDataLst>
              <p:tags r:id="rId17"/>
            </p:custDataLst>
          </p:nvPr>
        </p:nvSpPr>
        <p:spPr bwMode="auto">
          <a:xfrm>
            <a:off x="57467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FFBBB4-2DD1-4819-8787-983E4F173C8F}" type="datetime'1''''''''''''''''''''''''''''''''''''''''1'''''''">
              <a:rPr lang="ja-JP" altLang="en-US" sz="1000"/>
              <a:pPr marL="0" indent="0" algn="ctr">
                <a:spcBef>
                  <a:spcPct val="0"/>
                </a:spcBef>
                <a:buNone/>
              </a:pPr>
              <a:t>11</a:t>
            </a:fld>
            <a:endParaRPr kumimoji="0" lang="ja-JP" altLang="en-US" sz="1000" dirty="0">
              <a:sym typeface="+mn-lt"/>
            </a:endParaRPr>
          </a:p>
        </p:txBody>
      </p:sp>
      <p:sp>
        <p:nvSpPr>
          <p:cNvPr id="30" name="テキスト プレースホルダ 9"/>
          <p:cNvSpPr>
            <a:spLocks noGrp="1"/>
          </p:cNvSpPr>
          <p:nvPr>
            <p:custDataLst>
              <p:tags r:id="rId18"/>
            </p:custDataLst>
          </p:nvPr>
        </p:nvSpPr>
        <p:spPr bwMode="auto">
          <a:xfrm>
            <a:off x="61531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F5D302C-B007-49AD-B8B9-92F446DFCC7B}" type="datetime'''''''''1''''2'''''''''''''''''''''''''''">
              <a:rPr lang="ja-JP" altLang="en-US" sz="1000"/>
              <a:pPr marL="0" indent="0" algn="ctr">
                <a:spcBef>
                  <a:spcPct val="0"/>
                </a:spcBef>
                <a:buNone/>
              </a:pPr>
              <a:t>12</a:t>
            </a:fld>
            <a:endParaRPr kumimoji="0" lang="ja-JP" altLang="en-US" sz="1000" dirty="0">
              <a:sym typeface="+mn-lt"/>
            </a:endParaRPr>
          </a:p>
        </p:txBody>
      </p:sp>
      <p:sp>
        <p:nvSpPr>
          <p:cNvPr id="28" name="テキスト プレースホルダ 9"/>
          <p:cNvSpPr>
            <a:spLocks noGrp="1"/>
          </p:cNvSpPr>
          <p:nvPr>
            <p:custDataLst>
              <p:tags r:id="rId19"/>
            </p:custDataLst>
          </p:nvPr>
        </p:nvSpPr>
        <p:spPr bwMode="auto">
          <a:xfrm>
            <a:off x="65595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0C041C-B55A-462E-8B4C-3B550281E99C}" type="datetime'1''''''''''''''''''3'''''''''''''''''''''''''''''''">
              <a:rPr lang="ja-JP" altLang="en-US" sz="1000"/>
              <a:pPr marL="0" indent="0" algn="ctr">
                <a:spcBef>
                  <a:spcPct val="0"/>
                </a:spcBef>
                <a:buNone/>
              </a:pPr>
              <a:t>13</a:t>
            </a:fld>
            <a:endParaRPr kumimoji="0" lang="ja-JP" altLang="en-US" sz="1000" dirty="0">
              <a:sym typeface="+mn-lt"/>
            </a:endParaRPr>
          </a:p>
        </p:txBody>
      </p:sp>
      <p:sp>
        <p:nvSpPr>
          <p:cNvPr id="26" name="テキスト プレースホルダ 9"/>
          <p:cNvSpPr>
            <a:spLocks noGrp="1"/>
          </p:cNvSpPr>
          <p:nvPr>
            <p:custDataLst>
              <p:tags r:id="rId20"/>
            </p:custDataLst>
          </p:nvPr>
        </p:nvSpPr>
        <p:spPr bwMode="auto">
          <a:xfrm>
            <a:off x="69643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EC1A45-50D2-4B54-BC37-1EBA9FB74807}" type="datetime'''''''''''''''''''''''''1''''''4'''''''''''''''''''''''''''">
              <a:rPr lang="ja-JP" altLang="en-US" sz="1000"/>
              <a:pPr marL="0" indent="0" algn="ctr">
                <a:spcBef>
                  <a:spcPct val="0"/>
                </a:spcBef>
                <a:buNone/>
              </a:pPr>
              <a:t>14</a:t>
            </a:fld>
            <a:endParaRPr kumimoji="0" lang="ja-JP" altLang="en-US" sz="1000" dirty="0">
              <a:sym typeface="+mn-lt"/>
            </a:endParaRPr>
          </a:p>
        </p:txBody>
      </p:sp>
      <p:sp>
        <p:nvSpPr>
          <p:cNvPr id="24" name="テキスト プレースホルダ 9"/>
          <p:cNvSpPr>
            <a:spLocks noGrp="1"/>
          </p:cNvSpPr>
          <p:nvPr>
            <p:custDataLst>
              <p:tags r:id="rId21"/>
            </p:custDataLst>
          </p:nvPr>
        </p:nvSpPr>
        <p:spPr bwMode="auto">
          <a:xfrm>
            <a:off x="73707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50433C-7203-41FC-920F-859816358BA2}" type="datetime'''''''''''1''''''''''''''''''''''''''''''''''''5'">
              <a:rPr lang="ja-JP" altLang="en-US" sz="1000"/>
              <a:pPr marL="0" indent="0" algn="ctr">
                <a:spcBef>
                  <a:spcPct val="0"/>
                </a:spcBef>
                <a:buNone/>
              </a:pPr>
              <a:t>15</a:t>
            </a:fld>
            <a:endParaRPr kumimoji="0" lang="ja-JP" altLang="en-US" sz="1000" dirty="0">
              <a:sym typeface="+mn-lt"/>
            </a:endParaRPr>
          </a:p>
        </p:txBody>
      </p:sp>
      <p:sp>
        <p:nvSpPr>
          <p:cNvPr id="37" name="テキスト プレースホルダ 9">
            <a:extLst>
              <a:ext uri="{FF2B5EF4-FFF2-40B4-BE49-F238E27FC236}">
                <a16:creationId xmlns:a16="http://schemas.microsoft.com/office/drawing/2014/main" id="{FBC23278-FB41-497C-BAF7-5076DEB3CE24}"/>
              </a:ext>
            </a:extLst>
          </p:cNvPr>
          <p:cNvSpPr>
            <a:spLocks noGrp="1"/>
          </p:cNvSpPr>
          <p:nvPr>
            <p:custDataLst>
              <p:tags r:id="rId22"/>
            </p:custDataLst>
          </p:nvPr>
        </p:nvSpPr>
        <p:spPr bwMode="auto">
          <a:xfrm>
            <a:off x="77771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053E1A-ACD1-49E2-AF2F-5BAAE93C1BCA}" type="datetime'''1''''''''''''''''''''''''''''''''''''''6'''''''''''''''''">
              <a:rPr kumimoji="0" lang="ja-JP" altLang="en-US" sz="1000" smtClean="0"/>
              <a:pPr/>
              <a:t>16</a:t>
            </a:fld>
            <a:endParaRPr kumimoji="0" lang="ja-JP" altLang="en-US" sz="1000" dirty="0">
              <a:sym typeface="+mn-lt"/>
            </a:endParaRPr>
          </a:p>
        </p:txBody>
      </p:sp>
      <p:sp>
        <p:nvSpPr>
          <p:cNvPr id="39" name="テキスト プレースホルダ 9">
            <a:extLst>
              <a:ext uri="{FF2B5EF4-FFF2-40B4-BE49-F238E27FC236}">
                <a16:creationId xmlns:a16="http://schemas.microsoft.com/office/drawing/2014/main" id="{BA0C7322-A7EB-4755-AA9C-422173E9DE41}"/>
              </a:ext>
            </a:extLst>
          </p:cNvPr>
          <p:cNvSpPr>
            <a:spLocks noGrp="1"/>
          </p:cNvSpPr>
          <p:nvPr>
            <p:custDataLst>
              <p:tags r:id="rId23"/>
            </p:custDataLst>
          </p:nvPr>
        </p:nvSpPr>
        <p:spPr bwMode="auto">
          <a:xfrm>
            <a:off x="81835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A0D1F77-66CB-4C63-BF8A-73DCBD40623D}" type="datetime'''1''''''''''7'''''''''''''''''''''''''''''">
              <a:rPr kumimoji="0" lang="ja-JP" altLang="en-US" sz="1000" smtClean="0"/>
              <a:pPr/>
              <a:t>17</a:t>
            </a:fld>
            <a:endParaRPr kumimoji="0" lang="ja-JP" altLang="en-US" sz="1000" dirty="0">
              <a:sym typeface="+mn-lt"/>
            </a:endParaRPr>
          </a:p>
        </p:txBody>
      </p:sp>
      <p:sp>
        <p:nvSpPr>
          <p:cNvPr id="41" name="テキスト プレースホルダ 9">
            <a:extLst>
              <a:ext uri="{FF2B5EF4-FFF2-40B4-BE49-F238E27FC236}">
                <a16:creationId xmlns:a16="http://schemas.microsoft.com/office/drawing/2014/main" id="{CF947818-7356-4C4B-8655-0F0DB6CDFF0C}"/>
              </a:ext>
            </a:extLst>
          </p:cNvPr>
          <p:cNvSpPr>
            <a:spLocks noGrp="1"/>
          </p:cNvSpPr>
          <p:nvPr>
            <p:custDataLst>
              <p:tags r:id="rId24"/>
            </p:custDataLst>
          </p:nvPr>
        </p:nvSpPr>
        <p:spPr bwMode="auto">
          <a:xfrm>
            <a:off x="85883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6F823F-2974-4D04-B608-DAEDFED28161}" type="datetime'''''''18'''''''''''''''''''''''''''''''''''''''''''''''''''''">
              <a:rPr kumimoji="0" lang="ja-JP" altLang="en-US" sz="1000" smtClean="0"/>
              <a:pPr/>
              <a:t>18</a:t>
            </a:fld>
            <a:endParaRPr kumimoji="0" lang="ja-JP" altLang="en-US" sz="1000" dirty="0">
              <a:sym typeface="+mn-lt"/>
            </a:endParaRPr>
          </a:p>
        </p:txBody>
      </p:sp>
      <p:sp>
        <p:nvSpPr>
          <p:cNvPr id="31" name="テキスト ボックス 1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の市場規模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上回っている。</a:t>
            </a:r>
          </a:p>
        </p:txBody>
      </p:sp>
    </p:spTree>
    <p:extLst>
      <p:ext uri="{BB962C8B-B14F-4D97-AF65-F5344CB8AC3E}">
        <p14:creationId xmlns:p14="http://schemas.microsoft.com/office/powerpoint/2010/main" val="244696640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66" name="think-cell Slide" r:id="rId24" imgW="270" imgH="270" progId="TCLayout.ActiveDocument.1">
                  <p:embed/>
                </p:oleObj>
              </mc:Choice>
              <mc:Fallback>
                <p:oleObj name="think-cell Slide" r:id="rId24" imgW="270" imgH="270" progId="TCLayout.ActiveDocument.1">
                  <p:embed/>
                  <p:pic>
                    <p:nvPicPr>
                      <p:cNvPr id="3" name="オブジェクト 2"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grpSp>
        <p:nvGrpSpPr>
          <p:cNvPr id="18" name="グループ化 7"/>
          <p:cNvGrpSpPr/>
          <p:nvPr/>
        </p:nvGrpSpPr>
        <p:grpSpPr>
          <a:xfrm>
            <a:off x="632520" y="1916832"/>
            <a:ext cx="8640960" cy="288032"/>
            <a:chOff x="4803500" y="2113806"/>
            <a:chExt cx="5626916" cy="288032"/>
          </a:xfrm>
        </p:grpSpPr>
        <p:cxnSp>
          <p:nvCxnSpPr>
            <p:cNvPr id="19" name="直線コネクタ 1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市場規模</a:t>
              </a:r>
              <a:endParaRPr lang="en-US" altLang="ko-KR" sz="1400" dirty="0">
                <a:solidFill>
                  <a:srgbClr val="000000"/>
                </a:solidFill>
                <a:latin typeface="Arial Black" pitchFamily="34" charset="0"/>
                <a:ea typeface="HGP創英角ｺﾞｼｯｸUB" pitchFamily="50" charset="-128"/>
              </a:endParaRPr>
            </a:p>
          </p:txBody>
        </p:sp>
      </p:grpSp>
      <p:sp>
        <p:nvSpPr>
          <p:cNvPr id="21" name="テキスト ボックス 20"/>
          <p:cNvSpPr txBox="1"/>
          <p:nvPr/>
        </p:nvSpPr>
        <p:spPr>
          <a:xfrm>
            <a:off x="632520" y="2204864"/>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米国商務省</a:t>
            </a:r>
          </a:p>
        </p:txBody>
      </p:sp>
      <p:graphicFrame>
        <p:nvGraphicFramePr>
          <p:cNvPr id="62" name="Chart 61">
            <a:extLst>
              <a:ext uri="{FF2B5EF4-FFF2-40B4-BE49-F238E27FC236}">
                <a16:creationId xmlns:a16="http://schemas.microsoft.com/office/drawing/2014/main" id="{853E6428-301A-43E9-81D2-E91EBF127735}"/>
              </a:ext>
            </a:extLst>
          </p:cNvPr>
          <p:cNvGraphicFramePr/>
          <p:nvPr>
            <p:custDataLst>
              <p:tags r:id="rId4"/>
            </p:custDataLst>
          </p:nvPr>
        </p:nvGraphicFramePr>
        <p:xfrm>
          <a:off x="614363" y="2625725"/>
          <a:ext cx="8742362" cy="3549650"/>
        </p:xfrm>
        <a:graphic>
          <a:graphicData uri="http://schemas.openxmlformats.org/drawingml/2006/chart">
            <c:chart xmlns:c="http://schemas.openxmlformats.org/drawingml/2006/chart" xmlns:r="http://schemas.openxmlformats.org/officeDocument/2006/relationships" r:id="rId26"/>
          </a:graphicData>
        </a:graphic>
      </p:graphicFrame>
      <p:sp>
        <p:nvSpPr>
          <p:cNvPr id="34" name="テキスト プレースホルダ 9">
            <a:extLst>
              <a:ext uri="{FF2B5EF4-FFF2-40B4-BE49-F238E27FC236}">
                <a16:creationId xmlns:a16="http://schemas.microsoft.com/office/drawing/2014/main" id="{CA8AE036-A54B-47D6-AC2C-5AD1B57638DD}"/>
              </a:ext>
            </a:extLst>
          </p:cNvPr>
          <p:cNvSpPr>
            <a:spLocks noGrp="1"/>
          </p:cNvSpPr>
          <p:nvPr>
            <p:custDataLst>
              <p:tags r:id="rId5"/>
            </p:custDataLst>
          </p:nvPr>
        </p:nvSpPr>
        <p:spPr bwMode="gray">
          <a:xfrm>
            <a:off x="498475" y="60166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5B96C4F-17C9-4748-A138-D334A7061532}" type="datetime'''''''''''''''''''''''''''''''''0'''''">
              <a:rPr lang="en-US" altLang="en-US" sz="1000" smtClean="0"/>
              <a:pPr/>
              <a:t>0</a:t>
            </a:fld>
            <a:endParaRPr lang="ja-JP" altLang="en-US" sz="1000" dirty="0">
              <a:sym typeface="+mn-lt"/>
            </a:endParaRPr>
          </a:p>
        </p:txBody>
      </p:sp>
      <p:sp>
        <p:nvSpPr>
          <p:cNvPr id="47" name="テキスト プレースホルダ 9">
            <a:extLst>
              <a:ext uri="{FF2B5EF4-FFF2-40B4-BE49-F238E27FC236}">
                <a16:creationId xmlns:a16="http://schemas.microsoft.com/office/drawing/2014/main" id="{FCCC65B1-FC1F-419F-8B8F-1B699DE7EAA0}"/>
              </a:ext>
            </a:extLst>
          </p:cNvPr>
          <p:cNvSpPr>
            <a:spLocks noGrp="1"/>
          </p:cNvSpPr>
          <p:nvPr>
            <p:custDataLst>
              <p:tags r:id="rId6"/>
            </p:custDataLst>
          </p:nvPr>
        </p:nvSpPr>
        <p:spPr bwMode="gray">
          <a:xfrm>
            <a:off x="428625" y="40830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09FA689-A101-4860-90EF-B186FEECB543}" type="datetime'''''''20'''''''''''''''''''">
              <a:rPr lang="en-US" altLang="en-US" sz="1000" smtClean="0"/>
              <a:pPr/>
              <a:t>20</a:t>
            </a:fld>
            <a:endParaRPr lang="ja-JP" altLang="en-US" sz="1000" dirty="0">
              <a:sym typeface="+mn-lt"/>
            </a:endParaRPr>
          </a:p>
        </p:txBody>
      </p:sp>
      <p:sp>
        <p:nvSpPr>
          <p:cNvPr id="42" name="テキスト プレースホルダ 9">
            <a:extLst>
              <a:ext uri="{FF2B5EF4-FFF2-40B4-BE49-F238E27FC236}">
                <a16:creationId xmlns:a16="http://schemas.microsoft.com/office/drawing/2014/main" id="{3AD1912C-0BA3-416E-A9B1-6FDBB4FF0B56}"/>
              </a:ext>
            </a:extLst>
          </p:cNvPr>
          <p:cNvSpPr>
            <a:spLocks noGrp="1"/>
          </p:cNvSpPr>
          <p:nvPr>
            <p:custDataLst>
              <p:tags r:id="rId7"/>
            </p:custDataLst>
          </p:nvPr>
        </p:nvSpPr>
        <p:spPr bwMode="gray">
          <a:xfrm>
            <a:off x="428625" y="50498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9E8966B-62E7-4B6C-8980-CB1363FF3A5B}" type="datetime'''''''''''''''''''''''''''''''''''''''''''''''1''''0'''''">
              <a:rPr lang="en-US" altLang="en-US" sz="1000" smtClean="0"/>
              <a:pPr/>
              <a:t>10</a:t>
            </a:fld>
            <a:endParaRPr lang="ja-JP" altLang="en-US" sz="1000" dirty="0">
              <a:sym typeface="+mn-lt"/>
            </a:endParaRPr>
          </a:p>
        </p:txBody>
      </p:sp>
      <p:sp>
        <p:nvSpPr>
          <p:cNvPr id="52" name="テキスト プレースホルダ 9">
            <a:extLst>
              <a:ext uri="{FF2B5EF4-FFF2-40B4-BE49-F238E27FC236}">
                <a16:creationId xmlns:a16="http://schemas.microsoft.com/office/drawing/2014/main" id="{CEAD3EB1-CC6E-43AE-896E-1E2E7EF9C395}"/>
              </a:ext>
            </a:extLst>
          </p:cNvPr>
          <p:cNvSpPr>
            <a:spLocks noGrp="1"/>
          </p:cNvSpPr>
          <p:nvPr>
            <p:custDataLst>
              <p:tags r:id="rId8"/>
            </p:custDataLst>
          </p:nvPr>
        </p:nvSpPr>
        <p:spPr bwMode="gray">
          <a:xfrm>
            <a:off x="428625" y="31162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75B143D-52EB-46A6-BD8D-A60FCA78A757}" type="datetime'''''''''''''''''''''''''''''''''''''''''''''3''''''''''''0'">
              <a:rPr lang="en-US" altLang="en-US" sz="1000" smtClean="0"/>
              <a:pPr/>
              <a:t>30</a:t>
            </a:fld>
            <a:endParaRPr lang="ja-JP" altLang="en-US" sz="1000" dirty="0">
              <a:sym typeface="+mn-lt"/>
            </a:endParaRPr>
          </a:p>
        </p:txBody>
      </p:sp>
      <p:sp>
        <p:nvSpPr>
          <p:cNvPr id="56" name="テキスト プレースホルダ 9">
            <a:extLst>
              <a:ext uri="{FF2B5EF4-FFF2-40B4-BE49-F238E27FC236}">
                <a16:creationId xmlns:a16="http://schemas.microsoft.com/office/drawing/2014/main" id="{7B1F3ACD-4D90-41E8-A922-ABE8ECB846FE}"/>
              </a:ext>
            </a:extLst>
          </p:cNvPr>
          <p:cNvSpPr>
            <a:spLocks noGrp="1"/>
          </p:cNvSpPr>
          <p:nvPr>
            <p:custDataLst>
              <p:tags r:id="rId9"/>
            </p:custDataLst>
          </p:nvPr>
        </p:nvSpPr>
        <p:spPr bwMode="gray">
          <a:xfrm>
            <a:off x="498475" y="55340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5EA0518-11C2-49AF-B426-0414CBD741D2}" type="datetime'''''''''''''''''''''''''''''''''''''''''''''''''''''''''5'">
              <a:rPr lang="en-US" altLang="en-US" sz="1000" smtClean="0"/>
              <a:pPr/>
              <a:t>5</a:t>
            </a:fld>
            <a:endParaRPr lang="ja-JP" altLang="en-US" sz="1000" dirty="0">
              <a:sym typeface="+mn-lt"/>
            </a:endParaRPr>
          </a:p>
        </p:txBody>
      </p:sp>
      <p:sp>
        <p:nvSpPr>
          <p:cNvPr id="58" name="テキスト プレースホルダ 9">
            <a:extLst>
              <a:ext uri="{FF2B5EF4-FFF2-40B4-BE49-F238E27FC236}">
                <a16:creationId xmlns:a16="http://schemas.microsoft.com/office/drawing/2014/main" id="{D9810AF9-2D57-4461-97A8-2B7223ED107E}"/>
              </a:ext>
            </a:extLst>
          </p:cNvPr>
          <p:cNvSpPr>
            <a:spLocks noGrp="1"/>
          </p:cNvSpPr>
          <p:nvPr>
            <p:custDataLst>
              <p:tags r:id="rId10"/>
            </p:custDataLst>
          </p:nvPr>
        </p:nvSpPr>
        <p:spPr bwMode="gray">
          <a:xfrm>
            <a:off x="428625" y="36004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C05014E-A03B-427A-84CB-5D6594E11A33}" type="datetime'''''''''''''''2''''''''''''''''5'''''''''''''''''''''''''">
              <a:rPr lang="en-US" altLang="en-US" sz="1000" smtClean="0"/>
              <a:pPr/>
              <a:t>25</a:t>
            </a:fld>
            <a:endParaRPr lang="ja-JP" altLang="en-US" sz="1000" dirty="0">
              <a:sym typeface="+mn-lt"/>
            </a:endParaRPr>
          </a:p>
        </p:txBody>
      </p:sp>
      <p:sp>
        <p:nvSpPr>
          <p:cNvPr id="57" name="テキスト プレースホルダ 9">
            <a:extLst>
              <a:ext uri="{FF2B5EF4-FFF2-40B4-BE49-F238E27FC236}">
                <a16:creationId xmlns:a16="http://schemas.microsoft.com/office/drawing/2014/main" id="{8D0A66C6-AB76-4175-A4B5-803CEFADFC18}"/>
              </a:ext>
            </a:extLst>
          </p:cNvPr>
          <p:cNvSpPr>
            <a:spLocks noGrp="1"/>
          </p:cNvSpPr>
          <p:nvPr>
            <p:custDataLst>
              <p:tags r:id="rId11"/>
            </p:custDataLst>
          </p:nvPr>
        </p:nvSpPr>
        <p:spPr bwMode="gray">
          <a:xfrm>
            <a:off x="428625" y="45672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C85CB97-7D9A-48E6-A7A7-D5A5CBA3A74D}" type="datetime'''''1''''''''''5'''''''''''''''''''''''">
              <a:rPr lang="en-US" altLang="en-US" sz="1000" smtClean="0"/>
              <a:pPr/>
              <a:t>15</a:t>
            </a:fld>
            <a:endParaRPr lang="ja-JP" altLang="en-US" sz="1000" dirty="0">
              <a:sym typeface="+mn-lt"/>
            </a:endParaRPr>
          </a:p>
        </p:txBody>
      </p:sp>
      <p:sp>
        <p:nvSpPr>
          <p:cNvPr id="59" name="テキスト プレースホルダ 9">
            <a:extLst>
              <a:ext uri="{FF2B5EF4-FFF2-40B4-BE49-F238E27FC236}">
                <a16:creationId xmlns:a16="http://schemas.microsoft.com/office/drawing/2014/main" id="{77E9E0E6-4DF3-42E9-BA30-74E189A9D870}"/>
              </a:ext>
            </a:extLst>
          </p:cNvPr>
          <p:cNvSpPr>
            <a:spLocks noGrp="1"/>
          </p:cNvSpPr>
          <p:nvPr>
            <p:custDataLst>
              <p:tags r:id="rId12"/>
            </p:custDataLst>
          </p:nvPr>
        </p:nvSpPr>
        <p:spPr bwMode="gray">
          <a:xfrm>
            <a:off x="428625" y="26320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4239DE9-3593-403B-B7BA-285730163978}" type="datetime'''''''''''''''''''''3''''''''''''''''''5'''''''''''''''''">
              <a:rPr lang="en-US" altLang="en-US" sz="1000" smtClean="0"/>
              <a:pPr/>
              <a:t>35</a:t>
            </a:fld>
            <a:endParaRPr lang="ja-JP" altLang="en-US" sz="1000" dirty="0">
              <a:sym typeface="+mn-lt"/>
            </a:endParaRPr>
          </a:p>
        </p:txBody>
      </p:sp>
      <p:cxnSp>
        <p:nvCxnSpPr>
          <p:cNvPr id="14" name="Straight Connector 13">
            <a:extLst>
              <a:ext uri="{FF2B5EF4-FFF2-40B4-BE49-F238E27FC236}">
                <a16:creationId xmlns:a16="http://schemas.microsoft.com/office/drawing/2014/main" id="{B2075B14-1F2A-4FA7-84AC-77445842C872}"/>
              </a:ext>
            </a:extLst>
          </p:cNvPr>
          <p:cNvCxnSpPr/>
          <p:nvPr>
            <p:custDataLst>
              <p:tags r:id="rId13"/>
            </p:custDataLst>
          </p:nvPr>
        </p:nvCxnSpPr>
        <p:spPr bwMode="auto">
          <a:xfrm flipV="1">
            <a:off x="1768475" y="2382838"/>
            <a:ext cx="6432550" cy="1803400"/>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8" name="テキスト プレースホルダ 9"/>
          <p:cNvSpPr>
            <a:spLocks noGrp="1"/>
          </p:cNvSpPr>
          <p:nvPr>
            <p:custDataLst>
              <p:tags r:id="rId14"/>
            </p:custDataLst>
          </p:nvPr>
        </p:nvSpPr>
        <p:spPr bwMode="auto">
          <a:xfrm>
            <a:off x="16922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1A4D38-32E4-4A93-8C0A-53ECF9BD938F}" type="datetime'''''1''''''9'''''''">
              <a:rPr lang="ja-JP" altLang="en-US" sz="1000"/>
              <a:pPr marL="0" indent="0" algn="ctr">
                <a:spcBef>
                  <a:spcPct val="0"/>
                </a:spcBef>
                <a:buNone/>
              </a:pPr>
              <a:t>19</a:t>
            </a:fld>
            <a:endParaRPr kumimoji="0" lang="ja-JP" altLang="en-US" sz="1000" dirty="0">
              <a:sym typeface="+mn-lt"/>
            </a:endParaRPr>
          </a:p>
        </p:txBody>
      </p:sp>
      <p:sp>
        <p:nvSpPr>
          <p:cNvPr id="39" name="テキスト プレースホルダ 9"/>
          <p:cNvSpPr>
            <a:spLocks noGrp="1"/>
          </p:cNvSpPr>
          <p:nvPr>
            <p:custDataLst>
              <p:tags r:id="rId15"/>
            </p:custDataLst>
          </p:nvPr>
        </p:nvSpPr>
        <p:spPr bwMode="auto">
          <a:xfrm>
            <a:off x="38369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1D434A-CD3B-4A60-8391-D912A9DC7DD5}" type="datetime'''''''''''''''''''''''''''''''''''''''2''''0'''''''">
              <a:rPr lang="ja-JP" altLang="en-US" sz="1000"/>
              <a:pPr marL="0" indent="0" algn="ctr">
                <a:spcBef>
                  <a:spcPct val="0"/>
                </a:spcBef>
                <a:buNone/>
              </a:pPr>
              <a:t>20</a:t>
            </a:fld>
            <a:endParaRPr kumimoji="0" lang="ja-JP" altLang="en-US" sz="1000" dirty="0">
              <a:sym typeface="+mn-lt"/>
            </a:endParaRPr>
          </a:p>
        </p:txBody>
      </p:sp>
      <p:sp>
        <p:nvSpPr>
          <p:cNvPr id="40" name="テキスト プレースホルダ 9"/>
          <p:cNvSpPr>
            <a:spLocks noGrp="1"/>
          </p:cNvSpPr>
          <p:nvPr>
            <p:custDataLst>
              <p:tags r:id="rId16"/>
            </p:custDataLst>
          </p:nvPr>
        </p:nvSpPr>
        <p:spPr bwMode="auto">
          <a:xfrm>
            <a:off x="59817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29B93E-5335-4D0C-A7D6-DA35CF6D4771}" type="datetime'''''''''''''''''''''''''''''''''''''''''2''''1'">
              <a:rPr lang="ja-JP" altLang="en-US" sz="1000"/>
              <a:pPr marL="0" indent="0" algn="ctr">
                <a:spcBef>
                  <a:spcPct val="0"/>
                </a:spcBef>
                <a:buNone/>
              </a:pPr>
              <a:t>21</a:t>
            </a:fld>
            <a:endParaRPr kumimoji="0" lang="ja-JP" altLang="en-US" sz="1000" dirty="0">
              <a:sym typeface="+mn-lt"/>
            </a:endParaRPr>
          </a:p>
        </p:txBody>
      </p:sp>
      <p:sp>
        <p:nvSpPr>
          <p:cNvPr id="33" name="テキスト プレースホルダ 9"/>
          <p:cNvSpPr>
            <a:spLocks noGrp="1"/>
          </p:cNvSpPr>
          <p:nvPr>
            <p:custDataLst>
              <p:tags r:id="rId17"/>
            </p:custDataLst>
          </p:nvPr>
        </p:nvSpPr>
        <p:spPr bwMode="auto">
          <a:xfrm>
            <a:off x="812482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C19CA3-66CB-48B7-9D5C-EF0FC7851DEF}" type="datetime'''''''''''''''''''''''''''''''2''''''''''''''2'''''''">
              <a:rPr lang="ja-JP" altLang="en-US" sz="1000" smtClean="0"/>
              <a:pPr marL="0" indent="0" algn="ctr">
                <a:spcBef>
                  <a:spcPct val="0"/>
                </a:spcBef>
                <a:buNone/>
              </a:pPr>
              <a:t>22</a:t>
            </a:fld>
            <a:endParaRPr kumimoji="0" lang="ja-JP" altLang="en-US" sz="1000" dirty="0">
              <a:sym typeface="+mn-lt"/>
            </a:endParaRPr>
          </a:p>
        </p:txBody>
      </p:sp>
      <p:sp>
        <p:nvSpPr>
          <p:cNvPr id="32" name="テキスト プレースホルダ 9">
            <a:extLst>
              <a:ext uri="{FF2B5EF4-FFF2-40B4-BE49-F238E27FC236}">
                <a16:creationId xmlns:a16="http://schemas.microsoft.com/office/drawing/2014/main" id="{0E5A2F96-2AD9-451A-BAD0-94DA0B65770E}"/>
              </a:ext>
            </a:extLst>
          </p:cNvPr>
          <p:cNvSpPr>
            <a:spLocks noGrp="1"/>
          </p:cNvSpPr>
          <p:nvPr>
            <p:custDataLst>
              <p:tags r:id="rId18"/>
            </p:custDataLst>
          </p:nvPr>
        </p:nvSpPr>
        <p:spPr bwMode="gray">
          <a:xfrm>
            <a:off x="8026400" y="258127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CACE536-1CB3-475C-A878-0C06A9913B25}" type="datetime'''''''3''''''''''''''''''''4.''''''''''''''''''''''''48'">
              <a:rPr lang="en-US" altLang="en-US" sz="1000" smtClean="0">
                <a:effectLst/>
                <a:sym typeface="+mn-lt"/>
              </a:rPr>
              <a:pPr marL="0" indent="0" algn="ctr">
                <a:spcBef>
                  <a:spcPct val="0"/>
                </a:spcBef>
                <a:buNone/>
              </a:pPr>
              <a:t>34.48</a:t>
            </a:fld>
            <a:endParaRPr lang="ja-JP" altLang="en-US" sz="1000" dirty="0">
              <a:sym typeface="+mn-lt"/>
            </a:endParaRPr>
          </a:p>
        </p:txBody>
      </p:sp>
      <p:sp>
        <p:nvSpPr>
          <p:cNvPr id="26" name="テキスト プレースホルダ 9">
            <a:extLst>
              <a:ext uri="{FF2B5EF4-FFF2-40B4-BE49-F238E27FC236}">
                <a16:creationId xmlns:a16="http://schemas.microsoft.com/office/drawing/2014/main" id="{D60F5D3C-AA21-4948-B5DB-ED8D8A42B696}"/>
              </a:ext>
            </a:extLst>
          </p:cNvPr>
          <p:cNvSpPr>
            <a:spLocks noGrp="1"/>
          </p:cNvSpPr>
          <p:nvPr>
            <p:custDataLst>
              <p:tags r:id="rId19"/>
            </p:custDataLst>
          </p:nvPr>
        </p:nvSpPr>
        <p:spPr bwMode="gray">
          <a:xfrm>
            <a:off x="1593850" y="438467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6FF7CE6-4B0D-4724-AFAA-0EFCB01BC93C}" type="datetime'''''''''1''''''5.''8''''3'''''''''''''">
              <a:rPr lang="en-US" altLang="en-US" sz="1000" smtClean="0"/>
              <a:pPr/>
              <a:t>15.83</a:t>
            </a:fld>
            <a:endParaRPr lang="ja-JP" altLang="en-US" sz="1000" dirty="0">
              <a:sym typeface="+mn-lt"/>
            </a:endParaRPr>
          </a:p>
        </p:txBody>
      </p:sp>
      <p:sp>
        <p:nvSpPr>
          <p:cNvPr id="29" name="テキスト プレースホルダ 9">
            <a:extLst>
              <a:ext uri="{FF2B5EF4-FFF2-40B4-BE49-F238E27FC236}">
                <a16:creationId xmlns:a16="http://schemas.microsoft.com/office/drawing/2014/main" id="{6B46C2A8-5A5E-4B37-B42D-9E874327E229}"/>
              </a:ext>
            </a:extLst>
          </p:cNvPr>
          <p:cNvSpPr>
            <a:spLocks noGrp="1"/>
          </p:cNvSpPr>
          <p:nvPr>
            <p:custDataLst>
              <p:tags r:id="rId20"/>
            </p:custDataLst>
          </p:nvPr>
        </p:nvSpPr>
        <p:spPr bwMode="gray">
          <a:xfrm>
            <a:off x="3738563" y="403066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52DD9C2-D38C-4BFB-B736-ED5760B6D2E6}" type="datetime'''1''''''''''''''''''9''''''''.''''49'''''''''''''''">
              <a:rPr lang="en-US" altLang="en-US" sz="1000" smtClean="0">
                <a:effectLst/>
                <a:sym typeface="+mn-lt"/>
              </a:rPr>
              <a:pPr marL="0" indent="0" algn="ctr">
                <a:spcBef>
                  <a:spcPct val="0"/>
                </a:spcBef>
                <a:buNone/>
              </a:pPr>
              <a:t>19.49</a:t>
            </a:fld>
            <a:endParaRPr lang="ja-JP" altLang="en-US" sz="1000" dirty="0">
              <a:sym typeface="+mn-lt"/>
            </a:endParaRPr>
          </a:p>
        </p:txBody>
      </p:sp>
      <p:sp>
        <p:nvSpPr>
          <p:cNvPr id="30" name="テキスト プレースホルダ 9">
            <a:extLst>
              <a:ext uri="{FF2B5EF4-FFF2-40B4-BE49-F238E27FC236}">
                <a16:creationId xmlns:a16="http://schemas.microsoft.com/office/drawing/2014/main" id="{BD71FC0F-A847-4675-84F1-AD9840AB851B}"/>
              </a:ext>
            </a:extLst>
          </p:cNvPr>
          <p:cNvSpPr>
            <a:spLocks noGrp="1"/>
          </p:cNvSpPr>
          <p:nvPr>
            <p:custDataLst>
              <p:tags r:id="rId21"/>
            </p:custDataLst>
          </p:nvPr>
        </p:nvSpPr>
        <p:spPr bwMode="gray">
          <a:xfrm>
            <a:off x="5883275" y="331628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746632-07A0-4C4F-AB50-D6FFD025F95E}" type="datetime'''2''''''''''''6''.8''''''''''''''''''''''8'''''''''''''''''">
              <a:rPr lang="en-US" altLang="en-US" sz="1000" smtClean="0">
                <a:effectLst/>
                <a:sym typeface="+mn-lt"/>
              </a:rPr>
              <a:pPr marL="0" indent="0" algn="ctr">
                <a:spcBef>
                  <a:spcPct val="0"/>
                </a:spcBef>
                <a:buNone/>
              </a:pPr>
              <a:t>26.88</a:t>
            </a:fld>
            <a:endParaRPr lang="ja-JP" altLang="en-US" sz="1000" dirty="0">
              <a:sym typeface="+mn-lt"/>
            </a:endParaRPr>
          </a:p>
        </p:txBody>
      </p:sp>
      <p:sp>
        <p:nvSpPr>
          <p:cNvPr id="61" name="テキスト プレースホルダ 9">
            <a:extLst>
              <a:ext uri="{FF2B5EF4-FFF2-40B4-BE49-F238E27FC236}">
                <a16:creationId xmlns:a16="http://schemas.microsoft.com/office/drawing/2014/main" id="{F4BB7412-2BF0-4BB8-914A-EF2AAC230B67}"/>
              </a:ext>
            </a:extLst>
          </p:cNvPr>
          <p:cNvSpPr>
            <a:spLocks noGrp="1"/>
          </p:cNvSpPr>
          <p:nvPr>
            <p:custDataLst>
              <p:tags r:id="rId22"/>
            </p:custDataLst>
          </p:nvPr>
        </p:nvSpPr>
        <p:spPr bwMode="auto">
          <a:xfrm>
            <a:off x="4500563" y="3176588"/>
            <a:ext cx="969963" cy="215900"/>
          </a:xfrm>
          <a:prstGeom prst="ellipse">
            <a:avLst/>
          </a:prstGeom>
          <a:solidFill>
            <a:schemeClr val="accent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000" b="1" dirty="0">
                <a:solidFill>
                  <a:schemeClr val="bg1"/>
                </a:solidFill>
                <a:effectLst/>
                <a:sym typeface="+mn-lt"/>
              </a:rPr>
              <a:t>年率</a:t>
            </a:r>
            <a:fld id="{E667E429-51EE-4B09-91CD-CED9B6E017F0}" type="datetime'''''''''+''''''2''''9''''''.''6''''''%'''''''''''''''''''">
              <a:rPr lang="en-US" altLang="en-US" sz="1000" b="1" smtClean="0">
                <a:solidFill>
                  <a:schemeClr val="bg1"/>
                </a:solidFill>
                <a:effectLst/>
                <a:sym typeface="+mn-lt"/>
              </a:rPr>
              <a:pPr marL="0" indent="0" algn="ctr">
                <a:spcBef>
                  <a:spcPct val="0"/>
                </a:spcBef>
                <a:buNone/>
              </a:pPr>
              <a:t>+29.6%</a:t>
            </a:fld>
            <a:endParaRPr lang="ja-JP" altLang="en-US" sz="1000" b="1" dirty="0">
              <a:solidFill>
                <a:schemeClr val="bg1"/>
              </a:solidFill>
              <a:sym typeface="+mn-lt"/>
            </a:endParaRPr>
          </a:p>
        </p:txBody>
      </p:sp>
      <p:grpSp>
        <p:nvGrpSpPr>
          <p:cNvPr id="22" name="グループ化 21"/>
          <p:cNvGrpSpPr/>
          <p:nvPr/>
        </p:nvGrpSpPr>
        <p:grpSpPr>
          <a:xfrm>
            <a:off x="7067180" y="2492896"/>
            <a:ext cx="2287955" cy="4230177"/>
            <a:chOff x="5987603" y="-41433"/>
            <a:chExt cx="4275923" cy="4230177"/>
          </a:xfrm>
        </p:grpSpPr>
        <p:sp>
          <p:nvSpPr>
            <p:cNvPr id="23" name="フリーフォーム 22"/>
            <p:cNvSpPr/>
            <p:nvPr/>
          </p:nvSpPr>
          <p:spPr>
            <a:xfrm>
              <a:off x="5987603" y="-41433"/>
              <a:ext cx="4275923" cy="400343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角丸四角形 23"/>
            <p:cNvSpPr/>
            <p:nvPr/>
          </p:nvSpPr>
          <p:spPr>
            <a:xfrm>
              <a:off x="6424574" y="3842510"/>
              <a:ext cx="3417197" cy="346234"/>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square" anchor="ctr" anchorCtr="0">
              <a:sp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1" name="テキスト ボックス 16"/>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の医療機器市場は、非常に速いスピードで成長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ただし、平均して、シンガポールに輸入された製品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がその後再輸出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22807401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90" name="think-cell Slide" r:id="rId43" imgW="360" imgH="360" progId="TCLayout.ActiveDocument.1">
                  <p:embed/>
                </p:oleObj>
              </mc:Choice>
              <mc:Fallback>
                <p:oleObj name="think-cell Slide" r:id="rId43" imgW="360" imgH="360" progId="TCLayout.ActiveDocument.1">
                  <p:embed/>
                  <p:pic>
                    <p:nvPicPr>
                      <p:cNvPr id="4" name="Object 3" hidden="1"/>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55" name="Chart 54">
            <a:extLst>
              <a:ext uri="{FF2B5EF4-FFF2-40B4-BE49-F238E27FC236}">
                <a16:creationId xmlns:a16="http://schemas.microsoft.com/office/drawing/2014/main" id="{6C2CF9F2-1570-48A4-996B-552663B44CE3}"/>
              </a:ext>
            </a:extLst>
          </p:cNvPr>
          <p:cNvGraphicFramePr/>
          <p:nvPr>
            <p:custDataLst>
              <p:tags r:id="rId4"/>
            </p:custDataLst>
          </p:nvPr>
        </p:nvGraphicFramePr>
        <p:xfrm>
          <a:off x="425450" y="2698750"/>
          <a:ext cx="5710238" cy="3260725"/>
        </p:xfrm>
        <a:graphic>
          <a:graphicData uri="http://schemas.openxmlformats.org/drawingml/2006/chart">
            <c:chart xmlns:c="http://schemas.openxmlformats.org/drawingml/2006/chart" xmlns:r="http://schemas.openxmlformats.org/officeDocument/2006/relationships" r:id="rId45"/>
          </a:graphicData>
        </a:graphic>
      </p:graphicFrame>
      <p:sp>
        <p:nvSpPr>
          <p:cNvPr id="133" name="テキスト プレースホルダ 9">
            <a:extLst>
              <a:ext uri="{FF2B5EF4-FFF2-40B4-BE49-F238E27FC236}">
                <a16:creationId xmlns:a16="http://schemas.microsoft.com/office/drawing/2014/main" id="{55BC6CC9-983F-4E00-A505-726B7C369740}"/>
              </a:ext>
            </a:extLst>
          </p:cNvPr>
          <p:cNvSpPr>
            <a:spLocks noGrp="1"/>
          </p:cNvSpPr>
          <p:nvPr>
            <p:custDataLst>
              <p:tags r:id="rId5"/>
            </p:custDataLst>
          </p:nvPr>
        </p:nvSpPr>
        <p:spPr bwMode="gray">
          <a:xfrm>
            <a:off x="239713" y="44243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7E44588-D3C6-4D7C-829D-E240C838FBA0}" type="datetime'''''''''''''''''''''''4''0'">
              <a:rPr lang="en-US" altLang="en-US" sz="1000" smtClean="0"/>
              <a:pPr/>
              <a:t>40</a:t>
            </a:fld>
            <a:endParaRPr lang="ja-JP" altLang="en-US" sz="1000" dirty="0">
              <a:sym typeface="+mn-lt"/>
            </a:endParaRPr>
          </a:p>
        </p:txBody>
      </p:sp>
      <p:sp>
        <p:nvSpPr>
          <p:cNvPr id="130" name="テキスト プレースホルダ 9">
            <a:extLst>
              <a:ext uri="{FF2B5EF4-FFF2-40B4-BE49-F238E27FC236}">
                <a16:creationId xmlns:a16="http://schemas.microsoft.com/office/drawing/2014/main" id="{5328B3A4-8899-4B27-8438-C536BFF060E4}"/>
              </a:ext>
            </a:extLst>
          </p:cNvPr>
          <p:cNvSpPr>
            <a:spLocks noGrp="1"/>
          </p:cNvSpPr>
          <p:nvPr>
            <p:custDataLst>
              <p:tags r:id="rId6"/>
            </p:custDataLst>
          </p:nvPr>
        </p:nvSpPr>
        <p:spPr bwMode="gray">
          <a:xfrm>
            <a:off x="239713" y="54578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4110436-3595-429E-8536-66C4899EF5E2}" type="datetime'''''''''''''''''''''''''''1''''''''''''''''''''0'">
              <a:rPr lang="en-US" altLang="en-US" sz="1000" smtClean="0"/>
              <a:pPr/>
              <a:t>10</a:t>
            </a:fld>
            <a:endParaRPr lang="ja-JP" altLang="en-US" sz="1000" dirty="0">
              <a:sym typeface="+mn-lt"/>
            </a:endParaRPr>
          </a:p>
        </p:txBody>
      </p:sp>
      <p:sp>
        <p:nvSpPr>
          <p:cNvPr id="129" name="テキスト プレースホルダ 9">
            <a:extLst>
              <a:ext uri="{FF2B5EF4-FFF2-40B4-BE49-F238E27FC236}">
                <a16:creationId xmlns:a16="http://schemas.microsoft.com/office/drawing/2014/main" id="{EAF813E5-2DB4-40DC-B042-620EF9F5AF1D}"/>
              </a:ext>
            </a:extLst>
          </p:cNvPr>
          <p:cNvSpPr>
            <a:spLocks noGrp="1"/>
          </p:cNvSpPr>
          <p:nvPr>
            <p:custDataLst>
              <p:tags r:id="rId7"/>
            </p:custDataLst>
          </p:nvPr>
        </p:nvSpPr>
        <p:spPr bwMode="gray">
          <a:xfrm>
            <a:off x="309563" y="58007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4526A20-6621-494A-AC94-0C6EDE2E1038}" type="datetime'''''''''''''''''''''''''0'''''''''''''''''''''">
              <a:rPr lang="en-US" altLang="en-US" sz="1000" smtClean="0"/>
              <a:pPr/>
              <a:t>0</a:t>
            </a:fld>
            <a:endParaRPr lang="ja-JP" altLang="en-US" sz="1000" dirty="0">
              <a:sym typeface="+mn-lt"/>
            </a:endParaRPr>
          </a:p>
        </p:txBody>
      </p:sp>
      <p:sp>
        <p:nvSpPr>
          <p:cNvPr id="136" name="テキスト プレースホルダ 9">
            <a:extLst>
              <a:ext uri="{FF2B5EF4-FFF2-40B4-BE49-F238E27FC236}">
                <a16:creationId xmlns:a16="http://schemas.microsoft.com/office/drawing/2014/main" id="{63E0CBB9-06AF-4448-8F36-742C03F32396}"/>
              </a:ext>
            </a:extLst>
          </p:cNvPr>
          <p:cNvSpPr>
            <a:spLocks noGrp="1"/>
          </p:cNvSpPr>
          <p:nvPr>
            <p:custDataLst>
              <p:tags r:id="rId8"/>
            </p:custDataLst>
          </p:nvPr>
        </p:nvSpPr>
        <p:spPr bwMode="gray">
          <a:xfrm>
            <a:off x="239713" y="33924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AEAE481-152E-408E-9850-96D702A6C7CE}" type="datetime'''''''''''''''''''''''''''''''70'''''''''''''''''''''">
              <a:rPr lang="en-US" altLang="en-US" sz="1000" smtClean="0"/>
              <a:pPr/>
              <a:t>70</a:t>
            </a:fld>
            <a:endParaRPr lang="ja-JP" altLang="en-US" sz="1000" dirty="0">
              <a:sym typeface="+mn-lt"/>
            </a:endParaRPr>
          </a:p>
        </p:txBody>
      </p:sp>
      <p:sp>
        <p:nvSpPr>
          <p:cNvPr id="131" name="テキスト プレースホルダ 9">
            <a:extLst>
              <a:ext uri="{FF2B5EF4-FFF2-40B4-BE49-F238E27FC236}">
                <a16:creationId xmlns:a16="http://schemas.microsoft.com/office/drawing/2014/main" id="{D95E8DEE-8399-4DCC-89DD-46D270C008D5}"/>
              </a:ext>
            </a:extLst>
          </p:cNvPr>
          <p:cNvSpPr>
            <a:spLocks noGrp="1"/>
          </p:cNvSpPr>
          <p:nvPr>
            <p:custDataLst>
              <p:tags r:id="rId9"/>
            </p:custDataLst>
          </p:nvPr>
        </p:nvSpPr>
        <p:spPr bwMode="gray">
          <a:xfrm>
            <a:off x="239713" y="51133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9B75095-BE6C-499B-A435-2F2A084EF9DB}" type="datetime'''''''''''2''''''''''0'''''''">
              <a:rPr lang="en-US" altLang="en-US" sz="1000" smtClean="0"/>
              <a:pPr/>
              <a:t>20</a:t>
            </a:fld>
            <a:endParaRPr lang="ja-JP" altLang="en-US" sz="1000" dirty="0">
              <a:sym typeface="+mn-lt"/>
            </a:endParaRPr>
          </a:p>
        </p:txBody>
      </p:sp>
      <p:sp>
        <p:nvSpPr>
          <p:cNvPr id="135" name="テキスト プレースホルダ 9">
            <a:extLst>
              <a:ext uri="{FF2B5EF4-FFF2-40B4-BE49-F238E27FC236}">
                <a16:creationId xmlns:a16="http://schemas.microsoft.com/office/drawing/2014/main" id="{40D2F4C8-49AF-4E3B-A68D-915E8C31C1A2}"/>
              </a:ext>
            </a:extLst>
          </p:cNvPr>
          <p:cNvSpPr>
            <a:spLocks noGrp="1"/>
          </p:cNvSpPr>
          <p:nvPr>
            <p:custDataLst>
              <p:tags r:id="rId10"/>
            </p:custDataLst>
          </p:nvPr>
        </p:nvSpPr>
        <p:spPr bwMode="gray">
          <a:xfrm>
            <a:off x="239713" y="37369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76F2454-681E-4E79-B831-7C1FCECE15ED}" type="datetime'''''''6''''''''''''''''''''''0'''''''''''''''''''''''''''''">
              <a:rPr lang="en-US" altLang="en-US" sz="1000" smtClean="0"/>
              <a:pPr/>
              <a:t>60</a:t>
            </a:fld>
            <a:endParaRPr lang="ja-JP" altLang="en-US" sz="1000" dirty="0">
              <a:sym typeface="+mn-lt"/>
            </a:endParaRPr>
          </a:p>
        </p:txBody>
      </p:sp>
      <p:sp>
        <p:nvSpPr>
          <p:cNvPr id="134" name="テキスト プレースホルダ 9">
            <a:extLst>
              <a:ext uri="{FF2B5EF4-FFF2-40B4-BE49-F238E27FC236}">
                <a16:creationId xmlns:a16="http://schemas.microsoft.com/office/drawing/2014/main" id="{E820DA18-9718-410D-8B81-ED619C1264FC}"/>
              </a:ext>
            </a:extLst>
          </p:cNvPr>
          <p:cNvSpPr>
            <a:spLocks noGrp="1"/>
          </p:cNvSpPr>
          <p:nvPr>
            <p:custDataLst>
              <p:tags r:id="rId11"/>
            </p:custDataLst>
          </p:nvPr>
        </p:nvSpPr>
        <p:spPr bwMode="gray">
          <a:xfrm>
            <a:off x="239713" y="40814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10DB63B-456D-4C0D-BD7A-51762412D77A}" type="datetime'''''''''''''''5''''0'''''''''''''''''''''''''''">
              <a:rPr lang="en-US" altLang="en-US" sz="1000" smtClean="0"/>
              <a:pPr/>
              <a:t>50</a:t>
            </a:fld>
            <a:endParaRPr lang="ja-JP" altLang="en-US" sz="1000" dirty="0">
              <a:sym typeface="+mn-lt"/>
            </a:endParaRPr>
          </a:p>
        </p:txBody>
      </p:sp>
      <p:sp>
        <p:nvSpPr>
          <p:cNvPr id="132" name="テキスト プレースホルダ 9">
            <a:extLst>
              <a:ext uri="{FF2B5EF4-FFF2-40B4-BE49-F238E27FC236}">
                <a16:creationId xmlns:a16="http://schemas.microsoft.com/office/drawing/2014/main" id="{FE672CDC-55D8-4796-9694-BAE89A0D9132}"/>
              </a:ext>
            </a:extLst>
          </p:cNvPr>
          <p:cNvSpPr>
            <a:spLocks noGrp="1"/>
          </p:cNvSpPr>
          <p:nvPr>
            <p:custDataLst>
              <p:tags r:id="rId12"/>
            </p:custDataLst>
          </p:nvPr>
        </p:nvSpPr>
        <p:spPr bwMode="gray">
          <a:xfrm>
            <a:off x="239713" y="47688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26084C8-1110-4EA3-A6A5-44578042B0BC}" type="datetime'3''''''''''''''''''''''0'''''''''''">
              <a:rPr lang="en-US" altLang="en-US" sz="1000" smtClean="0"/>
              <a:pPr/>
              <a:t>30</a:t>
            </a:fld>
            <a:endParaRPr lang="ja-JP" altLang="en-US" sz="1000" dirty="0">
              <a:sym typeface="+mn-lt"/>
            </a:endParaRPr>
          </a:p>
        </p:txBody>
      </p:sp>
      <p:sp>
        <p:nvSpPr>
          <p:cNvPr id="138" name="テキスト プレースホルダ 9">
            <a:extLst>
              <a:ext uri="{FF2B5EF4-FFF2-40B4-BE49-F238E27FC236}">
                <a16:creationId xmlns:a16="http://schemas.microsoft.com/office/drawing/2014/main" id="{581E845A-16F9-48AD-8413-431D219392CF}"/>
              </a:ext>
            </a:extLst>
          </p:cNvPr>
          <p:cNvSpPr>
            <a:spLocks noGrp="1"/>
          </p:cNvSpPr>
          <p:nvPr>
            <p:custDataLst>
              <p:tags r:id="rId13"/>
            </p:custDataLst>
          </p:nvPr>
        </p:nvSpPr>
        <p:spPr bwMode="gray">
          <a:xfrm>
            <a:off x="239713" y="27051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2E25D04-9D51-4012-B5B1-4165BD30A1F8}" type="datetime'9''''''''''''''''''''''''''''''0'''''''''''''">
              <a:rPr lang="en-US" altLang="en-US" sz="1000" smtClean="0"/>
              <a:pPr/>
              <a:t>90</a:t>
            </a:fld>
            <a:endParaRPr lang="ja-JP" altLang="en-US" sz="1000" dirty="0">
              <a:sym typeface="+mn-lt"/>
            </a:endParaRPr>
          </a:p>
        </p:txBody>
      </p:sp>
      <p:sp>
        <p:nvSpPr>
          <p:cNvPr id="137" name="テキスト プレースホルダ 9">
            <a:extLst>
              <a:ext uri="{FF2B5EF4-FFF2-40B4-BE49-F238E27FC236}">
                <a16:creationId xmlns:a16="http://schemas.microsoft.com/office/drawing/2014/main" id="{75AF00DD-B0AF-4DFB-97A1-1479C601C57C}"/>
              </a:ext>
            </a:extLst>
          </p:cNvPr>
          <p:cNvSpPr>
            <a:spLocks noGrp="1"/>
          </p:cNvSpPr>
          <p:nvPr>
            <p:custDataLst>
              <p:tags r:id="rId14"/>
            </p:custDataLst>
          </p:nvPr>
        </p:nvSpPr>
        <p:spPr bwMode="gray">
          <a:xfrm>
            <a:off x="239713" y="30480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9C64B66-5DE2-4314-81FF-15FCD497BAAA}" type="datetime'''''''''''''''''''''''''''8''''''''''''''''''''''''''''''0'">
              <a:rPr lang="en-US" altLang="en-US" sz="1000" smtClean="0"/>
              <a:pPr/>
              <a:t>80</a:t>
            </a:fld>
            <a:endParaRPr lang="ja-JP" altLang="en-US" sz="1000" dirty="0">
              <a:sym typeface="+mn-lt"/>
            </a:endParaRPr>
          </a:p>
        </p:txBody>
      </p:sp>
      <p:sp>
        <p:nvSpPr>
          <p:cNvPr id="20" name="テキスト プレースホルダ 9"/>
          <p:cNvSpPr>
            <a:spLocks noGrp="1"/>
          </p:cNvSpPr>
          <p:nvPr>
            <p:custDataLst>
              <p:tags r:id="rId15"/>
            </p:custDataLst>
          </p:nvPr>
        </p:nvSpPr>
        <p:spPr bwMode="auto">
          <a:xfrm>
            <a:off x="54213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3677EE7-682B-401C-A56A-9EF5A76A65DC}" type="datetime'''''''''''2''''1'''''''''''''''''''''''''''">
              <a:rPr lang="en-US" altLang="en-US" sz="1000" smtClean="0"/>
              <a:pPr/>
              <a:t>21</a:t>
            </a:fld>
            <a:endParaRPr kumimoji="0" lang="ja-JP" altLang="en-US" sz="1000" dirty="0">
              <a:sym typeface="+mn-lt"/>
            </a:endParaRPr>
          </a:p>
        </p:txBody>
      </p:sp>
      <p:sp>
        <p:nvSpPr>
          <p:cNvPr id="127" name="テキスト プレースホルダ 9">
            <a:extLst>
              <a:ext uri="{FF2B5EF4-FFF2-40B4-BE49-F238E27FC236}">
                <a16:creationId xmlns:a16="http://schemas.microsoft.com/office/drawing/2014/main" id="{0E063ABF-B820-4888-9B23-C68677369BF3}"/>
              </a:ext>
            </a:extLst>
          </p:cNvPr>
          <p:cNvSpPr>
            <a:spLocks noGrp="1"/>
          </p:cNvSpPr>
          <p:nvPr>
            <p:custDataLst>
              <p:tags r:id="rId16"/>
            </p:custDataLst>
          </p:nvPr>
        </p:nvSpPr>
        <p:spPr bwMode="gray">
          <a:xfrm>
            <a:off x="4035425" y="29511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828212B-F9F9-4692-93E2-E37843650773}" type="datetime'''''''7''''''''''''''''9''''.''9'''''">
              <a:rPr lang="en-US" altLang="en-US" sz="1000" smtClean="0">
                <a:effectLst/>
                <a:sym typeface="+mn-lt"/>
              </a:rPr>
              <a:pPr marL="0" indent="0" algn="ctr">
                <a:spcBef>
                  <a:spcPct val="0"/>
                </a:spcBef>
                <a:buNone/>
              </a:pPr>
              <a:t>79.9</a:t>
            </a:fld>
            <a:endParaRPr lang="ja-JP" altLang="en-US" sz="1000" dirty="0">
              <a:sym typeface="+mn-lt"/>
            </a:endParaRPr>
          </a:p>
        </p:txBody>
      </p:sp>
      <p:sp>
        <p:nvSpPr>
          <p:cNvPr id="24" name="テキスト プレースホルダ 9"/>
          <p:cNvSpPr>
            <a:spLocks noGrp="1"/>
          </p:cNvSpPr>
          <p:nvPr>
            <p:custDataLst>
              <p:tags r:id="rId17"/>
            </p:custDataLst>
          </p:nvPr>
        </p:nvSpPr>
        <p:spPr bwMode="auto">
          <a:xfrm>
            <a:off x="915988"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295F9D0-85A8-48F2-B20B-65188E5B3103}" type="datetime'''''''''''''''''''''2''0''1''7'''''''''''''''''''''''''''''''">
              <a:rPr lang="en-US" altLang="en-US" sz="1000" smtClean="0"/>
              <a:pPr/>
              <a:t>2017</a:t>
            </a:fld>
            <a:endParaRPr kumimoji="0" lang="ja-JP" altLang="en-US" sz="1000" dirty="0">
              <a:sym typeface="+mn-lt"/>
            </a:endParaRPr>
          </a:p>
        </p:txBody>
      </p:sp>
      <p:sp>
        <p:nvSpPr>
          <p:cNvPr id="23" name="テキスト プレースホルダ 9"/>
          <p:cNvSpPr>
            <a:spLocks noGrp="1"/>
          </p:cNvSpPr>
          <p:nvPr>
            <p:custDataLst>
              <p:tags r:id="rId18"/>
            </p:custDataLst>
          </p:nvPr>
        </p:nvSpPr>
        <p:spPr bwMode="auto">
          <a:xfrm>
            <a:off x="20939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FD7E38A-2607-4EDB-9924-514DE9C041FD}" type="datetime'''''''''''''''''''1''''''''''''''''''8'''''''''''''''">
              <a:rPr lang="en-US" altLang="en-US" sz="1000" smtClean="0"/>
              <a:pPr/>
              <a:t>18</a:t>
            </a:fld>
            <a:endParaRPr kumimoji="0" lang="ja-JP" altLang="en-US" sz="1000" dirty="0">
              <a:sym typeface="+mn-lt"/>
            </a:endParaRPr>
          </a:p>
        </p:txBody>
      </p:sp>
      <p:sp>
        <p:nvSpPr>
          <p:cNvPr id="22" name="テキスト プレースホルダ 9"/>
          <p:cNvSpPr>
            <a:spLocks noGrp="1"/>
          </p:cNvSpPr>
          <p:nvPr>
            <p:custDataLst>
              <p:tags r:id="rId19"/>
            </p:custDataLst>
          </p:nvPr>
        </p:nvSpPr>
        <p:spPr bwMode="auto">
          <a:xfrm>
            <a:off x="32035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1877FA2-783C-4AF7-9DC8-74A367E60A52}" type="datetime'''''''''''''''''''''''''''''''''''''''''''19'''''''''''">
              <a:rPr lang="en-US" altLang="en-US" sz="1000" smtClean="0"/>
              <a:pPr/>
              <a:t>19</a:t>
            </a:fld>
            <a:endParaRPr kumimoji="0" lang="ja-JP" altLang="en-US" sz="1000" dirty="0">
              <a:sym typeface="+mn-lt"/>
            </a:endParaRPr>
          </a:p>
        </p:txBody>
      </p:sp>
      <p:sp>
        <p:nvSpPr>
          <p:cNvPr id="21" name="テキスト プレースホルダ 9"/>
          <p:cNvSpPr>
            <a:spLocks noGrp="1"/>
          </p:cNvSpPr>
          <p:nvPr>
            <p:custDataLst>
              <p:tags r:id="rId20"/>
            </p:custDataLst>
          </p:nvPr>
        </p:nvSpPr>
        <p:spPr bwMode="auto">
          <a:xfrm>
            <a:off x="43116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B56B073-3A05-4FB7-836A-2E8ED7FD225B}" type="datetime'''''''''''''''''2''''''''''''''0'''">
              <a:rPr lang="en-US" altLang="en-US" sz="1000" smtClean="0"/>
              <a:pPr/>
              <a:t>20</a:t>
            </a:fld>
            <a:endParaRPr kumimoji="0" lang="ja-JP" altLang="en-US" sz="1000" dirty="0">
              <a:sym typeface="+mn-lt"/>
            </a:endParaRPr>
          </a:p>
        </p:txBody>
      </p:sp>
      <p:sp>
        <p:nvSpPr>
          <p:cNvPr id="125" name="テキスト プレースホルダ 9">
            <a:extLst>
              <a:ext uri="{FF2B5EF4-FFF2-40B4-BE49-F238E27FC236}">
                <a16:creationId xmlns:a16="http://schemas.microsoft.com/office/drawing/2014/main" id="{E5ED539B-B5BF-4C4A-B17D-4DB94A1C46B2}"/>
              </a:ext>
            </a:extLst>
          </p:cNvPr>
          <p:cNvSpPr>
            <a:spLocks noGrp="1"/>
          </p:cNvSpPr>
          <p:nvPr>
            <p:custDataLst>
              <p:tags r:id="rId21"/>
            </p:custDataLst>
          </p:nvPr>
        </p:nvSpPr>
        <p:spPr bwMode="gray">
          <a:xfrm>
            <a:off x="708025" y="34702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6DC9813-5C6A-4773-8C60-EA7B477FDEE9}" type="datetime'''''''''''''''''''''''''''6''''''''''''4.''''''8'''">
              <a:rPr lang="en-US" altLang="en-US" sz="1000" smtClean="0">
                <a:effectLst/>
                <a:sym typeface="+mn-lt"/>
              </a:rPr>
              <a:pPr marL="0" indent="0" algn="ctr">
                <a:spcBef>
                  <a:spcPct val="0"/>
                </a:spcBef>
                <a:buNone/>
              </a:pPr>
              <a:t>64.8</a:t>
            </a:fld>
            <a:endParaRPr lang="ja-JP" altLang="en-US" sz="1000" dirty="0">
              <a:sym typeface="+mn-lt"/>
            </a:endParaRPr>
          </a:p>
        </p:txBody>
      </p:sp>
      <p:sp>
        <p:nvSpPr>
          <p:cNvPr id="97" name="テキスト プレースホルダ 9">
            <a:extLst>
              <a:ext uri="{FF2B5EF4-FFF2-40B4-BE49-F238E27FC236}">
                <a16:creationId xmlns:a16="http://schemas.microsoft.com/office/drawing/2014/main" id="{3EC2D609-3E62-4735-B33A-A3B4A4282564}"/>
              </a:ext>
            </a:extLst>
          </p:cNvPr>
          <p:cNvSpPr>
            <a:spLocks noGrp="1"/>
          </p:cNvSpPr>
          <p:nvPr>
            <p:custDataLst>
              <p:tags r:id="rId22"/>
            </p:custDataLst>
          </p:nvPr>
        </p:nvSpPr>
        <p:spPr bwMode="gray">
          <a:xfrm>
            <a:off x="1135063" y="4491038"/>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FB73E8D-063F-4427-AC45-4C66CFC8EA94}" type="datetime'''''3''''''''''''''''''5''''''''''''.''''''1'''''''''''''''''">
              <a:rPr lang="en-US" altLang="en-US" sz="1000" smtClean="0">
                <a:effectLst/>
              </a:rPr>
              <a:pPr/>
              <a:t>35.1</a:t>
            </a:fld>
            <a:endParaRPr lang="ja-JP" altLang="en-US" sz="1000" dirty="0">
              <a:sym typeface="+mn-lt"/>
            </a:endParaRPr>
          </a:p>
        </p:txBody>
      </p:sp>
      <p:sp>
        <p:nvSpPr>
          <p:cNvPr id="122" name="テキスト プレースホルダ 9">
            <a:extLst>
              <a:ext uri="{FF2B5EF4-FFF2-40B4-BE49-F238E27FC236}">
                <a16:creationId xmlns:a16="http://schemas.microsoft.com/office/drawing/2014/main" id="{248072E0-EF66-44A7-9DE6-977B7BE1B6F1}"/>
              </a:ext>
            </a:extLst>
          </p:cNvPr>
          <p:cNvSpPr>
            <a:spLocks noGrp="1"/>
          </p:cNvSpPr>
          <p:nvPr>
            <p:custDataLst>
              <p:tags r:id="rId23"/>
            </p:custDataLst>
          </p:nvPr>
        </p:nvSpPr>
        <p:spPr bwMode="gray">
          <a:xfrm>
            <a:off x="1817688" y="331946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6FFD9BF-767A-4B32-943F-2A89D809CEFF}" type="datetime'''''6''''''9''''''''.''''''''''''''''''''''2'''''''''''''''">
              <a:rPr lang="en-US" altLang="en-US" sz="1000" smtClean="0"/>
              <a:pPr/>
              <a:t>69.2</a:t>
            </a:fld>
            <a:endParaRPr lang="ja-JP" altLang="en-US" sz="1000" dirty="0">
              <a:sym typeface="+mn-lt"/>
            </a:endParaRPr>
          </a:p>
        </p:txBody>
      </p:sp>
      <p:sp>
        <p:nvSpPr>
          <p:cNvPr id="98" name="テキスト プレースホルダ 9">
            <a:extLst>
              <a:ext uri="{FF2B5EF4-FFF2-40B4-BE49-F238E27FC236}">
                <a16:creationId xmlns:a16="http://schemas.microsoft.com/office/drawing/2014/main" id="{F13F9342-1D59-4B4C-8A32-C900BDD98021}"/>
              </a:ext>
            </a:extLst>
          </p:cNvPr>
          <p:cNvSpPr>
            <a:spLocks noGrp="1"/>
          </p:cNvSpPr>
          <p:nvPr>
            <p:custDataLst>
              <p:tags r:id="rId24"/>
            </p:custDataLst>
          </p:nvPr>
        </p:nvSpPr>
        <p:spPr bwMode="gray">
          <a:xfrm>
            <a:off x="2244725" y="4402138"/>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CE9803C-D6A0-4B2F-864E-7D4DA88AC895}" type="datetime'''''''''''''''''''3''7''''''.''''''''''''''''''''7'''">
              <a:rPr lang="en-US" altLang="en-US" sz="1000" smtClean="0">
                <a:effectLst/>
              </a:rPr>
              <a:pPr/>
              <a:t>37.7</a:t>
            </a:fld>
            <a:endParaRPr lang="ja-JP" altLang="en-US" sz="1000" dirty="0">
              <a:sym typeface="+mn-lt"/>
            </a:endParaRPr>
          </a:p>
        </p:txBody>
      </p:sp>
      <p:sp>
        <p:nvSpPr>
          <p:cNvPr id="126" name="テキスト プレースホルダ 9">
            <a:extLst>
              <a:ext uri="{FF2B5EF4-FFF2-40B4-BE49-F238E27FC236}">
                <a16:creationId xmlns:a16="http://schemas.microsoft.com/office/drawing/2014/main" id="{9CBCC777-1093-46B2-991C-7808EC6176EA}"/>
              </a:ext>
            </a:extLst>
          </p:cNvPr>
          <p:cNvSpPr>
            <a:spLocks noGrp="1"/>
          </p:cNvSpPr>
          <p:nvPr>
            <p:custDataLst>
              <p:tags r:id="rId25"/>
            </p:custDataLst>
          </p:nvPr>
        </p:nvSpPr>
        <p:spPr bwMode="gray">
          <a:xfrm>
            <a:off x="2925763" y="300990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30EB727-F3E2-4A6A-B806-9BC7E011FEE4}" type="datetime'''7''''''''''''''''''''''8''''''''''''.''''''''''''2'">
              <a:rPr lang="en-US" altLang="en-US" sz="1000" smtClean="0">
                <a:effectLst/>
                <a:sym typeface="+mn-lt"/>
              </a:rPr>
              <a:pPr marL="0" indent="0" algn="ctr">
                <a:spcBef>
                  <a:spcPct val="0"/>
                </a:spcBef>
                <a:buNone/>
              </a:pPr>
              <a:t>78.2</a:t>
            </a:fld>
            <a:endParaRPr lang="ja-JP" altLang="en-US" sz="1000" dirty="0">
              <a:sym typeface="+mn-lt"/>
            </a:endParaRPr>
          </a:p>
        </p:txBody>
      </p:sp>
      <p:sp>
        <p:nvSpPr>
          <p:cNvPr id="99" name="テキスト プレースホルダ 9">
            <a:extLst>
              <a:ext uri="{FF2B5EF4-FFF2-40B4-BE49-F238E27FC236}">
                <a16:creationId xmlns:a16="http://schemas.microsoft.com/office/drawing/2014/main" id="{B7239DC4-D524-4130-852F-923100B2A94C}"/>
              </a:ext>
            </a:extLst>
          </p:cNvPr>
          <p:cNvSpPr>
            <a:spLocks noGrp="1"/>
          </p:cNvSpPr>
          <p:nvPr>
            <p:custDataLst>
              <p:tags r:id="rId26"/>
            </p:custDataLst>
          </p:nvPr>
        </p:nvSpPr>
        <p:spPr bwMode="gray">
          <a:xfrm>
            <a:off x="3352800" y="4349750"/>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4A2C34-03B4-4F1B-AFD8-6DAE6DAC7A77}" type="datetime'''''''''''''''''''''3''''''''9.''2'''''''">
              <a:rPr lang="en-US" altLang="en-US" sz="1000" smtClean="0">
                <a:effectLst/>
              </a:rPr>
              <a:pPr/>
              <a:t>39.2</a:t>
            </a:fld>
            <a:endParaRPr lang="ja-JP" altLang="en-US" sz="1000" dirty="0">
              <a:sym typeface="+mn-lt"/>
            </a:endParaRPr>
          </a:p>
        </p:txBody>
      </p:sp>
      <p:sp>
        <p:nvSpPr>
          <p:cNvPr id="100" name="テキスト プレースホルダ 9">
            <a:extLst>
              <a:ext uri="{FF2B5EF4-FFF2-40B4-BE49-F238E27FC236}">
                <a16:creationId xmlns:a16="http://schemas.microsoft.com/office/drawing/2014/main" id="{DB2728AA-4823-4DB2-9925-40BF1C9C2FA8}"/>
              </a:ext>
            </a:extLst>
          </p:cNvPr>
          <p:cNvSpPr>
            <a:spLocks noGrp="1"/>
          </p:cNvSpPr>
          <p:nvPr>
            <p:custDataLst>
              <p:tags r:id="rId27"/>
            </p:custDataLst>
          </p:nvPr>
        </p:nvSpPr>
        <p:spPr bwMode="gray">
          <a:xfrm>
            <a:off x="4462463" y="4302125"/>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A421575-BE5F-4086-9B63-D39B91427BB7}" type="datetime'4''''''''''''0''''''''''''''''''''.''''''''''6'''''">
              <a:rPr lang="en-US" altLang="en-US" sz="1000" smtClean="0">
                <a:effectLst/>
              </a:rPr>
              <a:pPr/>
              <a:t>40.6</a:t>
            </a:fld>
            <a:endParaRPr lang="ja-JP" altLang="en-US" sz="1000" dirty="0">
              <a:sym typeface="+mn-lt"/>
            </a:endParaRPr>
          </a:p>
        </p:txBody>
      </p:sp>
      <p:sp>
        <p:nvSpPr>
          <p:cNvPr id="128" name="テキスト プレースホルダ 9">
            <a:extLst>
              <a:ext uri="{FF2B5EF4-FFF2-40B4-BE49-F238E27FC236}">
                <a16:creationId xmlns:a16="http://schemas.microsoft.com/office/drawing/2014/main" id="{E37110CC-5D80-4A31-B9B4-7F7C5EF0F79C}"/>
              </a:ext>
            </a:extLst>
          </p:cNvPr>
          <p:cNvSpPr>
            <a:spLocks noGrp="1"/>
          </p:cNvSpPr>
          <p:nvPr>
            <p:custDataLst>
              <p:tags r:id="rId28"/>
            </p:custDataLst>
          </p:nvPr>
        </p:nvSpPr>
        <p:spPr bwMode="gray">
          <a:xfrm>
            <a:off x="5143500" y="28606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2173029-72B2-471B-8371-511F58A2E37E}" type="datetime'8''''''''''2''''''''.''''''''''''''''''''''''''''''''5'''''">
              <a:rPr lang="en-US" altLang="en-US" sz="1000" smtClean="0">
                <a:effectLst/>
                <a:sym typeface="+mn-lt"/>
              </a:rPr>
              <a:pPr marL="0" indent="0" algn="ctr">
                <a:spcBef>
                  <a:spcPct val="0"/>
                </a:spcBef>
                <a:buNone/>
              </a:pPr>
              <a:t>82.5</a:t>
            </a:fld>
            <a:endParaRPr lang="ja-JP" altLang="en-US" sz="1000" dirty="0">
              <a:sym typeface="+mn-lt"/>
            </a:endParaRPr>
          </a:p>
        </p:txBody>
      </p:sp>
      <p:sp>
        <p:nvSpPr>
          <p:cNvPr id="108" name="テキスト プレースホルダ 9">
            <a:extLst>
              <a:ext uri="{FF2B5EF4-FFF2-40B4-BE49-F238E27FC236}">
                <a16:creationId xmlns:a16="http://schemas.microsoft.com/office/drawing/2014/main" id="{B03750D2-FBFF-43C1-9442-0F66B2AE82EF}"/>
              </a:ext>
            </a:extLst>
          </p:cNvPr>
          <p:cNvSpPr>
            <a:spLocks noGrp="1"/>
          </p:cNvSpPr>
          <p:nvPr>
            <p:custDataLst>
              <p:tags r:id="rId29"/>
            </p:custDataLst>
          </p:nvPr>
        </p:nvSpPr>
        <p:spPr bwMode="gray">
          <a:xfrm>
            <a:off x="5570538" y="4289425"/>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03A97E5-DA94-4609-915F-D3E30E2768C6}" type="datetime'''4''''''1''''''.''''''''''''0'''''''''''''''''''''''''''">
              <a:rPr lang="en-US" altLang="en-US" sz="1000" smtClean="0">
                <a:effectLst/>
              </a:rPr>
              <a:pPr/>
              <a:t>41.0</a:t>
            </a:fld>
            <a:endParaRPr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輸出入額</a:t>
            </a:r>
          </a:p>
        </p:txBody>
      </p:sp>
      <p:sp>
        <p:nvSpPr>
          <p:cNvPr id="10" name="テキスト ボックス 9"/>
          <p:cNvSpPr txBox="1"/>
          <p:nvPr/>
        </p:nvSpPr>
        <p:spPr>
          <a:xfrm>
            <a:off x="380552" y="2483001"/>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19</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122961"/>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73" name="Chart 72">
            <a:extLst>
              <a:ext uri="{FF2B5EF4-FFF2-40B4-BE49-F238E27FC236}">
                <a16:creationId xmlns:a16="http://schemas.microsoft.com/office/drawing/2014/main" id="{2CD398E2-F6F6-4C7D-8DBE-4B15AB847852}"/>
              </a:ext>
            </a:extLst>
          </p:cNvPr>
          <p:cNvGraphicFramePr/>
          <p:nvPr>
            <p:custDataLst>
              <p:tags r:id="rId30"/>
            </p:custDataLst>
          </p:nvPr>
        </p:nvGraphicFramePr>
        <p:xfrm>
          <a:off x="7008813" y="3325813"/>
          <a:ext cx="2498725" cy="2498725"/>
        </p:xfrm>
        <a:graphic>
          <a:graphicData uri="http://schemas.openxmlformats.org/drawingml/2006/chart">
            <c:chart xmlns:c="http://schemas.openxmlformats.org/drawingml/2006/chart" xmlns:r="http://schemas.openxmlformats.org/officeDocument/2006/relationships" r:id="rId46"/>
          </a:graphicData>
        </a:graphic>
      </p:graphicFrame>
      <p:sp>
        <p:nvSpPr>
          <p:cNvPr id="33" name="テキスト プレースホルダ 9"/>
          <p:cNvSpPr>
            <a:spLocks noGrp="1"/>
          </p:cNvSpPr>
          <p:nvPr>
            <p:custDataLst>
              <p:tags r:id="rId31"/>
            </p:custDataLst>
          </p:nvPr>
        </p:nvSpPr>
        <p:spPr bwMode="auto">
          <a:xfrm>
            <a:off x="9215438" y="3694113"/>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4AEEAE8-508A-4ED3-B934-12048CB8E53A}" type="datetime'''ア''メ''''''''''''''''''''''''''''''''''リ''''''カ'''''''''''">
              <a:rPr lang="ja-JP" altLang="en-US" sz="1000" smtClean="0"/>
              <a:pPr/>
              <a:t>アメリカ</a:t>
            </a:fld>
            <a:endParaRPr kumimoji="0" lang="ja-JP" altLang="en-US" sz="1000" dirty="0">
              <a:sym typeface="+mn-lt"/>
            </a:endParaRPr>
          </a:p>
        </p:txBody>
      </p:sp>
      <p:sp>
        <p:nvSpPr>
          <p:cNvPr id="34" name="テキスト プレースホルダ 9"/>
          <p:cNvSpPr>
            <a:spLocks noGrp="1"/>
          </p:cNvSpPr>
          <p:nvPr>
            <p:custDataLst>
              <p:tags r:id="rId32"/>
            </p:custDataLst>
          </p:nvPr>
        </p:nvSpPr>
        <p:spPr bwMode="auto">
          <a:xfrm>
            <a:off x="9223375" y="5294313"/>
            <a:ext cx="4302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F8BF7E8-5BF1-40BE-9DFB-2B379814DD9A}" type="datetime'''''''''メ''''キ''''''''''シ''''コ'''''''''''''''''''''''''">
              <a:rPr lang="ja-JP" altLang="en-US" sz="1000" smtClean="0"/>
              <a:pPr/>
              <a:t>メキシコ</a:t>
            </a:fld>
            <a:endParaRPr kumimoji="0" lang="ja-JP" altLang="en-US" sz="1000" dirty="0">
              <a:sym typeface="+mn-lt"/>
            </a:endParaRPr>
          </a:p>
        </p:txBody>
      </p:sp>
      <p:sp>
        <p:nvSpPr>
          <p:cNvPr id="35" name="テキスト プレースホルダ 9"/>
          <p:cNvSpPr>
            <a:spLocks noGrp="1"/>
          </p:cNvSpPr>
          <p:nvPr>
            <p:custDataLst>
              <p:tags r:id="rId33"/>
            </p:custDataLst>
          </p:nvPr>
        </p:nvSpPr>
        <p:spPr bwMode="auto">
          <a:xfrm>
            <a:off x="8396287" y="5764213"/>
            <a:ext cx="5730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6606A9E-E825-4EEA-920C-FE8C9950BA41}" type="datetime'''''マ''''''レ''ー''''''''シ''ア'''''''''''''''''''">
              <a:rPr lang="ja-JP" altLang="en-US" sz="1000" smtClean="0"/>
              <a:pPr/>
              <a:t>マレーシア</a:t>
            </a:fld>
            <a:endParaRPr kumimoji="0" lang="ja-JP" altLang="en-US" sz="1000" dirty="0">
              <a:sym typeface="+mn-lt"/>
            </a:endParaRPr>
          </a:p>
        </p:txBody>
      </p:sp>
      <p:sp>
        <p:nvSpPr>
          <p:cNvPr id="39" name="テキスト プレースホルダ 9"/>
          <p:cNvSpPr>
            <a:spLocks noGrp="1"/>
          </p:cNvSpPr>
          <p:nvPr>
            <p:custDataLst>
              <p:tags r:id="rId34"/>
            </p:custDataLst>
          </p:nvPr>
        </p:nvSpPr>
        <p:spPr bwMode="auto">
          <a:xfrm>
            <a:off x="7112000" y="538003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1910F3E-A371-4FFF-988F-5E069DA594D1}" type="datetime'''日''''''''''''本'''''''''''''''">
              <a:rPr lang="ja-JP" altLang="en-US" sz="1000" smtClean="0"/>
              <a:pPr/>
              <a:t>日本</a:t>
            </a:fld>
            <a:endParaRPr kumimoji="0" lang="ja-JP" altLang="en-US" sz="1000" dirty="0">
              <a:sym typeface="+mn-lt"/>
            </a:endParaRPr>
          </a:p>
        </p:txBody>
      </p:sp>
      <p:sp>
        <p:nvSpPr>
          <p:cNvPr id="37" name="テキスト プレースホルダ 9"/>
          <p:cNvSpPr>
            <a:spLocks noGrp="1"/>
          </p:cNvSpPr>
          <p:nvPr>
            <p:custDataLst>
              <p:tags r:id="rId35"/>
            </p:custDataLst>
          </p:nvPr>
        </p:nvSpPr>
        <p:spPr bwMode="auto">
          <a:xfrm>
            <a:off x="7572375" y="56911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60F9D69-7950-4E51-9B4F-D125271D9157}" type="datetime'''中''''''''''''''''国'''''''''''''''''''''''''''''">
              <a:rPr lang="ja-JP" altLang="en-US" sz="1000" smtClean="0"/>
              <a:pPr/>
              <a:t>中国</a:t>
            </a:fld>
            <a:endParaRPr kumimoji="0" lang="ja-JP" altLang="en-US" sz="1000" dirty="0">
              <a:sym typeface="+mn-lt"/>
            </a:endParaRPr>
          </a:p>
        </p:txBody>
      </p:sp>
      <p:sp>
        <p:nvSpPr>
          <p:cNvPr id="51" name="テキスト プレースホルダ 9"/>
          <p:cNvSpPr>
            <a:spLocks noGrp="1"/>
          </p:cNvSpPr>
          <p:nvPr>
            <p:custDataLst>
              <p:tags r:id="rId36"/>
            </p:custDataLst>
          </p:nvPr>
        </p:nvSpPr>
        <p:spPr bwMode="auto">
          <a:xfrm>
            <a:off x="6805613" y="4964113"/>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26292F9-D068-4DF8-9724-E470AB5D74BB}" type="datetime'''''''''''ド''''''''''''''''''''イ''''''''''''ツ'">
              <a:rPr lang="ja-JP" altLang="en-US" sz="1000" smtClean="0"/>
              <a:pPr/>
              <a:t>ドイツ</a:t>
            </a:fld>
            <a:endParaRPr kumimoji="0" lang="ja-JP" altLang="en-US" sz="1000" dirty="0">
              <a:sym typeface="+mn-lt"/>
            </a:endParaRPr>
          </a:p>
        </p:txBody>
      </p:sp>
      <p:sp>
        <p:nvSpPr>
          <p:cNvPr id="56" name="テキスト プレースホルダ 9">
            <a:extLst>
              <a:ext uri="{FF2B5EF4-FFF2-40B4-BE49-F238E27FC236}">
                <a16:creationId xmlns:a16="http://schemas.microsoft.com/office/drawing/2014/main" id="{B499A391-A6A6-41AF-9ECF-B25936281A7C}"/>
              </a:ext>
            </a:extLst>
          </p:cNvPr>
          <p:cNvSpPr>
            <a:spLocks noGrp="1"/>
          </p:cNvSpPr>
          <p:nvPr>
            <p:custDataLst>
              <p:tags r:id="rId37"/>
            </p:custDataLst>
          </p:nvPr>
        </p:nvSpPr>
        <p:spPr bwMode="auto">
          <a:xfrm>
            <a:off x="6953250" y="3663950"/>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9C7FDF8-6EDA-4732-BBEE-23DBCBD3044E}" type="datetime'''''''''そ''''の''''''''''''''''''''他'''''''''">
              <a:rPr kumimoji="0" lang="ja-JP" altLang="en-US" sz="1000" smtClean="0"/>
              <a:pPr/>
              <a:t>その他</a:t>
            </a:fld>
            <a:endParaRPr kumimoji="0" lang="ja-JP" altLang="en-US" sz="1000" dirty="0">
              <a:sym typeface="+mn-lt"/>
            </a:endParaRPr>
          </a:p>
        </p:txBody>
      </p:sp>
      <p:sp>
        <p:nvSpPr>
          <p:cNvPr id="19" name="Rectangle 18"/>
          <p:cNvSpPr/>
          <p:nvPr>
            <p:custDataLst>
              <p:tags r:id="rId38"/>
            </p:custDataLst>
          </p:nvPr>
        </p:nvSpPr>
        <p:spPr bwMode="gray">
          <a:xfrm>
            <a:off x="1236663" y="6221413"/>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Rectangle 24"/>
          <p:cNvSpPr/>
          <p:nvPr>
            <p:custDataLst>
              <p:tags r:id="rId39"/>
            </p:custDataLst>
          </p:nvPr>
        </p:nvSpPr>
        <p:spPr bwMode="gray">
          <a:xfrm>
            <a:off x="1822450" y="6221413"/>
            <a:ext cx="179388" cy="133350"/>
          </a:xfrm>
          <a:prstGeom prst="rect">
            <a:avLst/>
          </a:prstGeom>
          <a:solidFill>
            <a:srgbClr val="C0E6F4"/>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テキスト プレースホルダ 9"/>
          <p:cNvSpPr>
            <a:spLocks noGrp="1"/>
          </p:cNvSpPr>
          <p:nvPr>
            <p:custDataLst>
              <p:tags r:id="rId40"/>
            </p:custDataLst>
          </p:nvPr>
        </p:nvSpPr>
        <p:spPr bwMode="auto">
          <a:xfrm>
            <a:off x="2052638"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63" name="テキスト プレースホルダ 9"/>
          <p:cNvSpPr>
            <a:spLocks noGrp="1"/>
          </p:cNvSpPr>
          <p:nvPr>
            <p:custDataLst>
              <p:tags r:id="rId41"/>
            </p:custDataLst>
          </p:nvPr>
        </p:nvSpPr>
        <p:spPr bwMode="auto">
          <a:xfrm>
            <a:off x="1466850"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47" name="テキスト ボックス 44"/>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出が輸入の２倍程度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は、主な輸入相手国は、アメリカ、メキシコ、マレーシアとなっており、日本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4" name="テキスト ボックス 21">
            <a:extLst>
              <a:ext uri="{FF2B5EF4-FFF2-40B4-BE49-F238E27FC236}">
                <a16:creationId xmlns:a16="http://schemas.microsoft.com/office/drawing/2014/main" id="{1798BFA9-EFEF-4A9C-8A55-742E9D7A0319}"/>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endParaRPr lang="ja-JP" altLang="en-US" dirty="0"/>
          </a:p>
        </p:txBody>
      </p:sp>
    </p:spTree>
    <p:extLst>
      <p:ext uri="{BB962C8B-B14F-4D97-AF65-F5344CB8AC3E}">
        <p14:creationId xmlns:p14="http://schemas.microsoft.com/office/powerpoint/2010/main" val="357707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 name="think-cell Slide" r:id="rId4" imgW="395" imgH="396" progId="TCLayout.ActiveDocument.1">
                  <p:embed/>
                </p:oleObj>
              </mc:Choice>
              <mc:Fallback>
                <p:oleObj name="think-cell Slide"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1/3)</a:t>
            </a:r>
            <a:endParaRPr lang="ja-JP" altLang="en-US" dirty="0"/>
          </a:p>
        </p:txBody>
      </p:sp>
      <p:graphicFrame>
        <p:nvGraphicFramePr>
          <p:cNvPr id="5" name="表 4"/>
          <p:cNvGraphicFramePr>
            <a:graphicFrameLocks noGrp="1"/>
          </p:cNvGraphicFramePr>
          <p:nvPr/>
        </p:nvGraphicFramePr>
        <p:xfrm>
          <a:off x="213190" y="2377245"/>
          <a:ext cx="9577245" cy="4076091"/>
        </p:xfrm>
        <a:graphic>
          <a:graphicData uri="http://schemas.openxmlformats.org/drawingml/2006/table">
            <a:tbl>
              <a:tblPr firstRow="1" bandRow="1">
                <a:tableStyleId>{5C22544A-7EE6-4342-B048-85BDC9FD1C3A}</a:tableStyleId>
              </a:tblPr>
              <a:tblGrid>
                <a:gridCol w="1600877">
                  <a:extLst>
                    <a:ext uri="{9D8B030D-6E8A-4147-A177-3AD203B41FA5}">
                      <a16:colId xmlns:a16="http://schemas.microsoft.com/office/drawing/2014/main" val="20000"/>
                    </a:ext>
                  </a:extLst>
                </a:gridCol>
                <a:gridCol w="1389713">
                  <a:extLst>
                    <a:ext uri="{9D8B030D-6E8A-4147-A177-3AD203B41FA5}">
                      <a16:colId xmlns:a16="http://schemas.microsoft.com/office/drawing/2014/main" val="20001"/>
                    </a:ext>
                  </a:extLst>
                </a:gridCol>
                <a:gridCol w="1402080">
                  <a:extLst>
                    <a:ext uri="{9D8B030D-6E8A-4147-A177-3AD203B41FA5}">
                      <a16:colId xmlns:a16="http://schemas.microsoft.com/office/drawing/2014/main" val="3661723914"/>
                    </a:ext>
                  </a:extLst>
                </a:gridCol>
                <a:gridCol w="1368152">
                  <a:extLst>
                    <a:ext uri="{9D8B030D-6E8A-4147-A177-3AD203B41FA5}">
                      <a16:colId xmlns:a16="http://schemas.microsoft.com/office/drawing/2014/main" val="3386509722"/>
                    </a:ext>
                  </a:extLst>
                </a:gridCol>
                <a:gridCol w="3816423">
                  <a:extLst>
                    <a:ext uri="{9D8B030D-6E8A-4147-A177-3AD203B41FA5}">
                      <a16:colId xmlns:a16="http://schemas.microsoft.com/office/drawing/2014/main" val="20003"/>
                    </a:ext>
                  </a:extLst>
                </a:gridCol>
              </a:tblGrid>
              <a:tr h="504919">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シンガポール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7118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dirty="0">
                          <a:solidFill>
                            <a:schemeClr val="tx1"/>
                          </a:solidFill>
                          <a:latin typeface="Arial" panose="020B0604020202020204" pitchFamily="34" charset="0"/>
                          <a:ea typeface="HGP創英角ｺﾞｼｯｸUB" pitchFamily="50" charset="-128"/>
                          <a:cs typeface="Arial" panose="020B0604020202020204" pitchFamily="34" charset="0"/>
                        </a:rPr>
                        <a:t>Medtronic</a:t>
                      </a:r>
                      <a:endParaRPr kumimoji="1" lang="ja-JP" altLang="en-US" sz="11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系</a:t>
                      </a:r>
                      <a:r>
                        <a:rPr kumimoji="1" lang="en-US" altLang="zh-TW"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ペースメーカー等</a:t>
                      </a:r>
                      <a:r>
                        <a:rPr kumimoji="1" lang="en-US" altLang="zh-TW"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糖尿病</a:t>
                      </a:r>
                      <a:r>
                        <a:rPr kumimoji="1" lang="en-US" altLang="zh-TW"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スリンポンプ等</a:t>
                      </a:r>
                      <a:r>
                        <a:rPr kumimoji="1" lang="en-US" altLang="zh-TW"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シンガポールに製造部門であるメドトロニック・シンガポール・オペレーションズ（</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SO</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開設し、アジア地域の本社及び流通拠点として機能。</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52320">
                <a:tc>
                  <a:txBody>
                    <a:bodyPr/>
                    <a:lstStyle/>
                    <a:p>
                      <a:pPr algn="ctr" fontAlgn="ctr"/>
                      <a:r>
                        <a:rPr kumimoji="1" lang="en-US" altLang="ja-JP" sz="1100" b="1" dirty="0">
                          <a:solidFill>
                            <a:schemeClr val="tx1"/>
                          </a:solidFill>
                          <a:latin typeface="Arial" panose="020B0604020202020204" pitchFamily="34" charset="0"/>
                          <a:ea typeface="HGP創英角ｺﾞｼｯｸUB" pitchFamily="50" charset="-128"/>
                          <a:cs typeface="Arial" panose="020B0604020202020204" pitchFamily="34" charset="0"/>
                        </a:rPr>
                        <a:t>Johnson &amp; Johnson</a:t>
                      </a:r>
                      <a:endParaRPr kumimoji="1" lang="ja-JP" altLang="en-US" sz="11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整形外科、</a:t>
                      </a: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手術</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器具、</a:t>
                      </a: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眼科用医療機器</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00</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設立されたシンガポールオフィスは、アジア太平洋地域における拠点として機能。</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オフィスは「</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Leadership Lab</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Design Lab</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Johnson &amp; Johnson Human Performance Institute</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つの新しい主要施設を包含する複合施設となっており、アジア太平洋地域における革新的な働き方を促進し、政府機関、医療機関、学術機関を含むヘルスケアエコシステム全体のパートナーとの連携を深めることを目的</a:t>
                      </a:r>
                      <a:r>
                        <a:rPr kumimoji="1" lang="ja-JP" altLang="en-US"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としている。</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22536">
                <a:tc>
                  <a:txBody>
                    <a:bodyPr/>
                    <a:lstStyle/>
                    <a:p>
                      <a:pPr algn="ctr" fontAlgn="ctr"/>
                      <a:r>
                        <a:rPr kumimoji="1" lang="en-US" altLang="ja-JP" sz="1100" b="1" dirty="0">
                          <a:solidFill>
                            <a:schemeClr val="tx1"/>
                          </a:solidFill>
                          <a:latin typeface="Arial" panose="020B0604020202020204" pitchFamily="34" charset="0"/>
                          <a:ea typeface="HGP創英角ｺﾞｼｯｸUB" pitchFamily="50" charset="-128"/>
                          <a:cs typeface="Arial" panose="020B0604020202020204" pitchFamily="34" charset="0"/>
                        </a:rPr>
                        <a:t>Abbott</a:t>
                      </a:r>
                      <a:endParaRPr kumimoji="1" lang="ja-JP" altLang="en-US" sz="11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系</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テーテル等</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ニューロモデュレーション</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神経調節機器</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00</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ンガポールでは</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70</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からビジネスを展開しており、シンガポールはアジア太平洋地域の物流拠点として機能。</a:t>
                      </a:r>
                      <a:endPar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ンガポール市場に特化したヘルスケアソリューションの開発・現地生産を実施。</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57243">
                <a:tc>
                  <a:txBody>
                    <a:bodyPr/>
                    <a:lstStyle/>
                    <a:p>
                      <a:pPr algn="ctr" fontAlgn="ctr"/>
                      <a:r>
                        <a:rPr kumimoji="1" lang="en-US" altLang="ja-JP" sz="1100" b="1" dirty="0">
                          <a:solidFill>
                            <a:schemeClr val="tx1"/>
                          </a:solidFill>
                          <a:latin typeface="Arial" panose="020B0604020202020204" pitchFamily="34" charset="0"/>
                          <a:cs typeface="Arial" panose="020B0604020202020204" pitchFamily="34" charset="0"/>
                        </a:rPr>
                        <a:t>Siemens Healthcare</a:t>
                      </a:r>
                      <a:endParaRPr kumimoji="1" lang="ja-JP" altLang="en-US" sz="11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画像診断、</a:t>
                      </a: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体外診断用医療機</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00</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emens Group</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全体</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ンガポールには、株式投資を通じてグループビジネス</a:t>
                      </a:r>
                      <a:r>
                        <a:rPr kumimoji="1" lang="ja-JP" altLang="en-US"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としている</a:t>
                      </a:r>
                      <a:r>
                        <a:rPr kumimoji="1" lang="en-US" altLang="ja-JP" sz="8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Siemens </a:t>
                      </a:r>
                      <a:r>
                        <a:rPr kumimoji="1" lang="en-US" altLang="ja-JP" sz="800" b="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Healthineers</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存在。</a:t>
                      </a:r>
                      <a:endPar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emens </a:t>
                      </a:r>
                      <a:r>
                        <a:rPr kumimoji="1" lang="en-US" altLang="ja-JP" sz="800" b="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Healtineers</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画像診断・治療、臨床検査、分子医学、デジタルヘルス、エンタープライズサービスなどの分野で革新的な技術とサービスを提供。</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536296">
                <a:tc>
                  <a:txBody>
                    <a:bodyPr/>
                    <a:lstStyle/>
                    <a:p>
                      <a:pPr algn="ctr" fontAlgn="ctr"/>
                      <a:r>
                        <a:rPr kumimoji="1" lang="en-US" altLang="ja-JP" sz="1100" b="1" dirty="0">
                          <a:solidFill>
                            <a:schemeClr val="tx1"/>
                          </a:solidFill>
                          <a:latin typeface="Arial" panose="020B0604020202020204" pitchFamily="34" charset="0"/>
                          <a:cs typeface="Arial" panose="020B0604020202020204" pitchFamily="34" charset="0"/>
                        </a:rPr>
                        <a:t>BD</a:t>
                      </a:r>
                      <a:endParaRPr kumimoji="1" lang="ja-JP" altLang="en-US" sz="11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手術</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器具</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針・注射器等</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診断機器、細胞画像化システム</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50 +</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ンガポールはアジアの地域本部として、製造のオペレーション・販売・</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amp;D</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拠点として機能。</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テーテルや針、注射器等の</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製品はシンガポールで生産され、世界へ輸出され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56456" y="6596101"/>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ウェブサイ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S Medical Devices (3/10/20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記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
        <p:nvSpPr>
          <p:cNvPr id="12" name="Rectangle 6"/>
          <p:cNvSpPr>
            <a:spLocks noChangeArrowheads="1"/>
          </p:cNvSpPr>
          <p:nvPr/>
        </p:nvSpPr>
        <p:spPr bwMode="auto">
          <a:xfrm>
            <a:off x="344488" y="2014241"/>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欧米系外資メーカーの現況</a:t>
            </a:r>
          </a:p>
        </p:txBody>
      </p:sp>
      <p:sp>
        <p:nvSpPr>
          <p:cNvPr id="8" name="Circle: Hollow 7">
            <a:extLst>
              <a:ext uri="{FF2B5EF4-FFF2-40B4-BE49-F238E27FC236}">
                <a16:creationId xmlns:a16="http://schemas.microsoft.com/office/drawing/2014/main" id="{9E941A32-658C-4D8F-A5A0-D965C724BEF2}"/>
              </a:ext>
            </a:extLst>
          </p:cNvPr>
          <p:cNvSpPr/>
          <p:nvPr/>
        </p:nvSpPr>
        <p:spPr>
          <a:xfrm>
            <a:off x="3736000" y="3067271"/>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1" name="Circle: Hollow 10">
            <a:extLst>
              <a:ext uri="{FF2B5EF4-FFF2-40B4-BE49-F238E27FC236}">
                <a16:creationId xmlns:a16="http://schemas.microsoft.com/office/drawing/2014/main" id="{41E106B7-5D8C-4E28-BD92-6BD82E2D21D2}"/>
              </a:ext>
            </a:extLst>
          </p:cNvPr>
          <p:cNvSpPr/>
          <p:nvPr/>
        </p:nvSpPr>
        <p:spPr>
          <a:xfrm>
            <a:off x="3728864" y="3921116"/>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3" name="Circle: Hollow 12">
            <a:extLst>
              <a:ext uri="{FF2B5EF4-FFF2-40B4-BE49-F238E27FC236}">
                <a16:creationId xmlns:a16="http://schemas.microsoft.com/office/drawing/2014/main" id="{2D5CFC9C-937E-4886-974C-7AF1BA18AC2C}"/>
              </a:ext>
            </a:extLst>
          </p:cNvPr>
          <p:cNvSpPr/>
          <p:nvPr/>
        </p:nvSpPr>
        <p:spPr>
          <a:xfrm>
            <a:off x="3736000" y="4689489"/>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4" name="Circle: Hollow 13">
            <a:extLst>
              <a:ext uri="{FF2B5EF4-FFF2-40B4-BE49-F238E27FC236}">
                <a16:creationId xmlns:a16="http://schemas.microsoft.com/office/drawing/2014/main" id="{E9ACE2F5-F86F-471B-BF11-BADE300127D7}"/>
              </a:ext>
            </a:extLst>
          </p:cNvPr>
          <p:cNvSpPr/>
          <p:nvPr/>
        </p:nvSpPr>
        <p:spPr>
          <a:xfrm>
            <a:off x="3728864" y="5249949"/>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5" name="Circle: Hollow 14">
            <a:extLst>
              <a:ext uri="{FF2B5EF4-FFF2-40B4-BE49-F238E27FC236}">
                <a16:creationId xmlns:a16="http://schemas.microsoft.com/office/drawing/2014/main" id="{F2931220-755D-4D15-A755-0C4229927C88}"/>
              </a:ext>
            </a:extLst>
          </p:cNvPr>
          <p:cNvSpPr/>
          <p:nvPr/>
        </p:nvSpPr>
        <p:spPr>
          <a:xfrm>
            <a:off x="3728864" y="5882670"/>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0" y="1056970"/>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は</a:t>
            </a:r>
            <a:r>
              <a:rPr lang="ja-JP" altLang="en-US" sz="1400" b="0" i="0" dirty="0">
                <a:solidFill>
                  <a:srgbClr val="000000"/>
                </a:solidFill>
                <a:effectLst/>
                <a:latin typeface="ヒラギノ角ゴ Pro W3"/>
              </a:rPr>
              <a:t>知識集約型経済構造の確立を目指し、医療技術や医薬品・バイオテクノロジー等含む、高度技術を活用するいくつかの分野において税制優遇措置等を通じた外資奨励を行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多くの欧米医療機器メーカーはアジア太平洋地域の地域本部としてシンガポール拠点を設立している。一方で、中国やインドの医療機器メーカーのシンガポールにおけるプレゼンスに関する情報は極端に限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138145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latin typeface="HGP創英角ｺﾞｼｯｸUB" panose="020B0A00000000000000" pitchFamily="34" charset="-128"/>
              </a:rPr>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8" name="think-cell Slide" r:id="rId4" imgW="395" imgH="396" progId="TCLayout.ActiveDocument.1">
                  <p:embed/>
                </p:oleObj>
              </mc:Choice>
              <mc:Fallback>
                <p:oleObj name="think-cell Slide"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2/3)</a:t>
            </a:r>
            <a:endParaRPr lang="ja-JP" altLang="en-US" dirty="0"/>
          </a:p>
        </p:txBody>
      </p:sp>
      <p:graphicFrame>
        <p:nvGraphicFramePr>
          <p:cNvPr id="5" name="表 4"/>
          <p:cNvGraphicFramePr>
            <a:graphicFrameLocks noGrp="1"/>
          </p:cNvGraphicFramePr>
          <p:nvPr/>
        </p:nvGraphicFramePr>
        <p:xfrm>
          <a:off x="213190" y="2636912"/>
          <a:ext cx="9276314" cy="3224547"/>
        </p:xfrm>
        <a:graphic>
          <a:graphicData uri="http://schemas.openxmlformats.org/drawingml/2006/table">
            <a:tbl>
              <a:tblPr firstRow="1" bandRow="1">
                <a:tableStyleId>{5C22544A-7EE6-4342-B048-85BDC9FD1C3A}</a:tableStyleId>
              </a:tblPr>
              <a:tblGrid>
                <a:gridCol w="1791336">
                  <a:extLst>
                    <a:ext uri="{9D8B030D-6E8A-4147-A177-3AD203B41FA5}">
                      <a16:colId xmlns:a16="http://schemas.microsoft.com/office/drawing/2014/main" val="20000"/>
                    </a:ext>
                  </a:extLst>
                </a:gridCol>
                <a:gridCol w="1555051">
                  <a:extLst>
                    <a:ext uri="{9D8B030D-6E8A-4147-A177-3AD203B41FA5}">
                      <a16:colId xmlns:a16="http://schemas.microsoft.com/office/drawing/2014/main" val="20001"/>
                    </a:ext>
                  </a:extLst>
                </a:gridCol>
                <a:gridCol w="1555051">
                  <a:extLst>
                    <a:ext uri="{9D8B030D-6E8A-4147-A177-3AD203B41FA5}">
                      <a16:colId xmlns:a16="http://schemas.microsoft.com/office/drawing/2014/main" val="2407660883"/>
                    </a:ext>
                  </a:extLst>
                </a:gridCol>
                <a:gridCol w="990500">
                  <a:extLst>
                    <a:ext uri="{9D8B030D-6E8A-4147-A177-3AD203B41FA5}">
                      <a16:colId xmlns:a16="http://schemas.microsoft.com/office/drawing/2014/main" val="20002"/>
                    </a:ext>
                  </a:extLst>
                </a:gridCol>
                <a:gridCol w="3384376">
                  <a:extLst>
                    <a:ext uri="{9D8B030D-6E8A-4147-A177-3AD203B41FA5}">
                      <a16:colId xmlns:a16="http://schemas.microsoft.com/office/drawing/2014/main" val="20003"/>
                    </a:ext>
                  </a:extLst>
                </a:gridCol>
              </a:tblGrid>
              <a:tr h="148505">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シンガポール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6856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a:solidFill>
                            <a:schemeClr val="tx1"/>
                          </a:solidFill>
                          <a:latin typeface="Arial" panose="020B0604020202020204" pitchFamily="34" charset="0"/>
                          <a:ea typeface="HGP創英角ｺﾞｼｯｸUB" pitchFamily="50" charset="-128"/>
                          <a:cs typeface="Arial" panose="020B0604020202020204" pitchFamily="34" charset="0"/>
                        </a:rPr>
                        <a:t>Mindray</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患者モニタリング・生命維持装置、体外診断用医薬品、画像診断装置</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dicare</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等のディストリビューターを活用。</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dicare</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シンガポールの</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以上の病院に対し、血管科、救急科、麻酔科など幅広い病院部門へ</a:t>
                      </a:r>
                      <a:r>
                        <a:rPr kumimoji="1" lang="en-US" altLang="ja-JP" sz="8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inray</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診断用超音波の導入を支援。</a:t>
                      </a:r>
                      <a:endParaRPr kumimoji="1" lang="en-US" altLang="ja-JP" sz="8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Zhuhai</a:t>
                      </a:r>
                      <a:r>
                        <a:rPr kumimoji="1" lang="ja-JP" alt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 </a:t>
                      </a: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Hokai</a:t>
                      </a:r>
                      <a:endPar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ハビリテーション機器、画像処理システム、低侵襲性腫瘍治療機器</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dico</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シンガポールにおける</a:t>
                      </a:r>
                      <a:r>
                        <a:rPr kumimoji="1" lang="en-US" altLang="ja-JP" sz="8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Yuwell</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ライセンス・正規販売店</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ホームヘルスケア製品を専門とする</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4842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a:solidFill>
                            <a:schemeClr val="tx1"/>
                          </a:solidFill>
                          <a:latin typeface="Arial" panose="020B0604020202020204" pitchFamily="34" charset="0"/>
                          <a:ea typeface="HGP創英角ｺﾞｼｯｸUB" pitchFamily="50" charset="-128"/>
                          <a:cs typeface="Arial" panose="020B0604020202020204" pitchFamily="34" charset="0"/>
                        </a:rPr>
                        <a:t>Shinva</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検査装置、放射線治療装置、デジタル診断装置、手術用具</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Shinva</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medical instruments</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シンガポールでのプレゼンスについての情報は見つけられなかった。</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44842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a:solidFill>
                            <a:schemeClr val="tx1"/>
                          </a:solidFill>
                          <a:latin typeface="Arial" panose="020B0604020202020204" pitchFamily="34" charset="0"/>
                          <a:ea typeface="HGP創英角ｺﾞｼｯｸUB" pitchFamily="50" charset="-128"/>
                          <a:cs typeface="Arial" panose="020B0604020202020204" pitchFamily="34" charset="0"/>
                        </a:rPr>
                        <a:t>Yuwell</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呼吸器系、血圧計、体温計、酸素濃度系、血糖値測定器</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一部の</a:t>
                      </a:r>
                      <a:r>
                        <a:rPr kumimoji="1" lang="en-US" altLang="ja-JP" sz="8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Yuwell</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製品</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血圧計、吸引機、酸素濃縮器等</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シンガポールの</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C</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プラットフォーム</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hop I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上で購入可能。</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44842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BGI</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遺伝子検査製品</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GI Group</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シンガポールにオフィスまたはラボを持つ</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ジア太平洋地域の地域本部は香港</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シンガポールに本社を持つバイオテクノロジー企業</a:t>
                      </a:r>
                      <a:r>
                        <a:rPr kumimoji="1" lang="en-US" altLang="ja-JP" sz="8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iRXES</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協力して、東南アジアをリードする</a:t>
                      </a:r>
                      <a:r>
                        <a:rPr kumimoji="1" lang="en-US" altLang="ja-JP" sz="8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genemoics</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platform</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構築することを表明している。</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56458" y="6525344"/>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ウェブサイ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dicar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ウェブサイ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dic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ウェブサイト、</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MiRXES</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newsroom (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記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
        <p:nvSpPr>
          <p:cNvPr id="17" name="Rectangle 6">
            <a:extLst>
              <a:ext uri="{FF2B5EF4-FFF2-40B4-BE49-F238E27FC236}">
                <a16:creationId xmlns:a16="http://schemas.microsoft.com/office/drawing/2014/main" id="{A0B73A04-4816-4C4C-8234-7F1C3C2567E5}"/>
              </a:ext>
            </a:extLst>
          </p:cNvPr>
          <p:cNvSpPr>
            <a:spLocks noChangeArrowheads="1"/>
          </p:cNvSpPr>
          <p:nvPr/>
        </p:nvSpPr>
        <p:spPr bwMode="auto">
          <a:xfrm>
            <a:off x="225911" y="2270683"/>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中国系外資メーカーの現況</a:t>
            </a:r>
          </a:p>
        </p:txBody>
      </p:sp>
      <p:sp>
        <p:nvSpPr>
          <p:cNvPr id="12" name="Circle: Hollow 11">
            <a:extLst>
              <a:ext uri="{FF2B5EF4-FFF2-40B4-BE49-F238E27FC236}">
                <a16:creationId xmlns:a16="http://schemas.microsoft.com/office/drawing/2014/main" id="{91E229AF-FCEC-4720-93A5-94247990E764}"/>
              </a:ext>
            </a:extLst>
          </p:cNvPr>
          <p:cNvSpPr/>
          <p:nvPr/>
        </p:nvSpPr>
        <p:spPr>
          <a:xfrm>
            <a:off x="4186351" y="5205156"/>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3" name="テキスト ボックス 3">
            <a:extLst>
              <a:ext uri="{FF2B5EF4-FFF2-40B4-BE49-F238E27FC236}">
                <a16:creationId xmlns:a16="http://schemas.microsoft.com/office/drawing/2014/main" id="{2680C600-D6B7-46B6-AF0C-103A5B7D5E45}"/>
              </a:ext>
            </a:extLst>
          </p:cNvPr>
          <p:cNvSpPr txBox="1"/>
          <p:nvPr/>
        </p:nvSpPr>
        <p:spPr>
          <a:xfrm>
            <a:off x="200470" y="1056970"/>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は</a:t>
            </a:r>
            <a:r>
              <a:rPr lang="ja-JP" altLang="en-US" sz="1400" b="0" i="0" dirty="0">
                <a:solidFill>
                  <a:srgbClr val="000000"/>
                </a:solidFill>
                <a:effectLst/>
                <a:latin typeface="ヒラギノ角ゴ Pro W3"/>
              </a:rPr>
              <a:t>知識集約型経済構造の確立を目指し、医療技術や医薬品・バイオテクノロジー等含む、高度技術を活用するいくつかの分野において税制優遇措置等を通じた外資奨励を行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多くの欧米医療機器メーカーはアジア太平洋地域の地域本部としてシンガポール拠点を設立している。一方で、中国やインドの医療機器メーカーのシンガポールにおけるプレゼンスに関する情報は極端に限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98646649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2" name="think-cell Slide" r:id="rId4" imgW="395" imgH="396" progId="TCLayout.ActiveDocument.1">
                  <p:embed/>
                </p:oleObj>
              </mc:Choice>
              <mc:Fallback>
                <p:oleObj name="think-cell Slide"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3/3)</a:t>
            </a:r>
            <a:endParaRPr lang="ja-JP" altLang="en-US" dirty="0"/>
          </a:p>
        </p:txBody>
      </p:sp>
      <p:graphicFrame>
        <p:nvGraphicFramePr>
          <p:cNvPr id="5" name="表 4"/>
          <p:cNvGraphicFramePr>
            <a:graphicFrameLocks noGrp="1"/>
          </p:cNvGraphicFramePr>
          <p:nvPr/>
        </p:nvGraphicFramePr>
        <p:xfrm>
          <a:off x="213190" y="2636912"/>
          <a:ext cx="9276314" cy="2842160"/>
        </p:xfrm>
        <a:graphic>
          <a:graphicData uri="http://schemas.openxmlformats.org/drawingml/2006/table">
            <a:tbl>
              <a:tblPr firstRow="1" bandRow="1">
                <a:tableStyleId>{5C22544A-7EE6-4342-B048-85BDC9FD1C3A}</a:tableStyleId>
              </a:tblPr>
              <a:tblGrid>
                <a:gridCol w="1791336">
                  <a:extLst>
                    <a:ext uri="{9D8B030D-6E8A-4147-A177-3AD203B41FA5}">
                      <a16:colId xmlns:a16="http://schemas.microsoft.com/office/drawing/2014/main" val="20000"/>
                    </a:ext>
                  </a:extLst>
                </a:gridCol>
                <a:gridCol w="1555051">
                  <a:extLst>
                    <a:ext uri="{9D8B030D-6E8A-4147-A177-3AD203B41FA5}">
                      <a16:colId xmlns:a16="http://schemas.microsoft.com/office/drawing/2014/main" val="20001"/>
                    </a:ext>
                  </a:extLst>
                </a:gridCol>
                <a:gridCol w="1555051">
                  <a:extLst>
                    <a:ext uri="{9D8B030D-6E8A-4147-A177-3AD203B41FA5}">
                      <a16:colId xmlns:a16="http://schemas.microsoft.com/office/drawing/2014/main" val="2407660883"/>
                    </a:ext>
                  </a:extLst>
                </a:gridCol>
                <a:gridCol w="990500">
                  <a:extLst>
                    <a:ext uri="{9D8B030D-6E8A-4147-A177-3AD203B41FA5}">
                      <a16:colId xmlns:a16="http://schemas.microsoft.com/office/drawing/2014/main" val="20002"/>
                    </a:ext>
                  </a:extLst>
                </a:gridCol>
                <a:gridCol w="3384376">
                  <a:extLst>
                    <a:ext uri="{9D8B030D-6E8A-4147-A177-3AD203B41FA5}">
                      <a16:colId xmlns:a16="http://schemas.microsoft.com/office/drawing/2014/main" val="20003"/>
                    </a:ext>
                  </a:extLst>
                </a:gridCol>
              </a:tblGrid>
              <a:tr h="148505">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シンガポール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6856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Anand </a:t>
                      </a: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Medicaids</a:t>
                      </a:r>
                      <a:endPar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CN"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用吸引装置</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nand </a:t>
                      </a:r>
                      <a:r>
                        <a:rPr kumimoji="1" lang="en-US" altLang="ja-JP" sz="8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edicaids</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シンガポールでのプレゼンスについての情報は見つけられなかった。</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Hindustan Syringes And Medical Device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手術</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器具</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針・注射器等</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industan Syringes And Medical Devices</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シンガポールでのプレゼンスについての情報は見つけられなかった。</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4842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Opto</a:t>
                      </a: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 Circuit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患者モニタリング装置、呼吸器・麻酔器、循環器系製品</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テーテル・除細動機等</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Opto</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Circuits</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シンガポールでのプレゼンスについての情報は見つけられなかった。</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44842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Poly </a:t>
                      </a: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Medicure</a:t>
                      </a:r>
                      <a:endPar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使い捨て医療機器</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注入療法、麻酔、泌尿器血液管理、消化器、外科向け等</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b="0" kern="1200" dirty="0">
                          <a:solidFill>
                            <a:schemeClr val="tx1"/>
                          </a:solidFill>
                          <a:latin typeface="Arial" panose="020B0604020202020204" pitchFamily="34" charset="0"/>
                          <a:ea typeface="HGP創英角ｺﾞｼｯｸUB" pitchFamily="50" charset="-128"/>
                          <a:cs typeface="Arial" panose="020B0604020202020204" pitchFamily="34" charset="0"/>
                        </a:rPr>
                        <a:t>Poly </a:t>
                      </a:r>
                      <a:r>
                        <a:rPr kumimoji="1" lang="en-US" altLang="ja-JP" sz="800" b="0" kern="1200" dirty="0" err="1">
                          <a:solidFill>
                            <a:schemeClr val="tx1"/>
                          </a:solidFill>
                          <a:latin typeface="Arial" panose="020B0604020202020204" pitchFamily="34" charset="0"/>
                          <a:ea typeface="HGP創英角ｺﾞｼｯｸUB" pitchFamily="50" charset="-128"/>
                          <a:cs typeface="Arial" panose="020B0604020202020204" pitchFamily="34" charset="0"/>
                        </a:rPr>
                        <a:t>Medicure</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シンガポールでのプレゼンスについての情報は見つけられなかった。</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44842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Sahajanand</a:t>
                      </a: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 Medical Technologie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系</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テーテル等</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b="0" kern="1200" dirty="0" err="1">
                          <a:solidFill>
                            <a:schemeClr val="tx1"/>
                          </a:solidFill>
                          <a:latin typeface="Arial" panose="020B0604020202020204" pitchFamily="34" charset="0"/>
                          <a:ea typeface="HGP創英角ｺﾞｼｯｸUB" pitchFamily="50" charset="-128"/>
                          <a:cs typeface="Arial" panose="020B0604020202020204" pitchFamily="34" charset="0"/>
                        </a:rPr>
                        <a:t>Sahajanand</a:t>
                      </a:r>
                      <a:r>
                        <a:rPr kumimoji="1" lang="en-US" altLang="ja-JP" sz="800" b="0" kern="1200" dirty="0">
                          <a:solidFill>
                            <a:schemeClr val="tx1"/>
                          </a:solidFill>
                          <a:latin typeface="Arial" panose="020B0604020202020204" pitchFamily="34" charset="0"/>
                          <a:ea typeface="HGP創英角ｺﾞｼｯｸUB" pitchFamily="50" charset="-128"/>
                          <a:cs typeface="Arial" panose="020B0604020202020204" pitchFamily="34" charset="0"/>
                        </a:rPr>
                        <a:t> Medical Technologies</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シンガポールでのプレゼンスについての情報は見つけられなかった。</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56458" y="6525344"/>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ウェブサイト</a:t>
            </a:r>
            <a:endParaRPr kumimoji="0" lang="ja-JP" altLang="en-US" sz="800" dirty="0" bmk=""/>
          </a:p>
        </p:txBody>
      </p:sp>
      <p:sp>
        <p:nvSpPr>
          <p:cNvPr id="17" name="Rectangle 6">
            <a:extLst>
              <a:ext uri="{FF2B5EF4-FFF2-40B4-BE49-F238E27FC236}">
                <a16:creationId xmlns:a16="http://schemas.microsoft.com/office/drawing/2014/main" id="{A0B73A04-4816-4C4C-8234-7F1C3C2567E5}"/>
              </a:ext>
            </a:extLst>
          </p:cNvPr>
          <p:cNvSpPr>
            <a:spLocks noChangeArrowheads="1"/>
          </p:cNvSpPr>
          <p:nvPr/>
        </p:nvSpPr>
        <p:spPr bwMode="auto">
          <a:xfrm>
            <a:off x="225911" y="2270683"/>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インド系外資メーカーの現況</a:t>
            </a:r>
          </a:p>
        </p:txBody>
      </p:sp>
      <p:sp>
        <p:nvSpPr>
          <p:cNvPr id="12" name="テキスト ボックス 3">
            <a:extLst>
              <a:ext uri="{FF2B5EF4-FFF2-40B4-BE49-F238E27FC236}">
                <a16:creationId xmlns:a16="http://schemas.microsoft.com/office/drawing/2014/main" id="{FEA28477-9846-4793-959C-B0890F850234}"/>
              </a:ext>
            </a:extLst>
          </p:cNvPr>
          <p:cNvSpPr txBox="1"/>
          <p:nvPr/>
        </p:nvSpPr>
        <p:spPr>
          <a:xfrm>
            <a:off x="200470" y="1056970"/>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は</a:t>
            </a:r>
            <a:r>
              <a:rPr lang="ja-JP" altLang="en-US" sz="1400" b="0" i="0" dirty="0">
                <a:solidFill>
                  <a:srgbClr val="000000"/>
                </a:solidFill>
                <a:effectLst/>
                <a:latin typeface="ヒラギノ角ゴ Pro W3"/>
              </a:rPr>
              <a:t>知識集約型経済構造の確立を目指し、医療技術や医薬品・バイオテクノロジー等含む、高度技術を活用するいくつかの分野において税制優遇措置等を通じた外資奨励を行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多くの欧米医療機器メーカーはアジア太平洋地域の地域本部としてシンガポール拠点を設立している。一方で、中国やインドの医療機器メーカーのシンガポールにおけるプレゼンスに関する情報は極端に限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1101652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C8AA5E-2E2B-492F-AF36-510FA328DC0A}"/>
              </a:ext>
            </a:extLst>
          </p:cNvPr>
          <p:cNvGraphicFramePr>
            <a:graphicFrameLocks noChangeAspect="1"/>
          </p:cNvGraphicFramePr>
          <p:nvPr>
            <p:custDataLst>
              <p:tags r:id="rId2"/>
            </p:custDataLst>
            <p:extLst>
              <p:ext uri="{D42A27DB-BD31-4B8C-83A1-F6EECF244321}">
                <p14:modId xmlns:p14="http://schemas.microsoft.com/office/powerpoint/2010/main" val="1800737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6"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38C8AA5E-2E2B-492F-AF36-510FA328DC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機器</a:t>
            </a:r>
            <a:endParaRPr kumimoji="1" lang="ja-JP" altLang="en-US" dirty="0"/>
          </a:p>
        </p:txBody>
      </p:sp>
      <p:sp>
        <p:nvSpPr>
          <p:cNvPr id="6" name="テキスト プレースホルダー 5"/>
          <p:cNvSpPr>
            <a:spLocks noGrp="1"/>
          </p:cNvSpPr>
          <p:nvPr>
            <p:ph type="body" sz="quarter" idx="15"/>
          </p:nvPr>
        </p:nvSpPr>
        <p:spPr>
          <a:xfrm>
            <a:off x="200025" y="539961"/>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a:t>
            </a:r>
          </a:p>
        </p:txBody>
      </p:sp>
      <p:graphicFrame>
        <p:nvGraphicFramePr>
          <p:cNvPr id="9" name="表 8"/>
          <p:cNvGraphicFramePr>
            <a:graphicFrameLocks noGrp="1"/>
          </p:cNvGraphicFramePr>
          <p:nvPr>
            <p:extLst>
              <p:ext uri="{D42A27DB-BD31-4B8C-83A1-F6EECF244321}">
                <p14:modId xmlns:p14="http://schemas.microsoft.com/office/powerpoint/2010/main" val="1836944311"/>
              </p:ext>
            </p:extLst>
          </p:nvPr>
        </p:nvGraphicFramePr>
        <p:xfrm>
          <a:off x="632520" y="2201988"/>
          <a:ext cx="8496000" cy="25812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支店・駐在員事務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a:solidFill>
                            <a:srgbClr val="000000"/>
                          </a:solidFill>
                          <a:effectLst/>
                          <a:latin typeface="+mn-lt"/>
                          <a:ea typeface="+mj-ea"/>
                          <a:cs typeface="+mn-cs"/>
                        </a:rPr>
                        <a:t>Olympus Singapore Pte. Ltd.</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オリンパ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アセアン地域およびインド・パキスタンにおける製品の販売・医療用内視鏡関連機器の開発</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100" b="0" i="0" u="none" strike="noStrike" kern="1200" dirty="0" err="1">
                          <a:solidFill>
                            <a:srgbClr val="000000"/>
                          </a:solidFill>
                          <a:effectLst/>
                          <a:latin typeface="+mn-lt"/>
                          <a:ea typeface="+mj-ea"/>
                          <a:cs typeface="+mn-cs"/>
                        </a:rPr>
                        <a:t>Nipro</a:t>
                      </a:r>
                      <a:r>
                        <a:rPr kumimoji="1" lang="en-US" altLang="ja-JP" sz="1100" b="0" i="0" u="none" strike="noStrike" kern="1200" dirty="0">
                          <a:solidFill>
                            <a:srgbClr val="000000"/>
                          </a:solidFill>
                          <a:effectLst/>
                          <a:latin typeface="+mn-lt"/>
                          <a:ea typeface="+mj-ea"/>
                          <a:cs typeface="+mn-cs"/>
                        </a:rPr>
                        <a:t> Asia PTE LTD</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療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a:solidFill>
                            <a:srgbClr val="000000"/>
                          </a:solidFill>
                          <a:effectLst/>
                          <a:latin typeface="+mn-lt"/>
                          <a:ea typeface="+mj-ea"/>
                          <a:cs typeface="+mn-cs"/>
                        </a:rPr>
                        <a:t>Terumo Asia Holdings Pte. Ltd.</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アジア地域の持株会社</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431427234"/>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a:solidFill>
                            <a:srgbClr val="000000"/>
                          </a:solidFill>
                          <a:effectLst/>
                          <a:latin typeface="+mn-lt"/>
                          <a:ea typeface="+mj-ea"/>
                          <a:cs typeface="+mn-cs"/>
                        </a:rPr>
                        <a:t>Canon Medical Systems Asia Pte. Ltd. </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キヤノンメディカル</a:t>
                      </a:r>
                    </a:p>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システムズ</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診断用</a:t>
                      </a:r>
                      <a:r>
                        <a:rPr kumimoji="1" lang="en-US" altLang="ja-JP" sz="1000" b="0" i="0" u="none" strike="noStrike" kern="1200" dirty="0">
                          <a:solidFill>
                            <a:srgbClr val="000000"/>
                          </a:solidFill>
                          <a:effectLst/>
                          <a:latin typeface="+mn-lt"/>
                          <a:ea typeface="+mj-ea"/>
                          <a:cs typeface="+mn-cs"/>
                        </a:rPr>
                        <a:t>X</a:t>
                      </a:r>
                      <a:r>
                        <a:rPr kumimoji="1" lang="ja-JP" altLang="en-US" sz="1000" b="0" i="0" u="none" strike="noStrike" kern="1200" dirty="0">
                          <a:solidFill>
                            <a:srgbClr val="000000"/>
                          </a:solidFill>
                          <a:effectLst/>
                          <a:latin typeface="+mn-lt"/>
                          <a:ea typeface="+mj-ea"/>
                          <a:cs typeface="+mn-cs"/>
                        </a:rPr>
                        <a:t>線装置、医用</a:t>
                      </a:r>
                      <a:r>
                        <a:rPr kumimoji="1" lang="en-US" altLang="ja-JP" sz="1000" b="0" i="0" u="none" strike="noStrike" kern="1200" dirty="0">
                          <a:solidFill>
                            <a:srgbClr val="000000"/>
                          </a:solidFill>
                          <a:effectLst/>
                          <a:latin typeface="+mn-lt"/>
                          <a:ea typeface="+mj-ea"/>
                          <a:cs typeface="+mn-cs"/>
                        </a:rPr>
                        <a:t>X</a:t>
                      </a:r>
                      <a:r>
                        <a:rPr kumimoji="1" lang="ja-JP" altLang="en-US" sz="1000" b="0" i="0" u="none" strike="noStrike" kern="1200" dirty="0">
                          <a:solidFill>
                            <a:srgbClr val="000000"/>
                          </a:solidFill>
                          <a:effectLst/>
                          <a:latin typeface="+mn-lt"/>
                          <a:ea typeface="+mj-ea"/>
                          <a:cs typeface="+mn-cs"/>
                        </a:rPr>
                        <a:t>線</a:t>
                      </a:r>
                      <a:r>
                        <a:rPr kumimoji="1" lang="en-US" altLang="ja-JP" sz="1000" b="0" i="0" u="none" strike="noStrike" kern="1200" dirty="0">
                          <a:solidFill>
                            <a:srgbClr val="000000"/>
                          </a:solidFill>
                          <a:effectLst/>
                          <a:latin typeface="+mn-lt"/>
                          <a:ea typeface="+mj-ea"/>
                          <a:cs typeface="+mn-cs"/>
                        </a:rPr>
                        <a:t>CT</a:t>
                      </a:r>
                      <a:r>
                        <a:rPr kumimoji="1" lang="ja-JP" altLang="en-US" sz="1000" b="0" i="0" u="none" strike="noStrike" kern="1200" dirty="0">
                          <a:solidFill>
                            <a:srgbClr val="000000"/>
                          </a:solidFill>
                          <a:effectLst/>
                          <a:latin typeface="+mn-lt"/>
                          <a:ea typeface="+mj-ea"/>
                          <a:cs typeface="+mn-cs"/>
                        </a:rPr>
                        <a:t>装置、磁気共鳴イメージング装置、診断用超音波装置、放射線治療装置などの販売・設置・サービスなど</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42169411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a:solidFill>
                            <a:srgbClr val="000000"/>
                          </a:solidFill>
                          <a:effectLst/>
                          <a:latin typeface="+mn-lt"/>
                          <a:ea typeface="+mj-ea"/>
                          <a:cs typeface="+mn-cs"/>
                        </a:rPr>
                        <a:t>Nihon </a:t>
                      </a:r>
                      <a:r>
                        <a:rPr kumimoji="1" lang="en-US" altLang="zh-TW" sz="1100" b="0" i="0" u="none" strike="noStrike" kern="1200" dirty="0" err="1">
                          <a:solidFill>
                            <a:srgbClr val="000000"/>
                          </a:solidFill>
                          <a:effectLst/>
                          <a:latin typeface="+mn-lt"/>
                          <a:ea typeface="+mj-ea"/>
                          <a:cs typeface="+mn-cs"/>
                        </a:rPr>
                        <a:t>Koden</a:t>
                      </a:r>
                      <a:r>
                        <a:rPr kumimoji="1" lang="en-US" altLang="zh-TW" sz="1100" b="0" i="0" u="none" strike="noStrike" kern="1200" dirty="0">
                          <a:solidFill>
                            <a:srgbClr val="000000"/>
                          </a:solidFill>
                          <a:effectLst/>
                          <a:latin typeface="+mn-lt"/>
                          <a:ea typeface="+mj-ea"/>
                          <a:cs typeface="+mn-cs"/>
                        </a:rPr>
                        <a:t> Singapore</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日本光電</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モニタリングシステム、カーディアック・リズム・マネジメント、検査室システム、蘇生装置、医療材料など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282814987"/>
                  </a:ext>
                </a:extLst>
              </a:tr>
            </a:tbl>
          </a:graphicData>
        </a:graphic>
      </p:graphicFrame>
      <p:sp>
        <p:nvSpPr>
          <p:cNvPr id="11" name="テキスト ボックス 10"/>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務省の調査によれば、シンガポールにおける日本企業の現地法人・支店は全業種合わせて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8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な日本の医療機器メーカーは、シンガポールを地域の統括会社として位置付けているところも多い</a:t>
            </a:r>
          </a:p>
        </p:txBody>
      </p:sp>
      <p:sp>
        <p:nvSpPr>
          <p:cNvPr id="12" name="テキスト ボックス 9"/>
          <p:cNvSpPr txBox="1"/>
          <p:nvPr/>
        </p:nvSpPr>
        <p:spPr>
          <a:xfrm>
            <a:off x="200025" y="6453336"/>
            <a:ext cx="8640960" cy="144016"/>
          </a:xfrm>
          <a:prstGeom prst="rect">
            <a:avLst/>
          </a:prstGeom>
          <a:noFill/>
        </p:spPr>
        <p:txBody>
          <a:bodyPr wrap="square" lIns="0" tIns="0" rIns="0" bIns="0" rtlCol="0">
            <a:no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1</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1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月現在。</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人が海外に渡って興した企業（日本人の出資比率１０％以上）を含む</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a:extLst>
              <a:ext uri="{FF2B5EF4-FFF2-40B4-BE49-F238E27FC236}">
                <a16:creationId xmlns:a16="http://schemas.microsoft.com/office/drawing/2014/main" id="{AE28FF23-08C8-481B-9D0D-7AE4A4397099}"/>
              </a:ext>
            </a:extLst>
          </p:cNvPr>
          <p:cNvSpPr txBox="1"/>
          <p:nvPr/>
        </p:nvSpPr>
        <p:spPr>
          <a:xfrm>
            <a:off x="187719" y="660880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外務省、デスクトップリサーチ、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337165477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21AB3A0-09FC-4B4A-9AE1-42F7BFADA93E}"/>
              </a:ext>
            </a:extLst>
          </p:cNvPr>
          <p:cNvGraphicFramePr>
            <a:graphicFrameLocks noChangeAspect="1"/>
          </p:cNvGraphicFramePr>
          <p:nvPr>
            <p:custDataLst>
              <p:tags r:id="rId2"/>
            </p:custDataLst>
            <p:extLst>
              <p:ext uri="{D42A27DB-BD31-4B8C-83A1-F6EECF244321}">
                <p14:modId xmlns:p14="http://schemas.microsoft.com/office/powerpoint/2010/main" val="3607987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0"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E21AB3A0-09FC-4B4A-9AE1-42F7BFADA9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機関は入札により、民間医療機関は各グループ独自での調達を行っている。</a:t>
            </a: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8" name="グループ化 7"/>
          <p:cNvGrpSpPr/>
          <p:nvPr/>
        </p:nvGrpSpPr>
        <p:grpSpPr>
          <a:xfrm>
            <a:off x="5097016" y="1988840"/>
            <a:ext cx="4608510" cy="288032"/>
            <a:chOff x="4944173" y="2185814"/>
            <a:chExt cx="5861371" cy="288032"/>
          </a:xfrm>
        </p:grpSpPr>
        <p:cxnSp>
          <p:nvCxnSpPr>
            <p:cNvPr id="9" name="直線コネクタ 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の医療機器調達</a:t>
              </a:r>
              <a:endParaRPr lang="zh-TW" altLang="en-US" sz="1400" dirty="0">
                <a:solidFill>
                  <a:srgbClr val="000000"/>
                </a:solidFill>
                <a:latin typeface="Arial Black" pitchFamily="34" charset="0"/>
                <a:ea typeface="HGP創英角ｺﾞｼｯｸUB" pitchFamily="50" charset="-128"/>
              </a:endParaRPr>
            </a:p>
          </p:txBody>
        </p:sp>
      </p:grpSp>
      <p:grpSp>
        <p:nvGrpSpPr>
          <p:cNvPr id="11" name="グループ化 7"/>
          <p:cNvGrpSpPr/>
          <p:nvPr/>
        </p:nvGrpSpPr>
        <p:grpSpPr>
          <a:xfrm>
            <a:off x="344488" y="1988840"/>
            <a:ext cx="4608512" cy="288032"/>
            <a:chOff x="4944173" y="2185814"/>
            <a:chExt cx="5861371" cy="288032"/>
          </a:xfrm>
        </p:grpSpPr>
        <p:cxnSp>
          <p:nvCxnSpPr>
            <p:cNvPr id="12" name="直線コネクタ 11"/>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944173" y="2185814"/>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民間医療機関</a:t>
              </a:r>
              <a:r>
                <a:rPr lang="ja-JP" altLang="en-US" sz="1400" dirty="0">
                  <a:solidFill>
                    <a:srgbClr val="000000"/>
                  </a:solidFill>
                  <a:latin typeface="Arial Black" pitchFamily="34" charset="0"/>
                  <a:ea typeface="HGP創英角ｺﾞｼｯｸUB" pitchFamily="50" charset="-128"/>
                </a:rPr>
                <a:t>の医療機器調達</a:t>
              </a:r>
              <a:endParaRPr lang="zh-TW" altLang="en-US" sz="1400" dirty="0">
                <a:solidFill>
                  <a:srgbClr val="000000"/>
                </a:solidFill>
                <a:latin typeface="Arial Black" pitchFamily="34" charset="0"/>
                <a:ea typeface="HGP創英角ｺﾞｼｯｸUB" pitchFamily="50" charset="-128"/>
              </a:endParaRPr>
            </a:p>
          </p:txBody>
        </p:sp>
      </p:grpSp>
      <p:sp>
        <p:nvSpPr>
          <p:cNvPr id="17" name="テキスト ボックス 16"/>
          <p:cNvSpPr txBox="1"/>
          <p:nvPr/>
        </p:nvSpPr>
        <p:spPr>
          <a:xfrm>
            <a:off x="200472" y="6597352"/>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ttps://www.meti.go.jp/policy/mono_info_service/healthcare/iryou/downloadfiles/pdf/macrohealthdate_Singapore.pdf</a:t>
            </a:r>
            <a:endParaRPr kumimoji="0" lang="ja-JP" altLang="en-US" sz="800" dirty="0" bmk=""/>
          </a:p>
        </p:txBody>
      </p:sp>
      <p:sp>
        <p:nvSpPr>
          <p:cNvPr id="46" name="TextBox 45">
            <a:extLst>
              <a:ext uri="{FF2B5EF4-FFF2-40B4-BE49-F238E27FC236}">
                <a16:creationId xmlns:a16="http://schemas.microsoft.com/office/drawing/2014/main" id="{191282E1-31C2-4B4D-868A-1504ACB48BFC}"/>
              </a:ext>
            </a:extLst>
          </p:cNvPr>
          <p:cNvSpPr txBox="1"/>
          <p:nvPr/>
        </p:nvSpPr>
        <p:spPr>
          <a:xfrm>
            <a:off x="4989757" y="2310748"/>
            <a:ext cx="4608510" cy="523220"/>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400" dirty="0"/>
              <a:t>公立医療機関の調達については、電子調達ポータルで公表され、企業はオンライン上で入札することができる。</a:t>
            </a:r>
            <a:endParaRPr lang="en-US" altLang="ja-JP" sz="1400" dirty="0"/>
          </a:p>
        </p:txBody>
      </p:sp>
      <p:sp>
        <p:nvSpPr>
          <p:cNvPr id="47" name="TextBox 46">
            <a:extLst>
              <a:ext uri="{FF2B5EF4-FFF2-40B4-BE49-F238E27FC236}">
                <a16:creationId xmlns:a16="http://schemas.microsoft.com/office/drawing/2014/main" id="{B20D549B-756B-49AD-8AAC-6DA9A69ADD11}"/>
              </a:ext>
            </a:extLst>
          </p:cNvPr>
          <p:cNvSpPr txBox="1"/>
          <p:nvPr/>
        </p:nvSpPr>
        <p:spPr>
          <a:xfrm>
            <a:off x="272480" y="2349297"/>
            <a:ext cx="4464495" cy="1234184"/>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400" dirty="0"/>
              <a:t>各病院グループによって調達が行われるため、医療機関それぞれによって要件なども異なる。</a:t>
            </a:r>
          </a:p>
          <a:p>
            <a:r>
              <a:rPr lang="ja-JP" altLang="en-US" sz="1400" dirty="0"/>
              <a:t>欧米の医療機器メーカーは販売子会社をシンガポールに持っていることが多いが、中国・インドメーカーなどは代理店を経由していることも多いと推測される。</a:t>
            </a:r>
            <a:endParaRPr lang="en-US" altLang="ja-JP" sz="1400" dirty="0"/>
          </a:p>
        </p:txBody>
      </p:sp>
    </p:spTree>
    <p:extLst>
      <p:ext uri="{BB962C8B-B14F-4D97-AF65-F5344CB8AC3E}">
        <p14:creationId xmlns:p14="http://schemas.microsoft.com/office/powerpoint/2010/main" val="408622745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4" name="think-cell Slide" r:id="rId4" imgW="395" imgH="396" progId="TCLayout.ActiveDocument.1">
                  <p:embed/>
                </p:oleObj>
              </mc:Choice>
              <mc:Fallback>
                <p:oleObj name="think-cell Slide"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1/3)</a:t>
            </a:r>
            <a:endParaRPr lang="ja-JP" altLang="en-US" dirty="0"/>
          </a:p>
        </p:txBody>
      </p:sp>
      <p:graphicFrame>
        <p:nvGraphicFramePr>
          <p:cNvPr id="5" name="表 4"/>
          <p:cNvGraphicFramePr>
            <a:graphicFrameLocks noGrp="1"/>
          </p:cNvGraphicFramePr>
          <p:nvPr/>
        </p:nvGraphicFramePr>
        <p:xfrm>
          <a:off x="213190" y="2377245"/>
          <a:ext cx="9577245" cy="4076091"/>
        </p:xfrm>
        <a:graphic>
          <a:graphicData uri="http://schemas.openxmlformats.org/drawingml/2006/table">
            <a:tbl>
              <a:tblPr firstRow="1" bandRow="1">
                <a:tableStyleId>{5C22544A-7EE6-4342-B048-85BDC9FD1C3A}</a:tableStyleId>
              </a:tblPr>
              <a:tblGrid>
                <a:gridCol w="1600877">
                  <a:extLst>
                    <a:ext uri="{9D8B030D-6E8A-4147-A177-3AD203B41FA5}">
                      <a16:colId xmlns:a16="http://schemas.microsoft.com/office/drawing/2014/main" val="20000"/>
                    </a:ext>
                  </a:extLst>
                </a:gridCol>
                <a:gridCol w="1389713">
                  <a:extLst>
                    <a:ext uri="{9D8B030D-6E8A-4147-A177-3AD203B41FA5}">
                      <a16:colId xmlns:a16="http://schemas.microsoft.com/office/drawing/2014/main" val="20001"/>
                    </a:ext>
                  </a:extLst>
                </a:gridCol>
                <a:gridCol w="1402080">
                  <a:extLst>
                    <a:ext uri="{9D8B030D-6E8A-4147-A177-3AD203B41FA5}">
                      <a16:colId xmlns:a16="http://schemas.microsoft.com/office/drawing/2014/main" val="3661723914"/>
                    </a:ext>
                  </a:extLst>
                </a:gridCol>
                <a:gridCol w="1368152">
                  <a:extLst>
                    <a:ext uri="{9D8B030D-6E8A-4147-A177-3AD203B41FA5}">
                      <a16:colId xmlns:a16="http://schemas.microsoft.com/office/drawing/2014/main" val="3386509722"/>
                    </a:ext>
                  </a:extLst>
                </a:gridCol>
                <a:gridCol w="3816423">
                  <a:extLst>
                    <a:ext uri="{9D8B030D-6E8A-4147-A177-3AD203B41FA5}">
                      <a16:colId xmlns:a16="http://schemas.microsoft.com/office/drawing/2014/main" val="20003"/>
                    </a:ext>
                  </a:extLst>
                </a:gridCol>
              </a:tblGrid>
              <a:tr h="504919">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シンガポール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7118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dirty="0">
                          <a:solidFill>
                            <a:schemeClr val="tx1"/>
                          </a:solidFill>
                          <a:latin typeface="Arial" panose="020B0604020202020204" pitchFamily="34" charset="0"/>
                          <a:ea typeface="HGP創英角ｺﾞｼｯｸUB" pitchFamily="50" charset="-128"/>
                          <a:cs typeface="Arial" panose="020B0604020202020204" pitchFamily="34" charset="0"/>
                        </a:rPr>
                        <a:t>Medtronic</a:t>
                      </a:r>
                      <a:endParaRPr kumimoji="1" lang="ja-JP" altLang="en-US" sz="11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系</a:t>
                      </a:r>
                      <a:r>
                        <a:rPr kumimoji="1" lang="en-US" altLang="zh-TW"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ペースメーカー等</a:t>
                      </a:r>
                      <a:r>
                        <a:rPr kumimoji="1" lang="en-US" altLang="zh-TW"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糖尿病</a:t>
                      </a:r>
                      <a:r>
                        <a:rPr kumimoji="1" lang="en-US" altLang="zh-TW"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スリンポンプ等</a:t>
                      </a:r>
                      <a:r>
                        <a:rPr kumimoji="1" lang="en-US" altLang="zh-TW"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シンガポールに製造部門であるメドトロニック・シンガポール・オペレーションズ（</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SO</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開設し、アジア地域の本社及び流通拠点として機能。</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52320">
                <a:tc>
                  <a:txBody>
                    <a:bodyPr/>
                    <a:lstStyle/>
                    <a:p>
                      <a:pPr algn="ctr" fontAlgn="ctr"/>
                      <a:r>
                        <a:rPr kumimoji="1" lang="en-US" altLang="ja-JP" sz="1100" b="1" dirty="0">
                          <a:solidFill>
                            <a:schemeClr val="tx1"/>
                          </a:solidFill>
                          <a:latin typeface="Arial" panose="020B0604020202020204" pitchFamily="34" charset="0"/>
                          <a:ea typeface="HGP創英角ｺﾞｼｯｸUB" pitchFamily="50" charset="-128"/>
                          <a:cs typeface="Arial" panose="020B0604020202020204" pitchFamily="34" charset="0"/>
                        </a:rPr>
                        <a:t>Johnson &amp; Johnson</a:t>
                      </a:r>
                      <a:endParaRPr kumimoji="1" lang="ja-JP" altLang="en-US" sz="11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整形外科、</a:t>
                      </a: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手術</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器具、</a:t>
                      </a: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眼科用医療機器</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00</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設立されたシンガポールオフィスは、アジア太平洋地域における拠点として機能。</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オフィスは「</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Leadership Lab</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Design Lab</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Johnson &amp; Johnson Human Performance Institute</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つの新しい主要施設を包含する複合施設となっており、アジア太平洋地域における革新的な働き方を促進し、政府機関、医療機関、学術機関を含むヘルスケアエコシステム全体のパートナーとの連携を深めることを目的</a:t>
                      </a:r>
                      <a:r>
                        <a:rPr kumimoji="1" lang="ja-JP" altLang="en-US"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としている。</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22536">
                <a:tc>
                  <a:txBody>
                    <a:bodyPr/>
                    <a:lstStyle/>
                    <a:p>
                      <a:pPr algn="ctr" fontAlgn="ctr"/>
                      <a:r>
                        <a:rPr kumimoji="1" lang="en-US" altLang="ja-JP" sz="1100" b="1" dirty="0">
                          <a:solidFill>
                            <a:schemeClr val="tx1"/>
                          </a:solidFill>
                          <a:latin typeface="Arial" panose="020B0604020202020204" pitchFamily="34" charset="0"/>
                          <a:ea typeface="HGP創英角ｺﾞｼｯｸUB" pitchFamily="50" charset="-128"/>
                          <a:cs typeface="Arial" panose="020B0604020202020204" pitchFamily="34" charset="0"/>
                        </a:rPr>
                        <a:t>Abbott</a:t>
                      </a:r>
                      <a:endParaRPr kumimoji="1" lang="ja-JP" altLang="en-US" sz="11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系</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テーテル等</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ニューロモデュレーション</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神経調節機器</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00</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ンガポールでは</a:t>
                      </a: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70</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からビジネスを展開しており、シンガポールはアジア太平洋地域の物流拠点として機能。</a:t>
                      </a:r>
                      <a:endPar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ンガポール市場に特化したヘルスケアソリューションの開発・現地生産を実施。</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657243">
                <a:tc>
                  <a:txBody>
                    <a:bodyPr/>
                    <a:lstStyle/>
                    <a:p>
                      <a:pPr algn="ctr" fontAlgn="ctr"/>
                      <a:r>
                        <a:rPr kumimoji="1" lang="en-US" altLang="ja-JP" sz="1100" b="1" dirty="0">
                          <a:solidFill>
                            <a:schemeClr val="tx1"/>
                          </a:solidFill>
                          <a:latin typeface="Arial" panose="020B0604020202020204" pitchFamily="34" charset="0"/>
                          <a:cs typeface="Arial" panose="020B0604020202020204" pitchFamily="34" charset="0"/>
                        </a:rPr>
                        <a:t>Siemens Healthcare</a:t>
                      </a:r>
                      <a:endParaRPr kumimoji="1" lang="ja-JP" altLang="en-US" sz="11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画像診断、</a:t>
                      </a: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体外診断用医療機</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00</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emens Group</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全体</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ンガポールには、株式投資を通じてグループビジネス</a:t>
                      </a:r>
                      <a:r>
                        <a:rPr kumimoji="1" lang="ja-JP" altLang="en-US" sz="8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としている</a:t>
                      </a:r>
                      <a:r>
                        <a:rPr kumimoji="1" lang="en-US" altLang="ja-JP" sz="800" b="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Siemens </a:t>
                      </a:r>
                      <a:r>
                        <a:rPr kumimoji="1" lang="en-US" altLang="ja-JP" sz="800" b="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Healthineers</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存在。</a:t>
                      </a:r>
                      <a:endPar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emens </a:t>
                      </a:r>
                      <a:r>
                        <a:rPr kumimoji="1" lang="en-US" altLang="ja-JP" sz="800" b="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Healtineers</a:t>
                      </a:r>
                      <a:r>
                        <a:rPr kumimoji="1" lang="ja-JP" altLang="en-US" sz="8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画像診断・治療、臨床検査、分子医学、デジタルヘルス、エンタープライズサービスなどの分野で革新的な技術とサービスを提供。</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536296">
                <a:tc>
                  <a:txBody>
                    <a:bodyPr/>
                    <a:lstStyle/>
                    <a:p>
                      <a:pPr algn="ctr" fontAlgn="ctr"/>
                      <a:r>
                        <a:rPr kumimoji="1" lang="en-US" altLang="ja-JP" sz="1100" b="1" dirty="0">
                          <a:solidFill>
                            <a:schemeClr val="tx1"/>
                          </a:solidFill>
                          <a:latin typeface="Arial" panose="020B0604020202020204" pitchFamily="34" charset="0"/>
                          <a:cs typeface="Arial" panose="020B0604020202020204" pitchFamily="34" charset="0"/>
                        </a:rPr>
                        <a:t>BD</a:t>
                      </a:r>
                      <a:endParaRPr kumimoji="1" lang="ja-JP" altLang="en-US" sz="11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手術</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器具</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針・注射器等</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診断機器、細胞画像化システム</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50 +</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ンガポールはアジアの地域本部として、製造のオペレーション・販売・</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amp;D</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拠点として機能。</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テーテルや針、注射器等の</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製品はシンガポールで生産され、世界へ輸出されている。</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56456" y="6596101"/>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ウェブサイ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S Medical Devices (3/10/20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記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
        <p:nvSpPr>
          <p:cNvPr id="12" name="Rectangle 6"/>
          <p:cNvSpPr>
            <a:spLocks noChangeArrowheads="1"/>
          </p:cNvSpPr>
          <p:nvPr/>
        </p:nvSpPr>
        <p:spPr bwMode="auto">
          <a:xfrm>
            <a:off x="344488" y="2014241"/>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欧米系外資メーカーの現況</a:t>
            </a:r>
          </a:p>
        </p:txBody>
      </p:sp>
      <p:sp>
        <p:nvSpPr>
          <p:cNvPr id="8" name="Circle: Hollow 7">
            <a:extLst>
              <a:ext uri="{FF2B5EF4-FFF2-40B4-BE49-F238E27FC236}">
                <a16:creationId xmlns:a16="http://schemas.microsoft.com/office/drawing/2014/main" id="{9E941A32-658C-4D8F-A5A0-D965C724BEF2}"/>
              </a:ext>
            </a:extLst>
          </p:cNvPr>
          <p:cNvSpPr/>
          <p:nvPr/>
        </p:nvSpPr>
        <p:spPr>
          <a:xfrm>
            <a:off x="3736000" y="3067271"/>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1" name="Circle: Hollow 10">
            <a:extLst>
              <a:ext uri="{FF2B5EF4-FFF2-40B4-BE49-F238E27FC236}">
                <a16:creationId xmlns:a16="http://schemas.microsoft.com/office/drawing/2014/main" id="{41E106B7-5D8C-4E28-BD92-6BD82E2D21D2}"/>
              </a:ext>
            </a:extLst>
          </p:cNvPr>
          <p:cNvSpPr/>
          <p:nvPr/>
        </p:nvSpPr>
        <p:spPr>
          <a:xfrm>
            <a:off x="3728864" y="3921116"/>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3" name="Circle: Hollow 12">
            <a:extLst>
              <a:ext uri="{FF2B5EF4-FFF2-40B4-BE49-F238E27FC236}">
                <a16:creationId xmlns:a16="http://schemas.microsoft.com/office/drawing/2014/main" id="{2D5CFC9C-937E-4886-974C-7AF1BA18AC2C}"/>
              </a:ext>
            </a:extLst>
          </p:cNvPr>
          <p:cNvSpPr/>
          <p:nvPr/>
        </p:nvSpPr>
        <p:spPr>
          <a:xfrm>
            <a:off x="3736000" y="4689489"/>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4" name="Circle: Hollow 13">
            <a:extLst>
              <a:ext uri="{FF2B5EF4-FFF2-40B4-BE49-F238E27FC236}">
                <a16:creationId xmlns:a16="http://schemas.microsoft.com/office/drawing/2014/main" id="{E9ACE2F5-F86F-471B-BF11-BADE300127D7}"/>
              </a:ext>
            </a:extLst>
          </p:cNvPr>
          <p:cNvSpPr/>
          <p:nvPr/>
        </p:nvSpPr>
        <p:spPr>
          <a:xfrm>
            <a:off x="3728864" y="5249949"/>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5" name="Circle: Hollow 14">
            <a:extLst>
              <a:ext uri="{FF2B5EF4-FFF2-40B4-BE49-F238E27FC236}">
                <a16:creationId xmlns:a16="http://schemas.microsoft.com/office/drawing/2014/main" id="{F2931220-755D-4D15-A755-0C4229927C88}"/>
              </a:ext>
            </a:extLst>
          </p:cNvPr>
          <p:cNvSpPr/>
          <p:nvPr/>
        </p:nvSpPr>
        <p:spPr>
          <a:xfrm>
            <a:off x="3728864" y="5882670"/>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0" y="1056970"/>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は</a:t>
            </a:r>
            <a:r>
              <a:rPr lang="ja-JP" altLang="en-US" sz="1400" b="0" i="0" dirty="0">
                <a:solidFill>
                  <a:srgbClr val="000000"/>
                </a:solidFill>
                <a:effectLst/>
                <a:latin typeface="ヒラギノ角ゴ Pro W3"/>
              </a:rPr>
              <a:t>知識集約型経済構造の確立を目指し、医療技術や医薬品・バイオテクノロジー等含む、高度技術を活用するいくつかの分野において税制優遇措置等を通じた外資奨励を行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多くの欧米医療機器メーカーはアジア太平洋地域の地域本部としてシンガポール拠点を設立している。一方で、中国やインドの医療機器メーカーのシンガポールにおけるプレゼンスに関する情報は極端に限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0639983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8" name="think-cell Slide" r:id="rId4" imgW="395" imgH="396" progId="TCLayout.ActiveDocument.1">
                  <p:embed/>
                </p:oleObj>
              </mc:Choice>
              <mc:Fallback>
                <p:oleObj name="think-cell Slide"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2/3)</a:t>
            </a:r>
            <a:endParaRPr lang="ja-JP" altLang="en-US" dirty="0"/>
          </a:p>
        </p:txBody>
      </p:sp>
      <p:graphicFrame>
        <p:nvGraphicFramePr>
          <p:cNvPr id="5" name="表 4"/>
          <p:cNvGraphicFramePr>
            <a:graphicFrameLocks noGrp="1"/>
          </p:cNvGraphicFramePr>
          <p:nvPr/>
        </p:nvGraphicFramePr>
        <p:xfrm>
          <a:off x="213190" y="2636912"/>
          <a:ext cx="9276314" cy="3224547"/>
        </p:xfrm>
        <a:graphic>
          <a:graphicData uri="http://schemas.openxmlformats.org/drawingml/2006/table">
            <a:tbl>
              <a:tblPr firstRow="1" bandRow="1">
                <a:tableStyleId>{5C22544A-7EE6-4342-B048-85BDC9FD1C3A}</a:tableStyleId>
              </a:tblPr>
              <a:tblGrid>
                <a:gridCol w="1791336">
                  <a:extLst>
                    <a:ext uri="{9D8B030D-6E8A-4147-A177-3AD203B41FA5}">
                      <a16:colId xmlns:a16="http://schemas.microsoft.com/office/drawing/2014/main" val="20000"/>
                    </a:ext>
                  </a:extLst>
                </a:gridCol>
                <a:gridCol w="1555051">
                  <a:extLst>
                    <a:ext uri="{9D8B030D-6E8A-4147-A177-3AD203B41FA5}">
                      <a16:colId xmlns:a16="http://schemas.microsoft.com/office/drawing/2014/main" val="20001"/>
                    </a:ext>
                  </a:extLst>
                </a:gridCol>
                <a:gridCol w="1555051">
                  <a:extLst>
                    <a:ext uri="{9D8B030D-6E8A-4147-A177-3AD203B41FA5}">
                      <a16:colId xmlns:a16="http://schemas.microsoft.com/office/drawing/2014/main" val="2407660883"/>
                    </a:ext>
                  </a:extLst>
                </a:gridCol>
                <a:gridCol w="990500">
                  <a:extLst>
                    <a:ext uri="{9D8B030D-6E8A-4147-A177-3AD203B41FA5}">
                      <a16:colId xmlns:a16="http://schemas.microsoft.com/office/drawing/2014/main" val="20002"/>
                    </a:ext>
                  </a:extLst>
                </a:gridCol>
                <a:gridCol w="3384376">
                  <a:extLst>
                    <a:ext uri="{9D8B030D-6E8A-4147-A177-3AD203B41FA5}">
                      <a16:colId xmlns:a16="http://schemas.microsoft.com/office/drawing/2014/main" val="20003"/>
                    </a:ext>
                  </a:extLst>
                </a:gridCol>
              </a:tblGrid>
              <a:tr h="148505">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シンガポール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6856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a:solidFill>
                            <a:schemeClr val="tx1"/>
                          </a:solidFill>
                          <a:latin typeface="Arial" panose="020B0604020202020204" pitchFamily="34" charset="0"/>
                          <a:ea typeface="HGP創英角ｺﾞｼｯｸUB" pitchFamily="50" charset="-128"/>
                          <a:cs typeface="Arial" panose="020B0604020202020204" pitchFamily="34" charset="0"/>
                        </a:rPr>
                        <a:t>Mindray</a:t>
                      </a: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患者モニタリング・生命維持装置、体外診断用医薬品、画像診断装置</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dicare</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等のディストリビューターを活用。</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dicare</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シンガポールの</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以上の病院に対し、血管科、救急科、麻酔科など幅広い病院部門へ</a:t>
                      </a:r>
                      <a:r>
                        <a:rPr kumimoji="1" lang="en-US" altLang="ja-JP" sz="8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inray</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診断用超音波の導入を支援。</a:t>
                      </a:r>
                      <a:endParaRPr kumimoji="1" lang="en-US" altLang="ja-JP" sz="8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Zhuhai</a:t>
                      </a:r>
                      <a:r>
                        <a:rPr kumimoji="1" lang="ja-JP" alt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 </a:t>
                      </a: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Hokai</a:t>
                      </a:r>
                      <a:endPar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ハビリテーション機器、画像処理システム、低侵襲性腫瘍治療機器</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dico</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シンガポールにおける</a:t>
                      </a:r>
                      <a:r>
                        <a:rPr kumimoji="1" lang="en-US" altLang="ja-JP" sz="8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Yuwell</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ライセンス・正規販売店</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ホームヘルスケア製品を専門とする</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4842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a:solidFill>
                            <a:schemeClr val="tx1"/>
                          </a:solidFill>
                          <a:latin typeface="Arial" panose="020B0604020202020204" pitchFamily="34" charset="0"/>
                          <a:ea typeface="HGP創英角ｺﾞｼｯｸUB" pitchFamily="50" charset="-128"/>
                          <a:cs typeface="Arial" panose="020B0604020202020204" pitchFamily="34" charset="0"/>
                        </a:rPr>
                        <a:t>Shinva</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検査装置、放射線治療装置、デジタル診断装置、手術用具</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Shinva</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medical instruments</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シンガポールでのプレゼンスについての情報は見つけられなかった。</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44842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a:solidFill>
                            <a:schemeClr val="tx1"/>
                          </a:solidFill>
                          <a:latin typeface="Arial" panose="020B0604020202020204" pitchFamily="34" charset="0"/>
                          <a:ea typeface="HGP創英角ｺﾞｼｯｸUB" pitchFamily="50" charset="-128"/>
                          <a:cs typeface="Arial" panose="020B0604020202020204" pitchFamily="34" charset="0"/>
                        </a:rPr>
                        <a:t>Yuwell</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呼吸器系、血圧計、体温計、酸素濃度系、血糖値測定器</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一部の</a:t>
                      </a:r>
                      <a:r>
                        <a:rPr kumimoji="1" lang="en-US" altLang="ja-JP" sz="8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Yuwell</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製品</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血圧計、吸引機、酸素濃縮器等</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シンガポールの</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C</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プラットフォーム</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hop I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上で購入可能。</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44842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BGI</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遺伝子検査製品</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BGI Group</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はシンガポールにオフィスまたはラボを持つ</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ジア太平洋地域の地域本部は香港</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はシンガポールに本社を持つバイオテクノロジー企業</a:t>
                      </a:r>
                      <a:r>
                        <a:rPr kumimoji="1" lang="en-US" altLang="ja-JP" sz="8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iRXES</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協力して、東南アジアをリードする</a:t>
                      </a:r>
                      <a:r>
                        <a:rPr kumimoji="1" lang="en-US" altLang="ja-JP" sz="8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genemoics</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platform</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構築することを表明している。</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56458" y="6525344"/>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ウェブサイ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dicar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ウェブサイ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dic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ウェブサイト、</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MiRXES</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newsroom (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記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
        <p:nvSpPr>
          <p:cNvPr id="17" name="Rectangle 6">
            <a:extLst>
              <a:ext uri="{FF2B5EF4-FFF2-40B4-BE49-F238E27FC236}">
                <a16:creationId xmlns:a16="http://schemas.microsoft.com/office/drawing/2014/main" id="{A0B73A04-4816-4C4C-8234-7F1C3C2567E5}"/>
              </a:ext>
            </a:extLst>
          </p:cNvPr>
          <p:cNvSpPr>
            <a:spLocks noChangeArrowheads="1"/>
          </p:cNvSpPr>
          <p:nvPr/>
        </p:nvSpPr>
        <p:spPr bwMode="auto">
          <a:xfrm>
            <a:off x="225911" y="2270683"/>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中国系外資メーカーの現況</a:t>
            </a:r>
          </a:p>
        </p:txBody>
      </p:sp>
      <p:sp>
        <p:nvSpPr>
          <p:cNvPr id="12" name="Circle: Hollow 11">
            <a:extLst>
              <a:ext uri="{FF2B5EF4-FFF2-40B4-BE49-F238E27FC236}">
                <a16:creationId xmlns:a16="http://schemas.microsoft.com/office/drawing/2014/main" id="{91E229AF-FCEC-4720-93A5-94247990E764}"/>
              </a:ext>
            </a:extLst>
          </p:cNvPr>
          <p:cNvSpPr/>
          <p:nvPr/>
        </p:nvSpPr>
        <p:spPr>
          <a:xfrm>
            <a:off x="4186351" y="5205156"/>
            <a:ext cx="432048" cy="437327"/>
          </a:xfrm>
          <a:prstGeom prst="donut">
            <a:avLst/>
          </a:prstGeom>
          <a:solidFill>
            <a:srgbClr val="A2BBDC"/>
          </a:solidFill>
        </p:spPr>
        <p:txBody>
          <a:bodyPr wrap="square" rtlCol="0" anchor="ctr">
            <a:noAutofit/>
          </a:bodyPr>
          <a:lstStyle/>
          <a:p>
            <a:pPr marL="0" algn="ctr" fontAlgn="ctr">
              <a:lnSpc>
                <a:spcPct val="114000"/>
              </a:lnSpc>
              <a:spcAft>
                <a:spcPts val="400"/>
              </a:spcAft>
            </a:pPr>
            <a:endParaRPr kumimoji="1" lang="en-US" sz="1100" dirty="0"/>
          </a:p>
        </p:txBody>
      </p:sp>
      <p:sp>
        <p:nvSpPr>
          <p:cNvPr id="13" name="テキスト ボックス 3">
            <a:extLst>
              <a:ext uri="{FF2B5EF4-FFF2-40B4-BE49-F238E27FC236}">
                <a16:creationId xmlns:a16="http://schemas.microsoft.com/office/drawing/2014/main" id="{2680C600-D6B7-46B6-AF0C-103A5B7D5E45}"/>
              </a:ext>
            </a:extLst>
          </p:cNvPr>
          <p:cNvSpPr txBox="1"/>
          <p:nvPr/>
        </p:nvSpPr>
        <p:spPr>
          <a:xfrm>
            <a:off x="200470" y="1056970"/>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は</a:t>
            </a:r>
            <a:r>
              <a:rPr lang="ja-JP" altLang="en-US" sz="1400" b="0" i="0" dirty="0">
                <a:solidFill>
                  <a:srgbClr val="000000"/>
                </a:solidFill>
                <a:effectLst/>
                <a:latin typeface="ヒラギノ角ゴ Pro W3"/>
              </a:rPr>
              <a:t>知識集約型経済構造の確立を目指し、医療技術や医薬品・バイオテクノロジー等含む、高度技術を活用するいくつかの分野において税制優遇措置等を通じた外資奨励を行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多くの欧米医療機器メーカーはアジア太平洋地域の地域本部としてシンガポール拠点を設立している。一方で、中国やインドの医療機器メーカーのシンガポールにおけるプレゼンスに関する情報は極端に限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35866908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2" name="think-cell Slide" r:id="rId4" imgW="395" imgH="396" progId="TCLayout.ActiveDocument.1">
                  <p:embed/>
                </p:oleObj>
              </mc:Choice>
              <mc:Fallback>
                <p:oleObj name="think-cell Slide" r:id="rId4"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療機器</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日本企業以外）</a:t>
            </a:r>
            <a:r>
              <a:rPr lang="en-US" altLang="ja-JP" dirty="0"/>
              <a:t>(3/3)</a:t>
            </a:r>
            <a:endParaRPr lang="ja-JP" altLang="en-US" dirty="0"/>
          </a:p>
        </p:txBody>
      </p:sp>
      <p:graphicFrame>
        <p:nvGraphicFramePr>
          <p:cNvPr id="5" name="表 4"/>
          <p:cNvGraphicFramePr>
            <a:graphicFrameLocks noGrp="1"/>
          </p:cNvGraphicFramePr>
          <p:nvPr/>
        </p:nvGraphicFramePr>
        <p:xfrm>
          <a:off x="213190" y="2636912"/>
          <a:ext cx="9276314" cy="2842160"/>
        </p:xfrm>
        <a:graphic>
          <a:graphicData uri="http://schemas.openxmlformats.org/drawingml/2006/table">
            <a:tbl>
              <a:tblPr firstRow="1" bandRow="1">
                <a:tableStyleId>{5C22544A-7EE6-4342-B048-85BDC9FD1C3A}</a:tableStyleId>
              </a:tblPr>
              <a:tblGrid>
                <a:gridCol w="1791336">
                  <a:extLst>
                    <a:ext uri="{9D8B030D-6E8A-4147-A177-3AD203B41FA5}">
                      <a16:colId xmlns:a16="http://schemas.microsoft.com/office/drawing/2014/main" val="20000"/>
                    </a:ext>
                  </a:extLst>
                </a:gridCol>
                <a:gridCol w="1555051">
                  <a:extLst>
                    <a:ext uri="{9D8B030D-6E8A-4147-A177-3AD203B41FA5}">
                      <a16:colId xmlns:a16="http://schemas.microsoft.com/office/drawing/2014/main" val="20001"/>
                    </a:ext>
                  </a:extLst>
                </a:gridCol>
                <a:gridCol w="1555051">
                  <a:extLst>
                    <a:ext uri="{9D8B030D-6E8A-4147-A177-3AD203B41FA5}">
                      <a16:colId xmlns:a16="http://schemas.microsoft.com/office/drawing/2014/main" val="2407660883"/>
                    </a:ext>
                  </a:extLst>
                </a:gridCol>
                <a:gridCol w="990500">
                  <a:extLst>
                    <a:ext uri="{9D8B030D-6E8A-4147-A177-3AD203B41FA5}">
                      <a16:colId xmlns:a16="http://schemas.microsoft.com/office/drawing/2014/main" val="20002"/>
                    </a:ext>
                  </a:extLst>
                </a:gridCol>
                <a:gridCol w="3384376">
                  <a:extLst>
                    <a:ext uri="{9D8B030D-6E8A-4147-A177-3AD203B41FA5}">
                      <a16:colId xmlns:a16="http://schemas.microsoft.com/office/drawing/2014/main" val="20003"/>
                    </a:ext>
                  </a:extLst>
                </a:gridCol>
              </a:tblGrid>
              <a:tr h="148505">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疾病領域・製品　</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非網羅的</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シンガポールオフィス</a:t>
                      </a:r>
                      <a:endPar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の有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6856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Anand </a:t>
                      </a: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Medicaids</a:t>
                      </a:r>
                      <a:endPar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CN"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用吸引装置</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nand </a:t>
                      </a:r>
                      <a:r>
                        <a:rPr kumimoji="1" lang="en-US" altLang="ja-JP" sz="8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edicaids</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シンガポールでのプレゼンスについての情報は見つけられなかった。</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Hindustan Syringes And Medical Device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zh-TW"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手術</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器具</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針・注射器等</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industan Syringes And Medical Devices</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シンガポールでのプレゼンスについての情報は見つけられなかった。</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4842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Opto</a:t>
                      </a: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 Circuit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患者モニタリング装置、呼吸器・麻酔器、循環器系製品</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テーテル・除細動機等</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Opto</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Circuits</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シンガポールでのプレゼンスについての情報は見つけられなかった。</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44842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Poly </a:t>
                      </a: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Medicure</a:t>
                      </a:r>
                      <a:endPar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使い捨て医療機器</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注入療法、麻酔、泌尿器血液管理、消化器、外科向け等</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b="0" kern="1200" dirty="0">
                          <a:solidFill>
                            <a:schemeClr val="tx1"/>
                          </a:solidFill>
                          <a:latin typeface="Arial" panose="020B0604020202020204" pitchFamily="34" charset="0"/>
                          <a:ea typeface="HGP創英角ｺﾞｼｯｸUB" pitchFamily="50" charset="-128"/>
                          <a:cs typeface="Arial" panose="020B0604020202020204" pitchFamily="34" charset="0"/>
                        </a:rPr>
                        <a:t>Poly </a:t>
                      </a:r>
                      <a:r>
                        <a:rPr kumimoji="1" lang="en-US" altLang="ja-JP" sz="800" b="0" kern="1200" dirty="0" err="1">
                          <a:solidFill>
                            <a:schemeClr val="tx1"/>
                          </a:solidFill>
                          <a:latin typeface="Arial" panose="020B0604020202020204" pitchFamily="34" charset="0"/>
                          <a:ea typeface="HGP創英角ｺﾞｼｯｸUB" pitchFamily="50" charset="-128"/>
                          <a:cs typeface="Arial" panose="020B0604020202020204" pitchFamily="34" charset="0"/>
                        </a:rPr>
                        <a:t>Medicure</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シンガポールでのプレゼンスについての情報は見つけられなかった。</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3228602"/>
                  </a:ext>
                </a:extLst>
              </a:tr>
              <a:tr h="44842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sz="1100" b="1" kern="1200" dirty="0" err="1">
                          <a:solidFill>
                            <a:schemeClr val="tx1"/>
                          </a:solidFill>
                          <a:latin typeface="Arial" panose="020B0604020202020204" pitchFamily="34" charset="0"/>
                          <a:ea typeface="HGP創英角ｺﾞｼｯｸUB" pitchFamily="50" charset="-128"/>
                          <a:cs typeface="Arial" panose="020B0604020202020204" pitchFamily="34" charset="0"/>
                        </a:rPr>
                        <a:t>Sahajanand</a:t>
                      </a:r>
                      <a:r>
                        <a:rPr kumimoji="1" lang="en-US" sz="1100" b="1" kern="1200" dirty="0">
                          <a:solidFill>
                            <a:schemeClr val="tx1"/>
                          </a:solidFill>
                          <a:latin typeface="Arial" panose="020B0604020202020204" pitchFamily="34" charset="0"/>
                          <a:ea typeface="HGP創英角ｺﾞｼｯｸUB" pitchFamily="50" charset="-128"/>
                          <a:cs typeface="Arial" panose="020B0604020202020204" pitchFamily="34" charset="0"/>
                        </a:rPr>
                        <a:t> Medical Technologies</a:t>
                      </a:r>
                    </a:p>
                  </a:txBody>
                  <a:tcPr marL="0" marR="0" marT="0" marB="0"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系</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テーテル等</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488" marR="0" lvl="0" indent="-90488"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Char char="•"/>
                        <a:tabLst/>
                        <a:defRPr/>
                      </a:pPr>
                      <a:r>
                        <a:rPr kumimoji="1" lang="en-US" altLang="ja-JP" sz="800" b="0" kern="1200" dirty="0" err="1">
                          <a:solidFill>
                            <a:schemeClr val="tx1"/>
                          </a:solidFill>
                          <a:latin typeface="Arial" panose="020B0604020202020204" pitchFamily="34" charset="0"/>
                          <a:ea typeface="HGP創英角ｺﾞｼｯｸUB" pitchFamily="50" charset="-128"/>
                          <a:cs typeface="Arial" panose="020B0604020202020204" pitchFamily="34" charset="0"/>
                        </a:rPr>
                        <a:t>Sahajanand</a:t>
                      </a:r>
                      <a:r>
                        <a:rPr kumimoji="1" lang="en-US" altLang="ja-JP" sz="800" b="0" kern="1200" dirty="0">
                          <a:solidFill>
                            <a:schemeClr val="tx1"/>
                          </a:solidFill>
                          <a:latin typeface="Arial" panose="020B0604020202020204" pitchFamily="34" charset="0"/>
                          <a:ea typeface="HGP創英角ｺﾞｼｯｸUB" pitchFamily="50" charset="-128"/>
                          <a:cs typeface="Arial" panose="020B0604020202020204" pitchFamily="34" charset="0"/>
                        </a:rPr>
                        <a:t> Medical Technologies</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シンガポールでのプレゼンスについての情報は見つけられなかった。</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34912326"/>
                  </a:ext>
                </a:extLst>
              </a:tr>
            </a:tbl>
          </a:graphicData>
        </a:graphic>
      </p:graphicFrame>
      <p:sp>
        <p:nvSpPr>
          <p:cNvPr id="6" name="テキスト ボックス 5"/>
          <p:cNvSpPr txBox="1"/>
          <p:nvPr/>
        </p:nvSpPr>
        <p:spPr>
          <a:xfrm>
            <a:off x="56458" y="6525344"/>
            <a:ext cx="9433046" cy="12311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ウェブサイト</a:t>
            </a:r>
            <a:endParaRPr kumimoji="0" lang="ja-JP" altLang="en-US" sz="800" dirty="0" bmk=""/>
          </a:p>
        </p:txBody>
      </p:sp>
      <p:sp>
        <p:nvSpPr>
          <p:cNvPr id="17" name="Rectangle 6">
            <a:extLst>
              <a:ext uri="{FF2B5EF4-FFF2-40B4-BE49-F238E27FC236}">
                <a16:creationId xmlns:a16="http://schemas.microsoft.com/office/drawing/2014/main" id="{A0B73A04-4816-4C4C-8234-7F1C3C2567E5}"/>
              </a:ext>
            </a:extLst>
          </p:cNvPr>
          <p:cNvSpPr>
            <a:spLocks noChangeArrowheads="1"/>
          </p:cNvSpPr>
          <p:nvPr/>
        </p:nvSpPr>
        <p:spPr bwMode="auto">
          <a:xfrm>
            <a:off x="225911" y="2270683"/>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インド系外資メーカーの現況</a:t>
            </a:r>
          </a:p>
        </p:txBody>
      </p:sp>
      <p:sp>
        <p:nvSpPr>
          <p:cNvPr id="12" name="テキスト ボックス 3">
            <a:extLst>
              <a:ext uri="{FF2B5EF4-FFF2-40B4-BE49-F238E27FC236}">
                <a16:creationId xmlns:a16="http://schemas.microsoft.com/office/drawing/2014/main" id="{FEA28477-9846-4793-959C-B0890F850234}"/>
              </a:ext>
            </a:extLst>
          </p:cNvPr>
          <p:cNvSpPr txBox="1"/>
          <p:nvPr/>
        </p:nvSpPr>
        <p:spPr>
          <a:xfrm>
            <a:off x="200470" y="1056970"/>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は</a:t>
            </a:r>
            <a:r>
              <a:rPr lang="ja-JP" altLang="en-US" sz="1400" b="0" i="0" dirty="0">
                <a:solidFill>
                  <a:srgbClr val="000000"/>
                </a:solidFill>
                <a:effectLst/>
                <a:latin typeface="ヒラギノ角ゴ Pro W3"/>
              </a:rPr>
              <a:t>知識集約型経済構造の確立を目指し、医療技術や医薬品・バイオテクノロジー等含む、高度技術を活用するいくつかの分野において税制優遇措置等を通じた外資奨励を行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多くの欧米医療機器メーカーはアジア太平洋地域の地域本部としてシンガポール拠点を設立している。一方で、中国やインドの医療機器メーカーのシンガポールにおけるプレゼンスに関する情報は極端に限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74358068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06" name="think-cell Slide" r:id="rId44" imgW="360" imgH="360" progId="TCLayout.ActiveDocument.1">
                  <p:embed/>
                </p:oleObj>
              </mc:Choice>
              <mc:Fallback>
                <p:oleObj name="think-cell Slide" r:id="rId44" imgW="360" imgH="360" progId="TCLayout.ActiveDocument.1">
                  <p:embed/>
                  <p:pic>
                    <p:nvPicPr>
                      <p:cNvPr id="4" name="Object 3" hidden="1"/>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55" name="Chart 54">
            <a:extLst>
              <a:ext uri="{FF2B5EF4-FFF2-40B4-BE49-F238E27FC236}">
                <a16:creationId xmlns:a16="http://schemas.microsoft.com/office/drawing/2014/main" id="{724A5D0D-C678-43D1-8A58-5AAEFE01FBD5}"/>
              </a:ext>
            </a:extLst>
          </p:cNvPr>
          <p:cNvGraphicFramePr/>
          <p:nvPr>
            <p:custDataLst>
              <p:tags r:id="rId4"/>
            </p:custDataLst>
          </p:nvPr>
        </p:nvGraphicFramePr>
        <p:xfrm>
          <a:off x="438150" y="2554288"/>
          <a:ext cx="5461000" cy="3557587"/>
        </p:xfrm>
        <a:graphic>
          <a:graphicData uri="http://schemas.openxmlformats.org/drawingml/2006/chart">
            <c:chart xmlns:c="http://schemas.openxmlformats.org/drawingml/2006/chart" xmlns:r="http://schemas.openxmlformats.org/officeDocument/2006/relationships" r:id="rId46"/>
          </a:graphicData>
        </a:graphic>
      </p:graphicFrame>
      <p:sp>
        <p:nvSpPr>
          <p:cNvPr id="119" name="テキスト プレースホルダ 9">
            <a:extLst>
              <a:ext uri="{FF2B5EF4-FFF2-40B4-BE49-F238E27FC236}">
                <a16:creationId xmlns:a16="http://schemas.microsoft.com/office/drawing/2014/main" id="{21D92725-0035-4118-A3A1-A8A837C872D9}"/>
              </a:ext>
            </a:extLst>
          </p:cNvPr>
          <p:cNvSpPr>
            <a:spLocks noGrp="1"/>
          </p:cNvSpPr>
          <p:nvPr>
            <p:custDataLst>
              <p:tags r:id="rId5"/>
            </p:custDataLst>
          </p:nvPr>
        </p:nvSpPr>
        <p:spPr bwMode="gray">
          <a:xfrm>
            <a:off x="252413" y="50276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F184CA6-5FAD-4267-AED0-51FE43985374}" type="datetime'''''''''''''''''''''''''''''''''''''''3''''''''0'''">
              <a:rPr lang="en-US" altLang="en-US" sz="1000" smtClean="0"/>
              <a:pPr/>
              <a:t>30</a:t>
            </a:fld>
            <a:endParaRPr lang="ja-JP" altLang="en-US" sz="1000" dirty="0">
              <a:sym typeface="+mn-lt"/>
            </a:endParaRPr>
          </a:p>
        </p:txBody>
      </p:sp>
      <p:sp>
        <p:nvSpPr>
          <p:cNvPr id="117" name="テキスト プレースホルダ 9">
            <a:extLst>
              <a:ext uri="{FF2B5EF4-FFF2-40B4-BE49-F238E27FC236}">
                <a16:creationId xmlns:a16="http://schemas.microsoft.com/office/drawing/2014/main" id="{84CA957C-63EE-49B6-ADFA-60BEA410381E}"/>
              </a:ext>
            </a:extLst>
          </p:cNvPr>
          <p:cNvSpPr>
            <a:spLocks noGrp="1"/>
          </p:cNvSpPr>
          <p:nvPr>
            <p:custDataLst>
              <p:tags r:id="rId6"/>
            </p:custDataLst>
          </p:nvPr>
        </p:nvSpPr>
        <p:spPr bwMode="gray">
          <a:xfrm>
            <a:off x="252413" y="56451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8E18C0E-FDF2-4E42-8278-835682DCAD78}" type="datetime'''''''''''1''''''''''''''''''0'">
              <a:rPr lang="en-US" altLang="en-US" sz="1000" smtClean="0"/>
              <a:pPr/>
              <a:t>10</a:t>
            </a:fld>
            <a:endParaRPr lang="ja-JP" altLang="en-US" sz="1000" dirty="0">
              <a:sym typeface="+mn-lt"/>
            </a:endParaRPr>
          </a:p>
        </p:txBody>
      </p:sp>
      <p:sp>
        <p:nvSpPr>
          <p:cNvPr id="116" name="テキスト プレースホルダ 9">
            <a:extLst>
              <a:ext uri="{FF2B5EF4-FFF2-40B4-BE49-F238E27FC236}">
                <a16:creationId xmlns:a16="http://schemas.microsoft.com/office/drawing/2014/main" id="{1EB9F2CD-7078-4B21-901D-549E3E739873}"/>
              </a:ext>
            </a:extLst>
          </p:cNvPr>
          <p:cNvSpPr>
            <a:spLocks noGrp="1"/>
          </p:cNvSpPr>
          <p:nvPr>
            <p:custDataLst>
              <p:tags r:id="rId7"/>
            </p:custDataLst>
          </p:nvPr>
        </p:nvSpPr>
        <p:spPr bwMode="gray">
          <a:xfrm>
            <a:off x="322263" y="59531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82CB36C-8355-4D88-BF6B-A56116A84DAE}" type="datetime'''''''''''''''''''''''''''''''''''''''''''0'''''''''">
              <a:rPr lang="en-US" altLang="en-US" sz="1000" smtClean="0"/>
              <a:pPr/>
              <a:t>0</a:t>
            </a:fld>
            <a:endParaRPr lang="ja-JP" altLang="en-US" sz="1000" dirty="0">
              <a:sym typeface="+mn-lt"/>
            </a:endParaRPr>
          </a:p>
        </p:txBody>
      </p:sp>
      <p:sp>
        <p:nvSpPr>
          <p:cNvPr id="121" name="テキスト プレースホルダ 9">
            <a:extLst>
              <a:ext uri="{FF2B5EF4-FFF2-40B4-BE49-F238E27FC236}">
                <a16:creationId xmlns:a16="http://schemas.microsoft.com/office/drawing/2014/main" id="{A6F46DDF-09DD-45A7-ADFD-3970AEC622E6}"/>
              </a:ext>
            </a:extLst>
          </p:cNvPr>
          <p:cNvSpPr>
            <a:spLocks noGrp="1"/>
          </p:cNvSpPr>
          <p:nvPr>
            <p:custDataLst>
              <p:tags r:id="rId8"/>
            </p:custDataLst>
          </p:nvPr>
        </p:nvSpPr>
        <p:spPr bwMode="gray">
          <a:xfrm>
            <a:off x="252413" y="44116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F420B99-5B23-41C5-A2B0-8DB00F8421D1}" type="datetime'''''''''''''''''''''''''''''''''5''''''''0'''">
              <a:rPr lang="en-US" altLang="en-US" sz="1000" smtClean="0"/>
              <a:pPr/>
              <a:t>50</a:t>
            </a:fld>
            <a:endParaRPr lang="ja-JP" altLang="en-US" sz="1000" dirty="0">
              <a:sym typeface="+mn-lt"/>
            </a:endParaRPr>
          </a:p>
        </p:txBody>
      </p:sp>
      <p:sp>
        <p:nvSpPr>
          <p:cNvPr id="118" name="テキスト プレースホルダ 9">
            <a:extLst>
              <a:ext uri="{FF2B5EF4-FFF2-40B4-BE49-F238E27FC236}">
                <a16:creationId xmlns:a16="http://schemas.microsoft.com/office/drawing/2014/main" id="{434F3C06-7F1F-400B-A7DB-DB97078F9BD4}"/>
              </a:ext>
            </a:extLst>
          </p:cNvPr>
          <p:cNvSpPr>
            <a:spLocks noGrp="1"/>
          </p:cNvSpPr>
          <p:nvPr>
            <p:custDataLst>
              <p:tags r:id="rId9"/>
            </p:custDataLst>
          </p:nvPr>
        </p:nvSpPr>
        <p:spPr bwMode="gray">
          <a:xfrm>
            <a:off x="252413" y="53371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AD31305-CED1-4401-805E-D05E3B2FD218}" type="datetime'''''''''''''''''''''2''''''''''''''''''''''0'''''''''">
              <a:rPr lang="en-US" altLang="en-US" sz="1000" smtClean="0"/>
              <a:pPr/>
              <a:t>20</a:t>
            </a:fld>
            <a:endParaRPr lang="ja-JP" altLang="en-US" sz="1000" dirty="0">
              <a:sym typeface="+mn-lt"/>
            </a:endParaRPr>
          </a:p>
        </p:txBody>
      </p:sp>
      <p:sp>
        <p:nvSpPr>
          <p:cNvPr id="120" name="テキスト プレースホルダ 9">
            <a:extLst>
              <a:ext uri="{FF2B5EF4-FFF2-40B4-BE49-F238E27FC236}">
                <a16:creationId xmlns:a16="http://schemas.microsoft.com/office/drawing/2014/main" id="{85BD81F3-928E-4770-8EE5-4176E5EAB531}"/>
              </a:ext>
            </a:extLst>
          </p:cNvPr>
          <p:cNvSpPr>
            <a:spLocks noGrp="1"/>
          </p:cNvSpPr>
          <p:nvPr>
            <p:custDataLst>
              <p:tags r:id="rId10"/>
            </p:custDataLst>
          </p:nvPr>
        </p:nvSpPr>
        <p:spPr bwMode="gray">
          <a:xfrm>
            <a:off x="252413" y="47196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7AA70ED-D9F3-406A-9A43-B8C5F6E82689}" type="datetime'''''''''''''''''''4''''''''''''0'''''''''''''">
              <a:rPr lang="en-US" altLang="en-US" sz="1000" smtClean="0"/>
              <a:pPr/>
              <a:t>40</a:t>
            </a:fld>
            <a:endParaRPr lang="ja-JP" altLang="en-US" sz="1000" dirty="0">
              <a:sym typeface="+mn-lt"/>
            </a:endParaRPr>
          </a:p>
        </p:txBody>
      </p:sp>
      <p:sp>
        <p:nvSpPr>
          <p:cNvPr id="122" name="テキスト プレースホルダ 9">
            <a:extLst>
              <a:ext uri="{FF2B5EF4-FFF2-40B4-BE49-F238E27FC236}">
                <a16:creationId xmlns:a16="http://schemas.microsoft.com/office/drawing/2014/main" id="{349B9EE3-D596-44A4-B57D-64AB91DD7937}"/>
              </a:ext>
            </a:extLst>
          </p:cNvPr>
          <p:cNvSpPr>
            <a:spLocks noGrp="1"/>
          </p:cNvSpPr>
          <p:nvPr>
            <p:custDataLst>
              <p:tags r:id="rId11"/>
            </p:custDataLst>
          </p:nvPr>
        </p:nvSpPr>
        <p:spPr bwMode="gray">
          <a:xfrm>
            <a:off x="252413" y="41036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39E3932-503D-444D-AADC-9DDF2A8D8806}" type="datetime'''''6''0'''''''''''">
              <a:rPr lang="en-US" altLang="en-US" sz="1000" smtClean="0"/>
              <a:pPr/>
              <a:t>60</a:t>
            </a:fld>
            <a:endParaRPr lang="ja-JP" altLang="en-US" sz="1000" dirty="0">
              <a:sym typeface="+mn-lt"/>
            </a:endParaRPr>
          </a:p>
        </p:txBody>
      </p:sp>
      <p:sp>
        <p:nvSpPr>
          <p:cNvPr id="123" name="テキスト プレースホルダ 9">
            <a:extLst>
              <a:ext uri="{FF2B5EF4-FFF2-40B4-BE49-F238E27FC236}">
                <a16:creationId xmlns:a16="http://schemas.microsoft.com/office/drawing/2014/main" id="{BFF529C5-CC93-463B-AFBC-4FEBF4D4D439}"/>
              </a:ext>
            </a:extLst>
          </p:cNvPr>
          <p:cNvSpPr>
            <a:spLocks noGrp="1"/>
          </p:cNvSpPr>
          <p:nvPr>
            <p:custDataLst>
              <p:tags r:id="rId12"/>
            </p:custDataLst>
          </p:nvPr>
        </p:nvSpPr>
        <p:spPr bwMode="gray">
          <a:xfrm>
            <a:off x="252413" y="37941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D88DE8F-F7B9-4424-880A-FDB2B523DAD7}" type="datetime'''''''''''7''0'''''''''''''''''''''''''''''''">
              <a:rPr lang="en-US" altLang="en-US" sz="1000" smtClean="0"/>
              <a:pPr/>
              <a:t>70</a:t>
            </a:fld>
            <a:endParaRPr lang="ja-JP" altLang="en-US" sz="1000" dirty="0">
              <a:sym typeface="+mn-lt"/>
            </a:endParaRPr>
          </a:p>
        </p:txBody>
      </p:sp>
      <p:sp>
        <p:nvSpPr>
          <p:cNvPr id="124" name="テキスト プレースホルダ 9">
            <a:extLst>
              <a:ext uri="{FF2B5EF4-FFF2-40B4-BE49-F238E27FC236}">
                <a16:creationId xmlns:a16="http://schemas.microsoft.com/office/drawing/2014/main" id="{A558BBAB-48BE-40CB-93F9-DE6B1981662A}"/>
              </a:ext>
            </a:extLst>
          </p:cNvPr>
          <p:cNvSpPr>
            <a:spLocks noGrp="1"/>
          </p:cNvSpPr>
          <p:nvPr>
            <p:custDataLst>
              <p:tags r:id="rId13"/>
            </p:custDataLst>
          </p:nvPr>
        </p:nvSpPr>
        <p:spPr bwMode="gray">
          <a:xfrm>
            <a:off x="252413" y="34861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CE1C968-D78D-45E4-B66A-3B879F5EA4CE}" type="datetime'''''''''''''''8''''''''''''0'''''''''''''''''''">
              <a:rPr lang="en-US" altLang="en-US" sz="1000" smtClean="0"/>
              <a:pPr/>
              <a:t>80</a:t>
            </a:fld>
            <a:endParaRPr lang="ja-JP" altLang="en-US" sz="1000" dirty="0">
              <a:sym typeface="+mn-lt"/>
            </a:endParaRPr>
          </a:p>
        </p:txBody>
      </p:sp>
      <p:sp>
        <p:nvSpPr>
          <p:cNvPr id="125" name="テキスト プレースホルダ 9">
            <a:extLst>
              <a:ext uri="{FF2B5EF4-FFF2-40B4-BE49-F238E27FC236}">
                <a16:creationId xmlns:a16="http://schemas.microsoft.com/office/drawing/2014/main" id="{979192B6-622A-4390-8B56-D42A1E2E1748}"/>
              </a:ext>
            </a:extLst>
          </p:cNvPr>
          <p:cNvSpPr>
            <a:spLocks noGrp="1"/>
          </p:cNvSpPr>
          <p:nvPr>
            <p:custDataLst>
              <p:tags r:id="rId14"/>
            </p:custDataLst>
          </p:nvPr>
        </p:nvSpPr>
        <p:spPr bwMode="gray">
          <a:xfrm>
            <a:off x="252413" y="31781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D55041C-496F-4523-8D2F-04E5E76CB403}" type="datetime'''''''''9''''''''''''''''''''''''''''''''''''''''''''0'''''">
              <a:rPr lang="en-US" altLang="en-US" sz="1000" smtClean="0"/>
              <a:pPr/>
              <a:t>90</a:t>
            </a:fld>
            <a:endParaRPr lang="ja-JP" altLang="en-US" sz="1000" dirty="0">
              <a:sym typeface="+mn-lt"/>
            </a:endParaRPr>
          </a:p>
        </p:txBody>
      </p:sp>
      <p:sp>
        <p:nvSpPr>
          <p:cNvPr id="126" name="テキスト プレースホルダ 9">
            <a:extLst>
              <a:ext uri="{FF2B5EF4-FFF2-40B4-BE49-F238E27FC236}">
                <a16:creationId xmlns:a16="http://schemas.microsoft.com/office/drawing/2014/main" id="{74501668-1A6D-4696-8919-506B6EC4A0AB}"/>
              </a:ext>
            </a:extLst>
          </p:cNvPr>
          <p:cNvSpPr>
            <a:spLocks noGrp="1"/>
          </p:cNvSpPr>
          <p:nvPr>
            <p:custDataLst>
              <p:tags r:id="rId15"/>
            </p:custDataLst>
          </p:nvPr>
        </p:nvSpPr>
        <p:spPr bwMode="gray">
          <a:xfrm>
            <a:off x="182563" y="28686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C161C9A-F1AF-4F6F-B5FB-82AA9CED165C}" type="datetime'''''''''''''''''''''''''''''''''''''''''10''''''''0'''''''''">
              <a:rPr lang="en-US" altLang="en-US" sz="1000" smtClean="0"/>
              <a:pPr/>
              <a:t>100</a:t>
            </a:fld>
            <a:endParaRPr lang="ja-JP" altLang="en-US" sz="1000" dirty="0">
              <a:sym typeface="+mn-lt"/>
            </a:endParaRPr>
          </a:p>
        </p:txBody>
      </p:sp>
      <p:sp>
        <p:nvSpPr>
          <p:cNvPr id="52" name="テキスト プレースホルダ 9">
            <a:extLst>
              <a:ext uri="{FF2B5EF4-FFF2-40B4-BE49-F238E27FC236}">
                <a16:creationId xmlns:a16="http://schemas.microsoft.com/office/drawing/2014/main" id="{12E26FD7-E117-48BF-BDD9-0DC3E8A1EF17}"/>
              </a:ext>
            </a:extLst>
          </p:cNvPr>
          <p:cNvSpPr>
            <a:spLocks noGrp="1"/>
          </p:cNvSpPr>
          <p:nvPr>
            <p:custDataLst>
              <p:tags r:id="rId16"/>
            </p:custDataLst>
          </p:nvPr>
        </p:nvSpPr>
        <p:spPr bwMode="gray">
          <a:xfrm>
            <a:off x="182563" y="25606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5FFC54B-64D7-4178-951C-0551FFC1A6C1}" type="datetime'1''''''''1''''''''0'''''''''">
              <a:rPr lang="en-US" altLang="en-US" sz="1000" smtClean="0"/>
              <a:pPr/>
              <a:t>110</a:t>
            </a:fld>
            <a:endParaRPr lang="ja-JP" altLang="en-US" sz="1000" dirty="0">
              <a:sym typeface="+mn-lt"/>
            </a:endParaRPr>
          </a:p>
        </p:txBody>
      </p:sp>
      <p:sp>
        <p:nvSpPr>
          <p:cNvPr id="90" name="テキスト プレースホルダ 9">
            <a:extLst>
              <a:ext uri="{FF2B5EF4-FFF2-40B4-BE49-F238E27FC236}">
                <a16:creationId xmlns:a16="http://schemas.microsoft.com/office/drawing/2014/main" id="{9243AC9E-FFE5-4C09-AAB3-7D2D0F948F60}"/>
              </a:ext>
            </a:extLst>
          </p:cNvPr>
          <p:cNvSpPr>
            <a:spLocks noGrp="1"/>
          </p:cNvSpPr>
          <p:nvPr>
            <p:custDataLst>
              <p:tags r:id="rId17"/>
            </p:custDataLst>
          </p:nvPr>
        </p:nvSpPr>
        <p:spPr bwMode="gray">
          <a:xfrm>
            <a:off x="1112838" y="5081588"/>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2820C20-5663-4B4A-9745-AA79FDE9B61F}" type="datetime'''''''''''''''''''''''''''2''''''''5.''''''''0'''''">
              <a:rPr lang="en-US" altLang="en-US" sz="1000" smtClean="0">
                <a:effectLst/>
              </a:rPr>
              <a:pPr/>
              <a:t>25.0</a:t>
            </a:fld>
            <a:endParaRPr lang="ja-JP" altLang="en-US" sz="1000" dirty="0">
              <a:sym typeface="+mn-lt"/>
            </a:endParaRPr>
          </a:p>
        </p:txBody>
      </p:sp>
      <p:sp>
        <p:nvSpPr>
          <p:cNvPr id="24" name="テキスト プレースホルダ 9"/>
          <p:cNvSpPr>
            <a:spLocks noGrp="1"/>
          </p:cNvSpPr>
          <p:nvPr>
            <p:custDataLst>
              <p:tags r:id="rId18"/>
            </p:custDataLst>
          </p:nvPr>
        </p:nvSpPr>
        <p:spPr bwMode="auto">
          <a:xfrm>
            <a:off x="903288" y="61150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9930C02-EC45-4BB9-8C69-03EA6C411BCC}" type="datetime'''''''''''''''''''''''''''''''''''''2''''017'''''''''''''''''">
              <a:rPr lang="en-US" altLang="en-US" sz="1000" smtClean="0"/>
              <a:pPr/>
              <a:t>2017</a:t>
            </a:fld>
            <a:endParaRPr kumimoji="0" lang="ja-JP" altLang="en-US" sz="1000" dirty="0">
              <a:sym typeface="+mn-lt"/>
            </a:endParaRPr>
          </a:p>
        </p:txBody>
      </p:sp>
      <p:sp>
        <p:nvSpPr>
          <p:cNvPr id="23" name="テキスト プレースホルダ 9"/>
          <p:cNvSpPr>
            <a:spLocks noGrp="1"/>
          </p:cNvSpPr>
          <p:nvPr>
            <p:custDataLst>
              <p:tags r:id="rId19"/>
            </p:custDataLst>
          </p:nvPr>
        </p:nvSpPr>
        <p:spPr bwMode="auto">
          <a:xfrm>
            <a:off x="2032000" y="61150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EFE3676-7261-479C-8269-FDE0AEC741B7}" type="datetime'''''''''''''''1''''''''''''''''''''''''''''8'''''''''''''">
              <a:rPr lang="en-US" altLang="en-US" sz="1000" smtClean="0"/>
              <a:pPr/>
              <a:t>18</a:t>
            </a:fld>
            <a:endParaRPr kumimoji="0" lang="ja-JP" altLang="en-US" sz="1000" dirty="0">
              <a:sym typeface="+mn-lt"/>
            </a:endParaRPr>
          </a:p>
        </p:txBody>
      </p:sp>
      <p:sp>
        <p:nvSpPr>
          <p:cNvPr id="22" name="テキスト プレースホルダ 9"/>
          <p:cNvSpPr>
            <a:spLocks noGrp="1"/>
          </p:cNvSpPr>
          <p:nvPr>
            <p:custDataLst>
              <p:tags r:id="rId20"/>
            </p:custDataLst>
          </p:nvPr>
        </p:nvSpPr>
        <p:spPr bwMode="auto">
          <a:xfrm>
            <a:off x="3092450" y="61150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0B53578-C5F0-40F9-A094-8F9426CE4B7A}" type="datetime'''''1''''''''9'''''''''''''''''''''''''''''''''''''''''''">
              <a:rPr lang="en-US" altLang="en-US" sz="1000" smtClean="0"/>
              <a:pPr/>
              <a:t>19</a:t>
            </a:fld>
            <a:endParaRPr kumimoji="0" lang="ja-JP" altLang="en-US" sz="1000" dirty="0">
              <a:sym typeface="+mn-lt"/>
            </a:endParaRPr>
          </a:p>
        </p:txBody>
      </p:sp>
      <p:sp>
        <p:nvSpPr>
          <p:cNvPr id="21" name="テキスト プレースホルダ 9"/>
          <p:cNvSpPr>
            <a:spLocks noGrp="1"/>
          </p:cNvSpPr>
          <p:nvPr>
            <p:custDataLst>
              <p:tags r:id="rId21"/>
            </p:custDataLst>
          </p:nvPr>
        </p:nvSpPr>
        <p:spPr bwMode="auto">
          <a:xfrm>
            <a:off x="4151313" y="61150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F3F36D5-FD32-45D0-86D4-7DA72BCF1EB0}" type="datetime'2''''''''''''''''''''''''''''0'''''''''''''''''''''''">
              <a:rPr lang="en-US" altLang="en-US" sz="1000" smtClean="0"/>
              <a:pPr/>
              <a:t>20</a:t>
            </a:fld>
            <a:endParaRPr kumimoji="0" lang="ja-JP" altLang="en-US" sz="1000" dirty="0">
              <a:sym typeface="+mn-lt"/>
            </a:endParaRPr>
          </a:p>
        </p:txBody>
      </p:sp>
      <p:sp>
        <p:nvSpPr>
          <p:cNvPr id="20" name="テキスト プレースホルダ 9"/>
          <p:cNvSpPr>
            <a:spLocks noGrp="1"/>
          </p:cNvSpPr>
          <p:nvPr>
            <p:custDataLst>
              <p:tags r:id="rId22"/>
            </p:custDataLst>
          </p:nvPr>
        </p:nvSpPr>
        <p:spPr bwMode="auto">
          <a:xfrm>
            <a:off x="5210175" y="61150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7F111CE-1B03-4BD4-BCDA-DE00445098B7}" type="datetime'''''''''''2''1'''''''''''''''''''">
              <a:rPr lang="en-US" altLang="en-US" sz="1000" smtClean="0"/>
              <a:pPr/>
              <a:t>21</a:t>
            </a:fld>
            <a:endParaRPr kumimoji="0" lang="ja-JP" altLang="en-US" sz="1000" dirty="0">
              <a:sym typeface="+mn-lt"/>
            </a:endParaRPr>
          </a:p>
        </p:txBody>
      </p:sp>
      <p:sp>
        <p:nvSpPr>
          <p:cNvPr id="68" name="テキスト プレースホルダ 9">
            <a:extLst>
              <a:ext uri="{FF2B5EF4-FFF2-40B4-BE49-F238E27FC236}">
                <a16:creationId xmlns:a16="http://schemas.microsoft.com/office/drawing/2014/main" id="{041BCD6D-1879-4A65-A5AA-9211D475C4C5}"/>
              </a:ext>
            </a:extLst>
          </p:cNvPr>
          <p:cNvSpPr>
            <a:spLocks noGrp="1"/>
          </p:cNvSpPr>
          <p:nvPr>
            <p:custDataLst>
              <p:tags r:id="rId23"/>
            </p:custDataLst>
          </p:nvPr>
        </p:nvSpPr>
        <p:spPr bwMode="gray">
          <a:xfrm>
            <a:off x="704850" y="4033838"/>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DBE8696-C3DF-45F3-8BD8-84F43BBC5246}" type="datetime'''''''5''8''''''''''''''''''.''9'''''''''">
              <a:rPr lang="en-US" altLang="en-US" sz="1000" smtClean="0">
                <a:effectLst/>
              </a:rPr>
              <a:pPr/>
              <a:t>58.9</a:t>
            </a:fld>
            <a:endParaRPr lang="ja-JP" altLang="en-US" sz="1000" dirty="0">
              <a:sym typeface="+mn-lt"/>
            </a:endParaRPr>
          </a:p>
        </p:txBody>
      </p:sp>
      <p:sp>
        <p:nvSpPr>
          <p:cNvPr id="112" name="テキスト プレースホルダ 9">
            <a:extLst>
              <a:ext uri="{FF2B5EF4-FFF2-40B4-BE49-F238E27FC236}">
                <a16:creationId xmlns:a16="http://schemas.microsoft.com/office/drawing/2014/main" id="{12D6CD6E-677C-4977-BCE5-7C9A08580A3C}"/>
              </a:ext>
            </a:extLst>
          </p:cNvPr>
          <p:cNvSpPr>
            <a:spLocks noGrp="1"/>
          </p:cNvSpPr>
          <p:nvPr>
            <p:custDataLst>
              <p:tags r:id="rId24"/>
            </p:custDataLst>
          </p:nvPr>
        </p:nvSpPr>
        <p:spPr bwMode="gray">
          <a:xfrm>
            <a:off x="1763713" y="32750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4E15A28-41A5-47CB-83A7-C58A16A32929}" type="datetime'''''''''''''8''''''''3''''''.''''''''''''6'''">
              <a:rPr lang="en-US" altLang="en-US" sz="1000" smtClean="0">
                <a:effectLst/>
                <a:sym typeface="+mn-lt"/>
              </a:rPr>
              <a:pPr marL="0" indent="0" algn="ctr">
                <a:spcBef>
                  <a:spcPct val="0"/>
                </a:spcBef>
                <a:buNone/>
              </a:pPr>
              <a:t>83.6</a:t>
            </a:fld>
            <a:endParaRPr lang="ja-JP" altLang="en-US" sz="1000" dirty="0">
              <a:sym typeface="+mn-lt"/>
            </a:endParaRPr>
          </a:p>
        </p:txBody>
      </p:sp>
      <p:sp>
        <p:nvSpPr>
          <p:cNvPr id="91" name="テキスト プレースホルダ 9">
            <a:extLst>
              <a:ext uri="{FF2B5EF4-FFF2-40B4-BE49-F238E27FC236}">
                <a16:creationId xmlns:a16="http://schemas.microsoft.com/office/drawing/2014/main" id="{CC21E2B8-1E8F-403E-BC2C-6A073221A41F}"/>
              </a:ext>
            </a:extLst>
          </p:cNvPr>
          <p:cNvSpPr>
            <a:spLocks noGrp="1"/>
          </p:cNvSpPr>
          <p:nvPr>
            <p:custDataLst>
              <p:tags r:id="rId25"/>
            </p:custDataLst>
          </p:nvPr>
        </p:nvSpPr>
        <p:spPr bwMode="gray">
          <a:xfrm>
            <a:off x="2171700" y="4948238"/>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6682EAE-9B9B-4DCD-BFBD-D9D87B754862}" type="datetime'2''''''''''9''''''''''''''''''''''''''''''.''''''''''''3'''">
              <a:rPr lang="en-US" altLang="en-US" sz="1000" smtClean="0">
                <a:effectLst/>
              </a:rPr>
              <a:pPr/>
              <a:t>29.3</a:t>
            </a:fld>
            <a:endParaRPr lang="ja-JP" altLang="en-US" sz="1000" dirty="0">
              <a:sym typeface="+mn-lt"/>
            </a:endParaRPr>
          </a:p>
        </p:txBody>
      </p:sp>
      <p:sp>
        <p:nvSpPr>
          <p:cNvPr id="113" name="テキスト プレースホルダ 9">
            <a:extLst>
              <a:ext uri="{FF2B5EF4-FFF2-40B4-BE49-F238E27FC236}">
                <a16:creationId xmlns:a16="http://schemas.microsoft.com/office/drawing/2014/main" id="{35595428-9F33-4C5F-9F5E-E7DBE0B5D78D}"/>
              </a:ext>
            </a:extLst>
          </p:cNvPr>
          <p:cNvSpPr>
            <a:spLocks noGrp="1"/>
          </p:cNvSpPr>
          <p:nvPr>
            <p:custDataLst>
              <p:tags r:id="rId26"/>
            </p:custDataLst>
          </p:nvPr>
        </p:nvSpPr>
        <p:spPr bwMode="gray">
          <a:xfrm>
            <a:off x="2824163" y="33512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6CF7D3-6BF7-4058-BDE9-3F7A0270011E}" type="datetime'8''''''''''''1''''''''''''.''''''''''''''''1'">
              <a:rPr lang="en-US" altLang="en-US" sz="1000" smtClean="0">
                <a:effectLst/>
                <a:sym typeface="+mn-lt"/>
              </a:rPr>
              <a:pPr marL="0" indent="0" algn="ctr">
                <a:spcBef>
                  <a:spcPct val="0"/>
                </a:spcBef>
                <a:buNone/>
              </a:pPr>
              <a:t>81.1</a:t>
            </a:fld>
            <a:endParaRPr lang="ja-JP" altLang="en-US" sz="1000" dirty="0">
              <a:sym typeface="+mn-lt"/>
            </a:endParaRPr>
          </a:p>
        </p:txBody>
      </p:sp>
      <p:sp>
        <p:nvSpPr>
          <p:cNvPr id="92" name="テキスト プレースホルダ 9">
            <a:extLst>
              <a:ext uri="{FF2B5EF4-FFF2-40B4-BE49-F238E27FC236}">
                <a16:creationId xmlns:a16="http://schemas.microsoft.com/office/drawing/2014/main" id="{5AC9490E-D9C3-4022-BC2B-5278BC24F4A9}"/>
              </a:ext>
            </a:extLst>
          </p:cNvPr>
          <p:cNvSpPr>
            <a:spLocks noGrp="1"/>
          </p:cNvSpPr>
          <p:nvPr>
            <p:custDataLst>
              <p:tags r:id="rId27"/>
            </p:custDataLst>
          </p:nvPr>
        </p:nvSpPr>
        <p:spPr bwMode="gray">
          <a:xfrm>
            <a:off x="3232150" y="4867275"/>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1E1D766-98EC-4CCA-8E82-A0C10B954DE2}" type="datetime'3''''''''1''''''''''.''''''''''''''''9'''''">
              <a:rPr lang="en-US" altLang="en-US" sz="1000" smtClean="0">
                <a:effectLst/>
              </a:rPr>
              <a:pPr/>
              <a:t>31.9</a:t>
            </a:fld>
            <a:endParaRPr lang="ja-JP" altLang="en-US" sz="1000" dirty="0">
              <a:sym typeface="+mn-lt"/>
            </a:endParaRPr>
          </a:p>
        </p:txBody>
      </p:sp>
      <p:sp>
        <p:nvSpPr>
          <p:cNvPr id="114" name="テキスト プレースホルダ 9">
            <a:extLst>
              <a:ext uri="{FF2B5EF4-FFF2-40B4-BE49-F238E27FC236}">
                <a16:creationId xmlns:a16="http://schemas.microsoft.com/office/drawing/2014/main" id="{2EBBDAD0-17AD-4F9C-A8A8-1D40E2443B0D}"/>
              </a:ext>
            </a:extLst>
          </p:cNvPr>
          <p:cNvSpPr>
            <a:spLocks noGrp="1"/>
          </p:cNvSpPr>
          <p:nvPr>
            <p:custDataLst>
              <p:tags r:id="rId28"/>
            </p:custDataLst>
          </p:nvPr>
        </p:nvSpPr>
        <p:spPr bwMode="gray">
          <a:xfrm>
            <a:off x="3883025" y="31003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3EC07D-6153-4ED4-B1F3-5145FE3B7F96}" type="datetime'''''''''''''''89''''''''''''''''''''''''''''.''''''''2'''''">
              <a:rPr lang="en-US" altLang="en-US" sz="1000" smtClean="0">
                <a:effectLst/>
                <a:sym typeface="+mn-lt"/>
              </a:rPr>
              <a:pPr marL="0" indent="0" algn="ctr">
                <a:spcBef>
                  <a:spcPct val="0"/>
                </a:spcBef>
                <a:buNone/>
              </a:pPr>
              <a:t>89.2</a:t>
            </a:fld>
            <a:endParaRPr lang="ja-JP" altLang="en-US" sz="1000" dirty="0">
              <a:sym typeface="+mn-lt"/>
            </a:endParaRPr>
          </a:p>
        </p:txBody>
      </p:sp>
      <p:sp>
        <p:nvSpPr>
          <p:cNvPr id="93" name="テキスト プレースホルダ 9">
            <a:extLst>
              <a:ext uri="{FF2B5EF4-FFF2-40B4-BE49-F238E27FC236}">
                <a16:creationId xmlns:a16="http://schemas.microsoft.com/office/drawing/2014/main" id="{CDECC2F9-E78C-4533-BE7F-D0336E23C14C}"/>
              </a:ext>
            </a:extLst>
          </p:cNvPr>
          <p:cNvSpPr>
            <a:spLocks noGrp="1"/>
          </p:cNvSpPr>
          <p:nvPr>
            <p:custDataLst>
              <p:tags r:id="rId29"/>
            </p:custDataLst>
          </p:nvPr>
        </p:nvSpPr>
        <p:spPr bwMode="gray">
          <a:xfrm>
            <a:off x="4291013" y="4740275"/>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B13C4D6-1D49-49A5-9BDB-DDE9E68B2979}" type="datetime'3''''''6''''''''''.''0'''''''''''''''''''''''''''''''''">
              <a:rPr lang="en-US" altLang="en-US" sz="1000" smtClean="0">
                <a:effectLst/>
              </a:rPr>
              <a:pPr/>
              <a:t>36.0</a:t>
            </a:fld>
            <a:endParaRPr lang="ja-JP" altLang="en-US" sz="1000" dirty="0">
              <a:sym typeface="+mn-lt"/>
            </a:endParaRPr>
          </a:p>
        </p:txBody>
      </p:sp>
      <p:sp>
        <p:nvSpPr>
          <p:cNvPr id="115" name="テキスト プレースホルダ 9">
            <a:extLst>
              <a:ext uri="{FF2B5EF4-FFF2-40B4-BE49-F238E27FC236}">
                <a16:creationId xmlns:a16="http://schemas.microsoft.com/office/drawing/2014/main" id="{628ABD41-3F7D-46C9-9508-6C813C06AFF5}"/>
              </a:ext>
            </a:extLst>
          </p:cNvPr>
          <p:cNvSpPr>
            <a:spLocks noGrp="1"/>
          </p:cNvSpPr>
          <p:nvPr>
            <p:custDataLst>
              <p:tags r:id="rId30"/>
            </p:custDataLst>
          </p:nvPr>
        </p:nvSpPr>
        <p:spPr bwMode="gray">
          <a:xfrm>
            <a:off x="4906963" y="268605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4395025-9B09-40FC-A26B-58E9DDE7D38B}" type="datetime'1''''''''''0''''''''''''''2.''''6'''''''''''''''''''''''''''">
              <a:rPr lang="en-US" altLang="en-US" sz="1000" smtClean="0">
                <a:effectLst/>
                <a:sym typeface="+mn-lt"/>
              </a:rPr>
              <a:pPr marL="0" indent="0" algn="ctr">
                <a:spcBef>
                  <a:spcPct val="0"/>
                </a:spcBef>
                <a:buNone/>
              </a:pPr>
              <a:t>102.6</a:t>
            </a:fld>
            <a:endParaRPr lang="ja-JP" altLang="en-US" sz="1000" dirty="0">
              <a:sym typeface="+mn-lt"/>
            </a:endParaRPr>
          </a:p>
        </p:txBody>
      </p:sp>
      <p:sp>
        <p:nvSpPr>
          <p:cNvPr id="99" name="テキスト プレースホルダ 9">
            <a:extLst>
              <a:ext uri="{FF2B5EF4-FFF2-40B4-BE49-F238E27FC236}">
                <a16:creationId xmlns:a16="http://schemas.microsoft.com/office/drawing/2014/main" id="{6876A545-A039-4F34-A7B9-A3848C33AFE9}"/>
              </a:ext>
            </a:extLst>
          </p:cNvPr>
          <p:cNvSpPr>
            <a:spLocks noGrp="1"/>
          </p:cNvSpPr>
          <p:nvPr>
            <p:custDataLst>
              <p:tags r:id="rId31"/>
            </p:custDataLst>
          </p:nvPr>
        </p:nvSpPr>
        <p:spPr bwMode="gray">
          <a:xfrm>
            <a:off x="5349875" y="4478338"/>
            <a:ext cx="27940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C690564-F5BB-4984-AD20-BBB53B5CC207}" type="datetime'''''''4''''''''''''''''''4''''.''''''''''''''''''''5'">
              <a:rPr lang="en-US" altLang="en-US" sz="1000" smtClean="0">
                <a:effectLst/>
              </a:rPr>
              <a:pPr/>
              <a:t>44.5</a:t>
            </a:fld>
            <a:endParaRPr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56456" y="2420888"/>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232198" y="2766207"/>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19</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132856"/>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9" name="Rectangle 8"/>
          <p:cNvSpPr/>
          <p:nvPr>
            <p:custDataLst>
              <p:tags r:id="rId32"/>
            </p:custDataLst>
          </p:nvPr>
        </p:nvSpPr>
        <p:spPr bwMode="gray">
          <a:xfrm>
            <a:off x="1543050" y="6364288"/>
            <a:ext cx="179388" cy="133350"/>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8" name="Rectangle 7"/>
          <p:cNvSpPr/>
          <p:nvPr>
            <p:custDataLst>
              <p:tags r:id="rId33"/>
            </p:custDataLst>
          </p:nvPr>
        </p:nvSpPr>
        <p:spPr bwMode="gray">
          <a:xfrm>
            <a:off x="957263" y="6364288"/>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テキスト プレースホルダ 9"/>
          <p:cNvSpPr>
            <a:spLocks noGrp="1"/>
          </p:cNvSpPr>
          <p:nvPr>
            <p:custDataLst>
              <p:tags r:id="rId34"/>
            </p:custDataLst>
          </p:nvPr>
        </p:nvSpPr>
        <p:spPr bwMode="auto">
          <a:xfrm>
            <a:off x="1187450" y="63595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43" name="テキスト プレースホルダ 9"/>
          <p:cNvSpPr>
            <a:spLocks noGrp="1"/>
          </p:cNvSpPr>
          <p:nvPr>
            <p:custDataLst>
              <p:tags r:id="rId35"/>
            </p:custDataLst>
          </p:nvPr>
        </p:nvSpPr>
        <p:spPr bwMode="auto">
          <a:xfrm>
            <a:off x="1773238" y="63595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56" name="テキスト ボックス 18"/>
          <p:cNvSpPr txBox="1"/>
          <p:nvPr/>
        </p:nvSpPr>
        <p:spPr>
          <a:xfrm>
            <a:off x="200472" y="980728"/>
            <a:ext cx="9505056"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出が輸入を大きく上回っ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は、主な輸入相手国は、アメリカ、フランス、ドイツ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諸国の中で、一人当たりの年間医療費は最も多く、高齢化や人口動態の変化を考慮する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D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上回るペースで増加すると予想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毎年、シンガポール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の患者が訪れており、医療渡航の伸びも医薬品市場の拡大を後押しする可能性。</a:t>
            </a:r>
          </a:p>
        </p:txBody>
      </p:sp>
      <p:graphicFrame>
        <p:nvGraphicFramePr>
          <p:cNvPr id="53" name="Chart 52">
            <a:extLst>
              <a:ext uri="{FF2B5EF4-FFF2-40B4-BE49-F238E27FC236}">
                <a16:creationId xmlns:a16="http://schemas.microsoft.com/office/drawing/2014/main" id="{DDE89214-4AC7-46B8-BA66-A648385D8BB7}"/>
              </a:ext>
            </a:extLst>
          </p:cNvPr>
          <p:cNvGraphicFramePr/>
          <p:nvPr>
            <p:custDataLst>
              <p:tags r:id="rId36"/>
            </p:custDataLst>
          </p:nvPr>
        </p:nvGraphicFramePr>
        <p:xfrm>
          <a:off x="6599238" y="3298825"/>
          <a:ext cx="2498725" cy="2498725"/>
        </p:xfrm>
        <a:graphic>
          <a:graphicData uri="http://schemas.openxmlformats.org/drawingml/2006/chart">
            <c:chart xmlns:c="http://schemas.openxmlformats.org/drawingml/2006/chart" xmlns:r="http://schemas.openxmlformats.org/officeDocument/2006/relationships" r:id="rId47"/>
          </a:graphicData>
        </a:graphic>
      </p:graphicFrame>
      <p:sp>
        <p:nvSpPr>
          <p:cNvPr id="37" name="テキスト プレースホルダ 9">
            <a:extLst>
              <a:ext uri="{FF2B5EF4-FFF2-40B4-BE49-F238E27FC236}">
                <a16:creationId xmlns:a16="http://schemas.microsoft.com/office/drawing/2014/main" id="{215EFBBA-31E1-4943-890A-839A17A82DF0}"/>
              </a:ext>
            </a:extLst>
          </p:cNvPr>
          <p:cNvSpPr>
            <a:spLocks noGrp="1"/>
          </p:cNvSpPr>
          <p:nvPr>
            <p:custDataLst>
              <p:tags r:id="rId37"/>
            </p:custDataLst>
          </p:nvPr>
        </p:nvSpPr>
        <p:spPr bwMode="auto">
          <a:xfrm>
            <a:off x="8510588" y="3398838"/>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E08AC11-D5E5-4758-94FE-6F05B8FE372C}" type="datetime'''''''''ア''''''''''''''''''''''メ''リ''''''''カ'''''''''">
              <a:rPr lang="ja-JP" altLang="en-US" sz="1000" smtClean="0"/>
              <a:pPr/>
              <a:t>アメリカ</a:t>
            </a:fld>
            <a:endParaRPr kumimoji="0" lang="ja-JP" altLang="en-US" sz="1000" dirty="0">
              <a:sym typeface="+mn-lt"/>
            </a:endParaRPr>
          </a:p>
        </p:txBody>
      </p:sp>
      <p:sp>
        <p:nvSpPr>
          <p:cNvPr id="46" name="テキスト プレースホルダ 9">
            <a:extLst>
              <a:ext uri="{FF2B5EF4-FFF2-40B4-BE49-F238E27FC236}">
                <a16:creationId xmlns:a16="http://schemas.microsoft.com/office/drawing/2014/main" id="{76920FF2-8138-4545-9BB9-F65F1ED469D2}"/>
              </a:ext>
            </a:extLst>
          </p:cNvPr>
          <p:cNvSpPr>
            <a:spLocks noGrp="1"/>
          </p:cNvSpPr>
          <p:nvPr>
            <p:custDataLst>
              <p:tags r:id="rId38"/>
            </p:custDataLst>
          </p:nvPr>
        </p:nvSpPr>
        <p:spPr bwMode="auto">
          <a:xfrm>
            <a:off x="7265988" y="5718175"/>
            <a:ext cx="3333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DA57BFB-11A1-444A-9175-39B9954E1ABA}" type="datetime'''''''''ス''''''''''''''''''イ''''''ス'''''''''">
              <a:rPr lang="ja-JP" altLang="en-US" sz="1000" smtClean="0"/>
              <a:pPr/>
              <a:t>スイス</a:t>
            </a:fld>
            <a:endParaRPr kumimoji="0" lang="ja-JP" altLang="en-US" sz="1000" dirty="0">
              <a:sym typeface="+mn-lt"/>
            </a:endParaRPr>
          </a:p>
        </p:txBody>
      </p:sp>
      <p:sp>
        <p:nvSpPr>
          <p:cNvPr id="44" name="テキスト プレースホルダ 9">
            <a:extLst>
              <a:ext uri="{FF2B5EF4-FFF2-40B4-BE49-F238E27FC236}">
                <a16:creationId xmlns:a16="http://schemas.microsoft.com/office/drawing/2014/main" id="{FD88B613-E48D-4A49-9BAD-A356C4E24779}"/>
              </a:ext>
            </a:extLst>
          </p:cNvPr>
          <p:cNvSpPr>
            <a:spLocks noGrp="1"/>
          </p:cNvSpPr>
          <p:nvPr>
            <p:custDataLst>
              <p:tags r:id="rId39"/>
            </p:custDataLst>
          </p:nvPr>
        </p:nvSpPr>
        <p:spPr bwMode="auto">
          <a:xfrm>
            <a:off x="9050338" y="4725988"/>
            <a:ext cx="428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BBEF8A3-05C5-4B02-82EA-70E151250490}" type="datetime'フ''''''''''''ラン''''''''''''''''''''''ス'''''''''''''''''''">
              <a:rPr lang="ja-JP" altLang="en-US" sz="1000" smtClean="0"/>
              <a:pPr/>
              <a:t>フランス</a:t>
            </a:fld>
            <a:endParaRPr kumimoji="0" lang="ja-JP" altLang="en-US" sz="1000" dirty="0">
              <a:sym typeface="+mn-lt"/>
            </a:endParaRPr>
          </a:p>
        </p:txBody>
      </p:sp>
      <p:sp>
        <p:nvSpPr>
          <p:cNvPr id="39" name="テキスト プレースホルダ 9">
            <a:extLst>
              <a:ext uri="{FF2B5EF4-FFF2-40B4-BE49-F238E27FC236}">
                <a16:creationId xmlns:a16="http://schemas.microsoft.com/office/drawing/2014/main" id="{395F3EDD-33FD-4700-B466-5710188BC7DF}"/>
              </a:ext>
            </a:extLst>
          </p:cNvPr>
          <p:cNvSpPr>
            <a:spLocks noGrp="1"/>
          </p:cNvSpPr>
          <p:nvPr>
            <p:custDataLst>
              <p:tags r:id="rId40"/>
            </p:custDataLst>
          </p:nvPr>
        </p:nvSpPr>
        <p:spPr bwMode="auto">
          <a:xfrm>
            <a:off x="8277225" y="5665788"/>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09CBE88-557C-4A6E-86B3-C470ECAB8EA2}" type="datetime'''''ドイ''''''''''''''''''ツ'''''''''''''''''''''''''''''''''">
              <a:rPr lang="ja-JP" altLang="en-US" sz="1000" smtClean="0"/>
              <a:pPr/>
              <a:t>ドイツ</a:t>
            </a:fld>
            <a:endParaRPr kumimoji="0" lang="ja-JP" altLang="en-US" sz="1000" dirty="0">
              <a:sym typeface="+mn-lt"/>
            </a:endParaRPr>
          </a:p>
        </p:txBody>
      </p:sp>
      <p:sp>
        <p:nvSpPr>
          <p:cNvPr id="47" name="テキスト プレースホルダ 9">
            <a:extLst>
              <a:ext uri="{FF2B5EF4-FFF2-40B4-BE49-F238E27FC236}">
                <a16:creationId xmlns:a16="http://schemas.microsoft.com/office/drawing/2014/main" id="{D7DDB362-8364-417C-B35C-0277E9DF94CE}"/>
              </a:ext>
            </a:extLst>
          </p:cNvPr>
          <p:cNvSpPr>
            <a:spLocks noGrp="1"/>
          </p:cNvSpPr>
          <p:nvPr>
            <p:custDataLst>
              <p:tags r:id="rId41"/>
            </p:custDataLst>
          </p:nvPr>
        </p:nvSpPr>
        <p:spPr bwMode="auto">
          <a:xfrm>
            <a:off x="6686550" y="5510213"/>
            <a:ext cx="4492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DF4441F-4FEC-4509-9322-CB0AC7670563}" type="datetime'''''''''''''オラ''ン''''''''ダ'">
              <a:rPr lang="ja-JP" altLang="en-US" sz="1000" smtClean="0"/>
              <a:pPr/>
              <a:t>オランダ</a:t>
            </a:fld>
            <a:endParaRPr kumimoji="0" lang="ja-JP" altLang="en-US" sz="1000" dirty="0">
              <a:sym typeface="+mn-lt"/>
            </a:endParaRPr>
          </a:p>
        </p:txBody>
      </p:sp>
      <p:sp>
        <p:nvSpPr>
          <p:cNvPr id="45" name="テキスト プレースホルダ 9">
            <a:extLst>
              <a:ext uri="{FF2B5EF4-FFF2-40B4-BE49-F238E27FC236}">
                <a16:creationId xmlns:a16="http://schemas.microsoft.com/office/drawing/2014/main" id="{03095FBC-1E25-4033-9E7A-1D547EFCE71D}"/>
              </a:ext>
            </a:extLst>
          </p:cNvPr>
          <p:cNvSpPr>
            <a:spLocks noGrp="1"/>
          </p:cNvSpPr>
          <p:nvPr>
            <p:custDataLst>
              <p:tags r:id="rId42"/>
            </p:custDataLst>
          </p:nvPr>
        </p:nvSpPr>
        <p:spPr bwMode="auto">
          <a:xfrm>
            <a:off x="6340475" y="3970338"/>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9862649-7278-4352-A30D-BA2BD9FC72E6}" type="datetime'''''''''''''''''''''''''''''''そ''''''''''''''''''''の''他'''''">
              <a:rPr lang="ja-JP" altLang="en-US" sz="1000" smtClean="0"/>
              <a:pPr/>
              <a:t>その他</a:t>
            </a:fld>
            <a:endParaRPr kumimoji="0" lang="ja-JP" altLang="en-US" sz="1000" dirty="0">
              <a:sym typeface="+mn-lt"/>
            </a:endParaRPr>
          </a:p>
        </p:txBody>
      </p:sp>
      <p:sp>
        <p:nvSpPr>
          <p:cNvPr id="70" name="テキスト ボックス 21">
            <a:extLst>
              <a:ext uri="{FF2B5EF4-FFF2-40B4-BE49-F238E27FC236}">
                <a16:creationId xmlns:a16="http://schemas.microsoft.com/office/drawing/2014/main" id="{9ABC4457-050A-4DFE-8405-530107D98A47}"/>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r>
              <a:rPr lang="ja-JP" altLang="en-US" dirty="0"/>
              <a:t>、米国商務省</a:t>
            </a:r>
          </a:p>
        </p:txBody>
      </p:sp>
    </p:spTree>
    <p:extLst>
      <p:ext uri="{BB962C8B-B14F-4D97-AF65-F5344CB8AC3E}">
        <p14:creationId xmlns:p14="http://schemas.microsoft.com/office/powerpoint/2010/main" val="208783177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C56BD65-2307-4A8B-8EC1-D966DE254EF6}"/>
              </a:ext>
            </a:extLst>
          </p:cNvPr>
          <p:cNvGraphicFramePr>
            <a:graphicFrameLocks noChangeAspect="1"/>
          </p:cNvGraphicFramePr>
          <p:nvPr>
            <p:custDataLst>
              <p:tags r:id="rId2"/>
            </p:custDataLst>
            <p:extLst>
              <p:ext uri="{D42A27DB-BD31-4B8C-83A1-F6EECF244321}">
                <p14:modId xmlns:p14="http://schemas.microsoft.com/office/powerpoint/2010/main" val="1268853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0" name="think-cell Slide" r:id="rId5" imgW="395" imgH="396" progId="TCLayout.ActiveDocument.1">
                  <p:embed/>
                </p:oleObj>
              </mc:Choice>
              <mc:Fallback>
                <p:oleObj name="think-cell Slide" r:id="rId5" imgW="395" imgH="396" progId="TCLayout.ActiveDocument.1">
                  <p:embed/>
                  <p:pic>
                    <p:nvPicPr>
                      <p:cNvPr id="10" name="Object 9" hidden="1">
                        <a:extLst>
                          <a:ext uri="{FF2B5EF4-FFF2-40B4-BE49-F238E27FC236}">
                            <a16:creationId xmlns:a16="http://schemas.microsoft.com/office/drawing/2014/main" id="{EC56BD65-2307-4A8B-8EC1-D966DE254E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主要メーカー（ローカル企業）</a:t>
            </a:r>
          </a:p>
        </p:txBody>
      </p:sp>
      <p:graphicFrame>
        <p:nvGraphicFramePr>
          <p:cNvPr id="5" name="表 4"/>
          <p:cNvGraphicFramePr>
            <a:graphicFrameLocks noGrp="1"/>
          </p:cNvGraphicFramePr>
          <p:nvPr>
            <p:extLst>
              <p:ext uri="{D42A27DB-BD31-4B8C-83A1-F6EECF244321}">
                <p14:modId xmlns:p14="http://schemas.microsoft.com/office/powerpoint/2010/main" val="2470426184"/>
              </p:ext>
            </p:extLst>
          </p:nvPr>
        </p:nvGraphicFramePr>
        <p:xfrm>
          <a:off x="560512" y="2348880"/>
          <a:ext cx="8175166" cy="1150384"/>
        </p:xfrm>
        <a:graphic>
          <a:graphicData uri="http://schemas.openxmlformats.org/drawingml/2006/table">
            <a:tbl>
              <a:tblPr firstRow="1" bandRow="1">
                <a:tableStyleId>{5C22544A-7EE6-4342-B048-85BDC9FD1C3A}</a:tableStyleId>
              </a:tblPr>
              <a:tblGrid>
                <a:gridCol w="1931498">
                  <a:extLst>
                    <a:ext uri="{9D8B030D-6E8A-4147-A177-3AD203B41FA5}">
                      <a16:colId xmlns:a16="http://schemas.microsoft.com/office/drawing/2014/main" val="20000"/>
                    </a:ext>
                  </a:extLst>
                </a:gridCol>
                <a:gridCol w="1584176">
                  <a:extLst>
                    <a:ext uri="{9D8B030D-6E8A-4147-A177-3AD203B41FA5}">
                      <a16:colId xmlns:a16="http://schemas.microsoft.com/office/drawing/2014/main" val="20001"/>
                    </a:ext>
                  </a:extLst>
                </a:gridCol>
                <a:gridCol w="876814">
                  <a:extLst>
                    <a:ext uri="{9D8B030D-6E8A-4147-A177-3AD203B41FA5}">
                      <a16:colId xmlns:a16="http://schemas.microsoft.com/office/drawing/2014/main" val="3386509722"/>
                    </a:ext>
                  </a:extLst>
                </a:gridCol>
                <a:gridCol w="1874466">
                  <a:extLst>
                    <a:ext uri="{9D8B030D-6E8A-4147-A177-3AD203B41FA5}">
                      <a16:colId xmlns:a16="http://schemas.microsoft.com/office/drawing/2014/main" val="20003"/>
                    </a:ext>
                  </a:extLst>
                </a:gridCol>
                <a:gridCol w="1908212">
                  <a:extLst>
                    <a:ext uri="{9D8B030D-6E8A-4147-A177-3AD203B41FA5}">
                      <a16:colId xmlns:a16="http://schemas.microsoft.com/office/drawing/2014/main" val="3524783470"/>
                    </a:ext>
                  </a:extLst>
                </a:gridCol>
              </a:tblGrid>
              <a:tr h="379199">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製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徴・近年の動向</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企業</a:t>
                      </a:r>
                      <a:r>
                        <a:rPr kumimoji="1" lang="en-US" altLang="ja-JP"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7118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dirty="0">
                          <a:solidFill>
                            <a:schemeClr val="tx1"/>
                          </a:solidFill>
                          <a:latin typeface="Arial" panose="020B0604020202020204" pitchFamily="34" charset="0"/>
                          <a:ea typeface="HGP創英角ｺﾞｼｯｸUB" pitchFamily="50" charset="-128"/>
                          <a:cs typeface="Arial" panose="020B0604020202020204" pitchFamily="34" charset="0"/>
                        </a:rPr>
                        <a:t>Haw Par </a:t>
                      </a:r>
                      <a:r>
                        <a:rPr kumimoji="1" lang="en-US" altLang="ja-JP" sz="1100" b="1" dirty="0" err="1">
                          <a:solidFill>
                            <a:schemeClr val="tx1"/>
                          </a:solidFill>
                          <a:latin typeface="Arial" panose="020B0604020202020204" pitchFamily="34" charset="0"/>
                          <a:ea typeface="HGP創英角ｺﾞｼｯｸUB" pitchFamily="50" charset="-128"/>
                          <a:cs typeface="Arial" panose="020B0604020202020204" pitchFamily="34" charset="0"/>
                        </a:rPr>
                        <a:t>Coporation</a:t>
                      </a:r>
                      <a:endParaRPr kumimoji="1" lang="ja-JP" altLang="en-US" sz="11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薬品関連では局所鎮痛薬の「タイガーバーム」ブランドを持っている</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約</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00</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69</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設立。消費者向けのヘルスケア製品の他、レジャー事業にも従事しており、</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
                          <a:srgbClr val="5F8AC3"/>
                        </a:buClr>
                        <a:buSzTx/>
                        <a:buFont typeface="Arial" panose="020B0604020202020204" pitchFamily="34" charset="0"/>
                        <a:buNone/>
                        <a:tabLst/>
                        <a:defRPr/>
                      </a:pPr>
                      <a:r>
                        <a:rPr kumimoji="1" lang="en-US" altLang="ja-JP" sz="1100" kern="1200" baseline="300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ttps://www.hawpar.com/</a:t>
                      </a:r>
                    </a:p>
                  </a:txBody>
                  <a:tcPr anchor="ctr">
                    <a:lnL w="12700" cmpd="sng">
                      <a:noFill/>
                    </a:lnL>
                    <a:lnR w="12700" cmpd="sng">
                      <a:noFill/>
                    </a:lnR>
                    <a:lnT w="381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534792169"/>
                  </a:ext>
                </a:extLst>
              </a:tr>
            </a:tbl>
          </a:graphicData>
        </a:graphic>
      </p:graphicFrame>
      <p:sp>
        <p:nvSpPr>
          <p:cNvPr id="6" name="テキスト ボックス 5"/>
          <p:cNvSpPr txBox="1"/>
          <p:nvPr/>
        </p:nvSpPr>
        <p:spPr>
          <a:xfrm>
            <a:off x="165745" y="6428442"/>
            <a:ext cx="9433046" cy="24622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デスクトップリサーチ、企業ウェブサイ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46075" indent="-346075"/>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a:t>
            </a:r>
            <a:endParaRPr kumimoji="0" lang="ja-JP" altLang="en-US" sz="800" dirty="0" bmk=""/>
          </a:p>
        </p:txBody>
      </p:sp>
      <p:sp>
        <p:nvSpPr>
          <p:cNvPr id="12" name="Rectangle 6"/>
          <p:cNvSpPr>
            <a:spLocks noChangeArrowheads="1"/>
          </p:cNvSpPr>
          <p:nvPr/>
        </p:nvSpPr>
        <p:spPr bwMode="auto">
          <a:xfrm>
            <a:off x="619802" y="1988840"/>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地場メーカーの例</a:t>
            </a:r>
          </a:p>
        </p:txBody>
      </p:sp>
      <p:sp>
        <p:nvSpPr>
          <p:cNvPr id="16" name="テキスト ボックス 3">
            <a:extLst>
              <a:ext uri="{FF2B5EF4-FFF2-40B4-BE49-F238E27FC236}">
                <a16:creationId xmlns:a16="http://schemas.microsoft.com/office/drawing/2014/main" id="{031D6A05-2B06-4856-B0DB-69B33390F323}"/>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外資系メーカーが市場の多くを占める中、地場メーカーの医薬品メーカーで大手と言えるところは少ない。</a:t>
            </a:r>
          </a:p>
        </p:txBody>
      </p:sp>
      <p:sp>
        <p:nvSpPr>
          <p:cNvPr id="4" name="4. Footnote">
            <a:extLst>
              <a:ext uri="{FF2B5EF4-FFF2-40B4-BE49-F238E27FC236}">
                <a16:creationId xmlns:a16="http://schemas.microsoft.com/office/drawing/2014/main" id="{063EE308-7F6B-4748-9E4E-CACD37989AB2}"/>
              </a:ext>
            </a:extLst>
          </p:cNvPr>
          <p:cNvSpPr txBox="1"/>
          <p:nvPr>
            <p:custDataLst>
              <p:tags r:id="rId3"/>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79934196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C8AA5E-2E2B-492F-AF36-510FA328DC0A}"/>
              </a:ext>
            </a:extLst>
          </p:cNvPr>
          <p:cNvGraphicFramePr>
            <a:graphicFrameLocks noChangeAspect="1"/>
          </p:cNvGraphicFramePr>
          <p:nvPr>
            <p:custDataLst>
              <p:tags r:id="rId2"/>
            </p:custDataLst>
            <p:extLst>
              <p:ext uri="{D42A27DB-BD31-4B8C-83A1-F6EECF244321}">
                <p14:modId xmlns:p14="http://schemas.microsoft.com/office/powerpoint/2010/main" val="1402388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4"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38C8AA5E-2E2B-492F-AF36-510FA328DC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医薬品</a:t>
            </a:r>
            <a:endParaRPr kumimoji="1" lang="ja-JP" altLang="en-US" dirty="0"/>
          </a:p>
        </p:txBody>
      </p:sp>
      <p:sp>
        <p:nvSpPr>
          <p:cNvPr id="6" name="テキスト プレースホルダー 5"/>
          <p:cNvSpPr>
            <a:spLocks noGrp="1"/>
          </p:cNvSpPr>
          <p:nvPr>
            <p:ph type="body" sz="quarter" idx="15"/>
          </p:nvPr>
        </p:nvSpPr>
        <p:spPr>
          <a:xfrm>
            <a:off x="200025" y="539961"/>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構造 </a:t>
            </a:r>
            <a:r>
              <a:rPr lang="en-US" altLang="ja-JP" dirty="0"/>
              <a:t>- </a:t>
            </a:r>
            <a:r>
              <a:rPr lang="ja-JP" altLang="en-US" dirty="0"/>
              <a:t>日本企業の進出状況</a:t>
            </a:r>
          </a:p>
        </p:txBody>
      </p:sp>
      <p:graphicFrame>
        <p:nvGraphicFramePr>
          <p:cNvPr id="9" name="表 8"/>
          <p:cNvGraphicFramePr>
            <a:graphicFrameLocks noGrp="1"/>
          </p:cNvGraphicFramePr>
          <p:nvPr>
            <p:extLst>
              <p:ext uri="{D42A27DB-BD31-4B8C-83A1-F6EECF244321}">
                <p14:modId xmlns:p14="http://schemas.microsoft.com/office/powerpoint/2010/main" val="2468404410"/>
              </p:ext>
            </p:extLst>
          </p:nvPr>
        </p:nvGraphicFramePr>
        <p:xfrm>
          <a:off x="488504" y="2231401"/>
          <a:ext cx="8496000" cy="2563336"/>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tblGrid>
              <a:tr h="306136">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支店・駐在員事務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1</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100" b="0" i="0" u="none" strike="noStrike" kern="1200" dirty="0">
                          <a:solidFill>
                            <a:srgbClr val="000000"/>
                          </a:solidFill>
                          <a:effectLst/>
                          <a:latin typeface="+mn-lt"/>
                          <a:ea typeface="+mj-ea"/>
                          <a:cs typeface="+mn-cs"/>
                        </a:rPr>
                        <a:t>Takeda Pharmaceuticals</a:t>
                      </a:r>
                      <a:r>
                        <a:rPr kumimoji="1" lang="ja-JP" altLang="en-US" sz="1100" b="0" i="0" u="none" strike="noStrike" kern="1200" dirty="0">
                          <a:solidFill>
                            <a:srgbClr val="000000"/>
                          </a:solidFill>
                          <a:effectLst/>
                          <a:latin typeface="+mn-lt"/>
                          <a:ea typeface="+mj-ea"/>
                          <a:cs typeface="+mn-cs"/>
                        </a:rPr>
                        <a:t> </a:t>
                      </a:r>
                      <a:r>
                        <a:rPr kumimoji="1" lang="en-US" altLang="ja-JP" sz="1100" b="0" i="0" u="none" strike="noStrike" kern="1200" dirty="0">
                          <a:solidFill>
                            <a:srgbClr val="000000"/>
                          </a:solidFill>
                          <a:effectLst/>
                          <a:latin typeface="+mn-lt"/>
                          <a:ea typeface="+mj-ea"/>
                          <a:cs typeface="+mn-cs"/>
                        </a:rPr>
                        <a:t>(Asia Pacific) </a:t>
                      </a:r>
                      <a:r>
                        <a:rPr kumimoji="1" lang="en-US" altLang="ja-JP" sz="1100" b="0" i="0" u="none" strike="noStrike" kern="1200" dirty="0" err="1">
                          <a:solidFill>
                            <a:srgbClr val="000000"/>
                          </a:solidFill>
                          <a:effectLst/>
                          <a:latin typeface="+mn-lt"/>
                          <a:ea typeface="+mj-ea"/>
                          <a:cs typeface="+mn-cs"/>
                        </a:rPr>
                        <a:t>Ptd</a:t>
                      </a:r>
                      <a:r>
                        <a:rPr kumimoji="1" lang="en-US" altLang="ja-JP" sz="1100" b="0" i="0" u="none" strike="noStrike" kern="1200" dirty="0">
                          <a:solidFill>
                            <a:srgbClr val="000000"/>
                          </a:solidFill>
                          <a:effectLst/>
                          <a:latin typeface="+mn-lt"/>
                          <a:ea typeface="+mj-ea"/>
                          <a:cs typeface="+mn-cs"/>
                        </a:rPr>
                        <a:t>. Ltd.</a:t>
                      </a:r>
                      <a:endParaRPr kumimoji="1" lang="ja-JP" altLang="en-US" sz="1100" b="0" i="0" u="none" strike="noStrike" kern="1200" dirty="0">
                        <a:solidFill>
                          <a:srgbClr val="000000"/>
                        </a:solidFill>
                        <a:effectLst/>
                        <a:latin typeface="+mn-lt"/>
                        <a:ea typeface="+mj-ea"/>
                        <a:cs typeface="+mn-cs"/>
                      </a:endParaRPr>
                    </a:p>
                    <a:p>
                      <a:pPr marL="0" algn="l" defTabSz="914400" rtl="0" eaLnBrk="1" fontAlgn="ctr" latinLnBrk="0" hangingPunct="1"/>
                      <a:r>
                        <a:rPr kumimoji="1" lang="en-US" altLang="zh-TW" sz="1100" b="0" i="0" u="none" strike="noStrike" kern="1200" dirty="0">
                          <a:solidFill>
                            <a:srgbClr val="000000"/>
                          </a:solidFill>
                          <a:effectLst/>
                          <a:latin typeface="+mn-lt"/>
                          <a:ea typeface="+mj-ea"/>
                          <a:cs typeface="+mn-cs"/>
                        </a:rPr>
                        <a:t>Takeda Development Center Asia, </a:t>
                      </a:r>
                      <a:r>
                        <a:rPr kumimoji="1" lang="en-US" altLang="zh-TW" sz="1100" b="0" i="0" u="none" strike="noStrike" kern="1200" dirty="0" err="1">
                          <a:solidFill>
                            <a:srgbClr val="000000"/>
                          </a:solidFill>
                          <a:effectLst/>
                          <a:latin typeface="+mn-lt"/>
                          <a:ea typeface="+mj-ea"/>
                          <a:cs typeface="+mn-cs"/>
                        </a:rPr>
                        <a:t>Ptd</a:t>
                      </a:r>
                      <a:r>
                        <a:rPr kumimoji="1" lang="en-US" altLang="zh-TW" sz="1100" b="0" i="0" u="none" strike="noStrike" kern="1200" dirty="0">
                          <a:solidFill>
                            <a:srgbClr val="000000"/>
                          </a:solidFill>
                          <a:effectLst/>
                          <a:latin typeface="+mn-lt"/>
                          <a:ea typeface="+mj-ea"/>
                          <a:cs typeface="+mn-cs"/>
                        </a:rPr>
                        <a:t>. Ltd.</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武田薬品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アジア太平洋地域の地域統括会社</a:t>
                      </a:r>
                    </a:p>
                    <a:p>
                      <a:pPr marL="0" algn="l" defTabSz="914400" rtl="0" eaLnBrk="1" fontAlgn="ctr" latinLnBrk="0" hangingPunct="1"/>
                      <a:r>
                        <a:rPr kumimoji="1" lang="en-US" altLang="ja-JP" sz="1000" b="0" i="0" u="none" strike="noStrike" kern="1200" dirty="0">
                          <a:solidFill>
                            <a:srgbClr val="000000"/>
                          </a:solidFill>
                          <a:effectLst/>
                          <a:latin typeface="+mn-lt"/>
                          <a:ea typeface="+mj-ea"/>
                          <a:cs typeface="+mn-cs"/>
                        </a:rPr>
                        <a:t>TDC Asia</a:t>
                      </a:r>
                      <a:r>
                        <a:rPr kumimoji="1" lang="ja-JP" altLang="en-US" sz="1000" b="0" i="0" u="none" strike="noStrike" kern="1200" dirty="0">
                          <a:solidFill>
                            <a:srgbClr val="000000"/>
                          </a:solidFill>
                          <a:effectLst/>
                          <a:latin typeface="+mn-lt"/>
                          <a:ea typeface="+mj-ea"/>
                          <a:cs typeface="+mn-cs"/>
                        </a:rPr>
                        <a:t>は地域のハブとして、がん分野以外の研究開発を担当</a:t>
                      </a:r>
                      <a:endParaRPr kumimoji="1" lang="en-US" altLang="ja-JP" sz="10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100" b="0" i="0" u="none" strike="noStrike" kern="1200" dirty="0">
                          <a:solidFill>
                            <a:srgbClr val="000000"/>
                          </a:solidFill>
                          <a:effectLst/>
                          <a:latin typeface="+mn-lt"/>
                          <a:ea typeface="+mj-ea"/>
                          <a:cs typeface="+mn-cs"/>
                        </a:rPr>
                        <a:t>Eisai (Singapore) Pte. Ltd.</a:t>
                      </a:r>
                    </a:p>
                    <a:p>
                      <a:pPr marL="0" algn="l" defTabSz="914400" rtl="0" eaLnBrk="1" fontAlgn="ctr" latinLnBrk="0" hangingPunct="1"/>
                      <a:r>
                        <a:rPr kumimoji="1" lang="en-US" altLang="zh-TW" sz="1100" b="0" i="0" u="none" strike="noStrike" kern="1200" dirty="0">
                          <a:solidFill>
                            <a:srgbClr val="000000"/>
                          </a:solidFill>
                          <a:effectLst/>
                          <a:latin typeface="+mn-lt"/>
                          <a:ea typeface="+mj-ea"/>
                          <a:cs typeface="+mn-cs"/>
                        </a:rPr>
                        <a:t>Eisai Clinical Research Singapore </a:t>
                      </a:r>
                      <a:r>
                        <a:rPr kumimoji="1" lang="en-US" altLang="zh-TW" sz="1100" b="0" i="0" u="none" strike="noStrike" kern="1200" dirty="0" err="1">
                          <a:solidFill>
                            <a:srgbClr val="000000"/>
                          </a:solidFill>
                          <a:effectLst/>
                          <a:latin typeface="+mn-lt"/>
                          <a:ea typeface="+mj-ea"/>
                          <a:cs typeface="+mn-cs"/>
                        </a:rPr>
                        <a:t>Ptd</a:t>
                      </a:r>
                      <a:r>
                        <a:rPr kumimoji="1" lang="en-US" altLang="zh-TW" sz="1100" b="0" i="0" u="none" strike="noStrike" kern="1200" dirty="0">
                          <a:solidFill>
                            <a:srgbClr val="000000"/>
                          </a:solidFill>
                          <a:effectLst/>
                          <a:latin typeface="+mn-lt"/>
                          <a:ea typeface="+mj-ea"/>
                          <a:cs typeface="+mn-cs"/>
                        </a:rPr>
                        <a:t>. Ltd.</a:t>
                      </a:r>
                      <a:endParaRPr kumimoji="1" lang="zh-TW" altLang="en-US" sz="1100" b="0" i="0" u="none" strike="noStrike" kern="1200" dirty="0">
                        <a:solidFill>
                          <a:srgbClr val="000000"/>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エーザ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品の販売</a:t>
                      </a:r>
                    </a:p>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品の研究開発</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100" dirty="0"/>
                        <a:t>Otsuka Pharmaceutical (Singapore)</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大塚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mn-lt"/>
                          <a:ea typeface="+mj-ea"/>
                          <a:cs typeface="+mn-cs"/>
                        </a:rPr>
                        <a:t>2018</a:t>
                      </a:r>
                      <a:r>
                        <a:rPr kumimoji="1" lang="ja-JP" altLang="en-US" sz="1000" b="0" i="0" u="none" strike="noStrike" kern="1200" dirty="0">
                          <a:solidFill>
                            <a:srgbClr val="000000"/>
                          </a:solidFill>
                          <a:effectLst/>
                          <a:latin typeface="+mn-lt"/>
                          <a:ea typeface="+mj-ea"/>
                          <a:cs typeface="+mn-cs"/>
                        </a:rPr>
                        <a:t>年設立。販売代理店のサポートが中心</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999198601"/>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it-IT" altLang="ja-JP" sz="1100" dirty="0"/>
                        <a:t>DAIICHI SANKYO Singapore Pte. Ltd.</a:t>
                      </a:r>
                      <a:endParaRPr lang="en-US" altLang="ja-JP" sz="1100" dirty="0"/>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第一三共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品の開発及び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605378559"/>
                  </a:ext>
                </a:extLst>
              </a:tr>
              <a:tr h="432000">
                <a:tc>
                  <a:txBody>
                    <a:bodyPr/>
                    <a:lstStyle/>
                    <a:p>
                      <a:pPr marL="0" algn="ctr" defTabSz="914400" rtl="0" eaLnBrk="1" fontAlgn="ctr" latinLnBrk="0" hangingPunct="1"/>
                      <a:r>
                        <a:rPr kumimoji="1" lang="en-US" altLang="ja-JP" sz="1100" b="1" i="0" u="none" strike="noStrike" kern="1200" dirty="0">
                          <a:solidFill>
                            <a:srgbClr val="000000"/>
                          </a:solidFill>
                          <a:effectLst/>
                          <a:latin typeface="+mn-lt"/>
                          <a:ea typeface="+mj-ea"/>
                          <a:cs typeface="+mn-cs"/>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100" dirty="0"/>
                        <a:t>Astellas Pharma Singapore Pte.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mj-ea"/>
                          <a:cs typeface="+mn-cs"/>
                        </a:rPr>
                        <a:t>アステラ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mj-ea"/>
                          <a:cs typeface="+mn-cs"/>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973866577"/>
                  </a:ext>
                </a:extLst>
              </a:tr>
            </a:tbl>
          </a:graphicData>
        </a:graphic>
      </p:graphicFrame>
      <p:sp>
        <p:nvSpPr>
          <p:cNvPr id="11" name="テキスト ボックス 10"/>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務省の調査によれば、シンガポールにおける日本企業の現地法人・支店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8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本の主要な医薬品メーカーの中には、販売拠点のほか研究開発拠点を持っているところもある。</a:t>
            </a:r>
          </a:p>
        </p:txBody>
      </p:sp>
      <p:sp>
        <p:nvSpPr>
          <p:cNvPr id="12" name="テキスト ボックス 9"/>
          <p:cNvSpPr txBox="1"/>
          <p:nvPr/>
        </p:nvSpPr>
        <p:spPr>
          <a:xfrm>
            <a:off x="200025" y="6073317"/>
            <a:ext cx="8640960" cy="144016"/>
          </a:xfrm>
          <a:prstGeom prst="rect">
            <a:avLst/>
          </a:prstGeom>
          <a:noFill/>
        </p:spPr>
        <p:txBody>
          <a:bodyPr wrap="square" lIns="0" tIns="0" rIns="0" bIns="0" rtlCol="0">
            <a:no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1</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1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月現在。</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本人が海外に渡って興した企業（日本人の出資比率１０％以上）を含む</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a:extLst>
              <a:ext uri="{FF2B5EF4-FFF2-40B4-BE49-F238E27FC236}">
                <a16:creationId xmlns:a16="http://schemas.microsoft.com/office/drawing/2014/main" id="{AE28FF23-08C8-481B-9D0D-7AE4A4397099}"/>
              </a:ext>
            </a:extLst>
          </p:cNvPr>
          <p:cNvSpPr txBox="1"/>
          <p:nvPr/>
        </p:nvSpPr>
        <p:spPr>
          <a:xfrm>
            <a:off x="200025" y="659327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外務省、デスクトップリサーチ、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
        <p:nvSpPr>
          <p:cNvPr id="13" name="テキスト ボックス 9">
            <a:extLst>
              <a:ext uri="{FF2B5EF4-FFF2-40B4-BE49-F238E27FC236}">
                <a16:creationId xmlns:a16="http://schemas.microsoft.com/office/drawing/2014/main" id="{8932F4B5-B668-4E8E-95C3-2260E3A67466}"/>
              </a:ext>
            </a:extLst>
          </p:cNvPr>
          <p:cNvSpPr txBox="1"/>
          <p:nvPr/>
        </p:nvSpPr>
        <p:spPr>
          <a:xfrm>
            <a:off x="25279" y="6883396"/>
            <a:ext cx="8640960"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hlinkClick r:id="rId6"/>
              </a:rPr>
              <a:t>https://www.otsuka.co.jp/en/company/newsreleases/2018/20180523_1.html</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www.takeda.com/jp/newsroom/newsreleases/2015/20150225_6919/</a:t>
            </a:r>
          </a:p>
        </p:txBody>
      </p:sp>
    </p:spTree>
    <p:extLst>
      <p:ext uri="{BB962C8B-B14F-4D97-AF65-F5344CB8AC3E}">
        <p14:creationId xmlns:p14="http://schemas.microsoft.com/office/powerpoint/2010/main" val="30553687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9BE405-2499-468B-AE9F-9E905850D2F8}"/>
              </a:ext>
            </a:extLst>
          </p:cNvPr>
          <p:cNvGraphicFramePr>
            <a:graphicFrameLocks noChangeAspect="1"/>
          </p:cNvGraphicFramePr>
          <p:nvPr>
            <p:custDataLst>
              <p:tags r:id="rId2"/>
            </p:custDataLst>
            <p:extLst>
              <p:ext uri="{D42A27DB-BD31-4B8C-83A1-F6EECF244321}">
                <p14:modId xmlns:p14="http://schemas.microsoft.com/office/powerpoint/2010/main" val="1665762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8F9BE405-2499-468B-AE9F-9E905850D2F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一般概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基本情報</a:t>
            </a:r>
          </a:p>
        </p:txBody>
      </p:sp>
      <p:graphicFrame>
        <p:nvGraphicFramePr>
          <p:cNvPr id="8" name="表 7"/>
          <p:cNvGraphicFramePr>
            <a:graphicFrameLocks noGrp="1"/>
          </p:cNvGraphicFramePr>
          <p:nvPr>
            <p:extLst>
              <p:ext uri="{D42A27DB-BD31-4B8C-83A1-F6EECF244321}">
                <p14:modId xmlns:p14="http://schemas.microsoft.com/office/powerpoint/2010/main" val="1278552704"/>
              </p:ext>
            </p:extLst>
          </p:nvPr>
        </p:nvGraphicFramePr>
        <p:xfrm>
          <a:off x="200472" y="1052737"/>
          <a:ext cx="9505056" cy="4464495"/>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7704856">
                  <a:extLst>
                    <a:ext uri="{9D8B030D-6E8A-4147-A177-3AD203B41FA5}">
                      <a16:colId xmlns:a16="http://schemas.microsoft.com/office/drawing/2014/main" val="20001"/>
                    </a:ext>
                  </a:extLst>
                </a:gridCol>
              </a:tblGrid>
              <a:tr h="29691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200" b="0" kern="1200" dirty="0">
                          <a:solidFill>
                            <a:schemeClr val="tx1"/>
                          </a:solidFill>
                          <a:latin typeface="+mn-lt"/>
                          <a:ea typeface="+mn-ea"/>
                          <a:cs typeface="+mn-cs"/>
                        </a:rPr>
                        <a:t>なし　（都市国家）</a:t>
                      </a:r>
                      <a:endParaRPr kumimoji="1" lang="en-US" altLang="ja-JP" sz="1200" b="0" kern="1200" dirty="0">
                        <a:solidFill>
                          <a:schemeClr val="tx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9691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tx1"/>
                          </a:solidFill>
                        </a:rPr>
                        <a:t>公用語として英語、中国語（北京語）、マレー語、タミル語。国語はマレー語。</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9691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rPr>
                        <a:t>1 </a:t>
                      </a:r>
                      <a:r>
                        <a:rPr kumimoji="1" lang="ja-JP" altLang="en-US" sz="1200" b="0" dirty="0">
                          <a:solidFill>
                            <a:schemeClr val="tx1"/>
                          </a:solidFill>
                        </a:rPr>
                        <a:t>シンガポールドル（</a:t>
                      </a:r>
                      <a:r>
                        <a:rPr kumimoji="1" lang="en-US" altLang="ja-JP" sz="1200" b="0" dirty="0">
                          <a:solidFill>
                            <a:schemeClr val="tx1"/>
                          </a:solidFill>
                        </a:rPr>
                        <a:t>SGD</a:t>
                      </a:r>
                      <a:r>
                        <a:rPr kumimoji="1" lang="ja-JP" altLang="en-US" sz="1200" b="0" dirty="0">
                          <a:solidFill>
                            <a:schemeClr val="tx1"/>
                          </a:solidFill>
                        </a:rPr>
                        <a:t>）　＝　</a:t>
                      </a:r>
                      <a:r>
                        <a:rPr kumimoji="1" lang="en-US" altLang="ja-JP" sz="1200" b="0" dirty="0">
                          <a:solidFill>
                            <a:schemeClr val="tx1"/>
                          </a:solidFill>
                        </a:rPr>
                        <a:t>100.76</a:t>
                      </a:r>
                      <a:r>
                        <a:rPr kumimoji="1" lang="ja-JP" altLang="en-US" sz="1200" b="0" dirty="0">
                          <a:solidFill>
                            <a:schemeClr val="tx1"/>
                          </a:solidFill>
                        </a:rPr>
                        <a:t>円　</a:t>
                      </a:r>
                      <a:r>
                        <a:rPr kumimoji="1" lang="ja-JP" altLang="en-US" sz="1000" b="0" dirty="0">
                          <a:solidFill>
                            <a:schemeClr val="tx1"/>
                          </a:solidFill>
                        </a:rPr>
                        <a:t>（</a:t>
                      </a:r>
                      <a:r>
                        <a:rPr kumimoji="1" lang="en-US" altLang="ja-JP" sz="1000" b="0" dirty="0">
                          <a:solidFill>
                            <a:schemeClr val="tx1"/>
                          </a:solidFill>
                        </a:rPr>
                        <a:t>2022/12/6)</a:t>
                      </a:r>
                      <a:endParaRPr kumimoji="1" lang="ja-JP" altLang="en-US" sz="10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9691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tx1"/>
                          </a:solidFill>
                        </a:rPr>
                        <a:t>会社が独自に決定することができる。通常は</a:t>
                      </a:r>
                      <a:r>
                        <a:rPr kumimoji="1" lang="en-US" altLang="ja-JP" sz="1200" b="0" dirty="0">
                          <a:solidFill>
                            <a:schemeClr val="tx1"/>
                          </a:solidFill>
                        </a:rPr>
                        <a:t>3</a:t>
                      </a:r>
                      <a:r>
                        <a:rPr kumimoji="1" lang="ja-JP" altLang="en-US" sz="1200" b="0" dirty="0">
                          <a:solidFill>
                            <a:schemeClr val="tx1"/>
                          </a:solidFill>
                        </a:rPr>
                        <a:t>月、</a:t>
                      </a:r>
                      <a:r>
                        <a:rPr kumimoji="1" lang="en-US" altLang="ja-JP" sz="1200" b="0" dirty="0">
                          <a:solidFill>
                            <a:schemeClr val="tx1"/>
                          </a:solidFill>
                        </a:rPr>
                        <a:t>6</a:t>
                      </a:r>
                      <a:r>
                        <a:rPr kumimoji="1" lang="ja-JP" altLang="en-US" sz="1200" b="0" dirty="0">
                          <a:solidFill>
                            <a:schemeClr val="tx1"/>
                          </a:solidFill>
                        </a:rPr>
                        <a:t>月、または</a:t>
                      </a:r>
                      <a:r>
                        <a:rPr kumimoji="1" lang="en-US" altLang="ja-JP" sz="1200" b="0" dirty="0">
                          <a:solidFill>
                            <a:schemeClr val="tx1"/>
                          </a:solidFill>
                        </a:rPr>
                        <a:t>12</a:t>
                      </a:r>
                      <a:r>
                        <a:rPr kumimoji="1" lang="ja-JP" altLang="en-US" sz="1200" b="0" dirty="0">
                          <a:solidFill>
                            <a:schemeClr val="tx1"/>
                          </a:solidFill>
                        </a:rPr>
                        <a:t>月末が選ばれることが多い。 </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23902">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kumimoji="1" lang="ja-JP" altLang="en-US" sz="1200" kern="1200" dirty="0">
                          <a:solidFill>
                            <a:schemeClr val="dk1"/>
                          </a:solidFill>
                          <a:latin typeface="+mn-lt"/>
                          <a:ea typeface="+mn-ea"/>
                          <a:cs typeface="+mn-cs"/>
                        </a:rPr>
                        <a:t>仏教、イスラム教、ヒンズー教、道教、キリスト教ほか</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96910">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dk1"/>
                          </a:solidFill>
                        </a:rPr>
                        <a:t>立憲共和制（英連邦加盟）</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722348">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fontAlgn="ctr">
                        <a:lnSpc>
                          <a:spcPct val="114000"/>
                        </a:lnSpc>
                        <a:spcAft>
                          <a:spcPts val="300"/>
                        </a:spcAft>
                        <a:buClr>
                          <a:srgbClr val="5F8AC3"/>
                        </a:buClr>
                        <a:buFont typeface="Wingdings" panose="05000000000000000000" pitchFamily="2" charset="2"/>
                        <a:buChar char="l"/>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リー・シェンロン首相は、</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4</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間首相を務めたゴー・チョクトン前首相（現名誉上級相）から</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04</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政権を継承。建国以来、与党人民行動党（</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PAP</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が圧倒的多数を維持しており（</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の総選挙においては、</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3</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議席中、</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3</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議席を獲得）、内政は安定してい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933695">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just" defTabSz="914400" rtl="0" eaLnBrk="1" fontAlgn="auto" latinLnBrk="0" hangingPunct="1">
                        <a:lnSpc>
                          <a:spcPct val="113000"/>
                        </a:lnSpc>
                        <a:spcBef>
                          <a:spcPts val="0"/>
                        </a:spcBef>
                        <a:spcAft>
                          <a:spcPts val="300"/>
                        </a:spcAft>
                        <a:buClrTx/>
                        <a:buSzTx/>
                        <a:buFontTx/>
                        <a:buNone/>
                        <a:tabLst/>
                        <a:defRPr/>
                      </a:pP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テロ組織、反政府組織や国際テロ組織の関連組織の活動は確認されていない。また、安定した国内情勢及び治安対策を反映して、近年テロ事件の発生はない。</a:t>
                      </a:r>
                      <a:endPar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lvl="0" indent="0" algn="just" defTabSz="914400" rtl="0" eaLnBrk="1" fontAlgn="auto" latinLnBrk="0" hangingPunct="1">
                        <a:lnSpc>
                          <a:spcPct val="113000"/>
                        </a:lnSpc>
                        <a:spcBef>
                          <a:spcPts val="0"/>
                        </a:spcBef>
                        <a:spcAft>
                          <a:spcPts val="300"/>
                        </a:spcAft>
                        <a:buClrTx/>
                        <a:buSzTx/>
                        <a:buFontTx/>
                        <a:buNone/>
                        <a:tabLst/>
                        <a:defRPr/>
                      </a:pP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安全な国ではあるが、過去には市内のレストラン、ショッピングセンターや路上あるいは空港等においても、置き引きやスリが発生しており、パスポートや金品の盗難被害に遭う日本人旅行者が散見される。また、女性が被害に遭う痴漢、盗撮、強制わいせつ等の性犯罪についても注意が必要。</a:t>
                      </a:r>
                      <a:endParaRPr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auto" latinLnBrk="0" hangingPunct="1">
                        <a:lnSpc>
                          <a:spcPct val="113000"/>
                        </a:lnSpc>
                        <a:spcBef>
                          <a:spcPts val="0"/>
                        </a:spcBef>
                        <a:spcAft>
                          <a:spcPts val="300"/>
                        </a:spcAft>
                        <a:buClrTx/>
                        <a:buSzTx/>
                        <a:buFontTx/>
                        <a:buNone/>
                        <a:tabLst/>
                        <a:defRPr/>
                      </a:pPr>
                      <a:r>
                        <a:rPr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また、シンガポールの治安の良さは、シンガポール国民の法令・規則の遵法精神に根差しており、これらの規則に違反した場合には、外国人でも重い刑罰に処せられる場合もある。統治の規則・規制をしっかりと守ることが肝要である。</a:t>
                      </a:r>
                    </a:p>
                  </a:txBody>
                  <a:tcPr marL="180000" marT="108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3" name="テキスト ボックス 12"/>
          <p:cNvSpPr txBox="1"/>
          <p:nvPr/>
        </p:nvSpPr>
        <p:spPr>
          <a:xfrm>
            <a:off x="200472" y="6597352"/>
            <a:ext cx="8568878" cy="136462"/>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inistry of Foreign Affairs of Singapore, </a:t>
            </a:r>
            <a:r>
              <a:rPr lang="ja-JP" altLang="en-US" sz="800" dirty="0"/>
              <a:t>外務省ホームページ、</a:t>
            </a:r>
            <a:r>
              <a:rPr lang="en-US" altLang="ja-JP" sz="800" dirty="0"/>
              <a:t>Accounting and Corporate Regulatory Authority of Singapore, </a:t>
            </a:r>
            <a:r>
              <a:rPr lang="ja-JP" altLang="en-US" sz="800" dirty="0"/>
              <a:t>海外安全ホームページ、</a:t>
            </a:r>
            <a:r>
              <a:rPr lang="en-US" altLang="ja-JP" sz="800" dirty="0"/>
              <a:t>JETRO </a:t>
            </a:r>
            <a:r>
              <a:rPr lang="ja-JP" altLang="en-US" sz="800" dirty="0"/>
              <a:t>ホームページ、みずほ銀行</a:t>
            </a:r>
            <a:endParaRPr lang="en-US" altLang="ja-JP" sz="800" b="1" dirty="0"/>
          </a:p>
        </p:txBody>
      </p:sp>
    </p:spTree>
    <p:extLst>
      <p:ext uri="{BB962C8B-B14F-4D97-AF65-F5344CB8AC3E}">
        <p14:creationId xmlns:p14="http://schemas.microsoft.com/office/powerpoint/2010/main" val="165730697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8" name="think-cell Slide" r:id="rId10" imgW="444" imgH="443" progId="TCLayout.ActiveDocument.1">
                  <p:embed/>
                </p:oleObj>
              </mc:Choice>
              <mc:Fallback>
                <p:oleObj name="think-cell Slide" r:id="rId10"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3"/>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21151"/>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の老年介護市場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に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693.5</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に達すると見込まれ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8" name="グループ化 7"/>
          <p:cNvGrpSpPr/>
          <p:nvPr/>
        </p:nvGrpSpPr>
        <p:grpSpPr>
          <a:xfrm>
            <a:off x="632520" y="1772816"/>
            <a:ext cx="8640960" cy="288032"/>
            <a:chOff x="4803500" y="2113806"/>
            <a:chExt cx="5626916" cy="288032"/>
          </a:xfrm>
        </p:grpSpPr>
        <p:cxnSp>
          <p:nvCxnSpPr>
            <p:cNvPr id="39" name="直線コネクタ 3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市場規模</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41" name="テキスト ボックス 40"/>
          <p:cNvSpPr txBox="1"/>
          <p:nvPr/>
        </p:nvSpPr>
        <p:spPr>
          <a:xfrm>
            <a:off x="632520" y="2060848"/>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6" name="テキスト ボックス 4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デスクリサーチ</a:t>
            </a:r>
          </a:p>
        </p:txBody>
      </p:sp>
      <p:graphicFrame>
        <p:nvGraphicFramePr>
          <p:cNvPr id="117" name="Chart 116">
            <a:extLst>
              <a:ext uri="{FF2B5EF4-FFF2-40B4-BE49-F238E27FC236}">
                <a16:creationId xmlns:a16="http://schemas.microsoft.com/office/drawing/2014/main" id="{83507108-536C-4C8A-86CD-C2B12A66E2D8}"/>
              </a:ext>
            </a:extLst>
          </p:cNvPr>
          <p:cNvGraphicFramePr/>
          <p:nvPr>
            <p:custDataLst>
              <p:tags r:id="rId4"/>
            </p:custDataLst>
          </p:nvPr>
        </p:nvGraphicFramePr>
        <p:xfrm>
          <a:off x="419100" y="2159000"/>
          <a:ext cx="8624888" cy="3816350"/>
        </p:xfrm>
        <a:graphic>
          <a:graphicData uri="http://schemas.openxmlformats.org/drawingml/2006/chart">
            <c:chart xmlns:c="http://schemas.openxmlformats.org/drawingml/2006/chart" xmlns:r="http://schemas.openxmlformats.org/officeDocument/2006/relationships" r:id="rId12"/>
          </a:graphicData>
        </a:graphic>
      </p:graphicFrame>
      <p:sp>
        <p:nvSpPr>
          <p:cNvPr id="62" name="テキスト プレースホルダ 9"/>
          <p:cNvSpPr>
            <a:spLocks noGrp="1"/>
          </p:cNvSpPr>
          <p:nvPr>
            <p:custDataLst>
              <p:tags r:id="rId5"/>
            </p:custDataLst>
          </p:nvPr>
        </p:nvSpPr>
        <p:spPr bwMode="auto">
          <a:xfrm>
            <a:off x="34369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0AF92EA-6C0B-4B38-B325-4E4748F16C38}" type="datetime'''''''''''''''''''''''''''''''''''''19'''''''''''''''''''''''">
              <a:rPr lang="en-US" altLang="en-US" sz="1000" smtClean="0"/>
              <a:pPr/>
              <a:t>19</a:t>
            </a:fld>
            <a:endParaRPr kumimoji="0" lang="ja-JP" altLang="en-US" sz="1000" dirty="0">
              <a:sym typeface="+mn-lt"/>
            </a:endParaRPr>
          </a:p>
        </p:txBody>
      </p:sp>
      <p:sp>
        <p:nvSpPr>
          <p:cNvPr id="65" name="テキスト プレースホルダ 9"/>
          <p:cNvSpPr>
            <a:spLocks noGrp="1"/>
          </p:cNvSpPr>
          <p:nvPr>
            <p:custDataLst>
              <p:tags r:id="rId6"/>
            </p:custDataLst>
          </p:nvPr>
        </p:nvSpPr>
        <p:spPr bwMode="auto">
          <a:xfrm>
            <a:off x="70326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CAE9CDB-CA5B-4E64-AF95-D1E61565B685}" type="datetime'''20''''''''''''''''''18'''''''''''''''''''''''''''">
              <a:rPr lang="en-US" altLang="en-US" sz="1000" smtClean="0"/>
              <a:pPr/>
              <a:t>2018</a:t>
            </a:fld>
            <a:endParaRPr kumimoji="0" lang="ja-JP" altLang="en-US" sz="1000" dirty="0">
              <a:sym typeface="+mn-lt"/>
            </a:endParaRPr>
          </a:p>
        </p:txBody>
      </p:sp>
      <p:sp>
        <p:nvSpPr>
          <p:cNvPr id="93" name="テキスト プレースホルダ 9"/>
          <p:cNvSpPr>
            <a:spLocks noGrp="1"/>
          </p:cNvSpPr>
          <p:nvPr>
            <p:custDataLst>
              <p:tags r:id="rId7"/>
            </p:custDataLst>
          </p:nvPr>
        </p:nvSpPr>
        <p:spPr bwMode="auto">
          <a:xfrm>
            <a:off x="61007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64A2F56-6A87-48FF-9DD9-7D800268B8D8}" type="datetime'''''''2''''''0'''''">
              <a:rPr lang="en-US" altLang="en-US" sz="1000" smtClean="0"/>
              <a:pPr/>
              <a:t>20</a:t>
            </a:fld>
            <a:endParaRPr kumimoji="0" lang="ja-JP" altLang="en-US" sz="1000" dirty="0">
              <a:sym typeface="+mn-lt"/>
            </a:endParaRPr>
          </a:p>
        </p:txBody>
      </p:sp>
      <p:sp>
        <p:nvSpPr>
          <p:cNvPr id="95" name="テキスト プレースホルダ 9"/>
          <p:cNvSpPr>
            <a:spLocks noGrp="1"/>
          </p:cNvSpPr>
          <p:nvPr>
            <p:custDataLst>
              <p:tags r:id="rId8"/>
            </p:custDataLst>
          </p:nvPr>
        </p:nvSpPr>
        <p:spPr bwMode="auto">
          <a:xfrm>
            <a:off x="87645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E622972-87EB-466A-9DB8-268B5CAB0181}" type="datetime'''''''''''''''2''''''''''''''''''''''''''1'''''''''''''''">
              <a:rPr lang="en-US" altLang="en-US" sz="1000" smtClean="0"/>
              <a:pPr/>
              <a:t>21</a:t>
            </a:fld>
            <a:endParaRPr kumimoji="0" lang="ja-JP" altLang="en-US" sz="1000" dirty="0">
              <a:sym typeface="+mn-lt"/>
            </a:endParaRPr>
          </a:p>
        </p:txBody>
      </p:sp>
      <p:sp>
        <p:nvSpPr>
          <p:cNvPr id="119" name="TextBox 118">
            <a:extLst>
              <a:ext uri="{FF2B5EF4-FFF2-40B4-BE49-F238E27FC236}">
                <a16:creationId xmlns:a16="http://schemas.microsoft.com/office/drawing/2014/main" id="{0F62B11A-6A96-4FC5-9DAF-3B2120B7B474}"/>
              </a:ext>
            </a:extLst>
          </p:cNvPr>
          <p:cNvSpPr txBox="1"/>
          <p:nvPr/>
        </p:nvSpPr>
        <p:spPr>
          <a:xfrm>
            <a:off x="419100" y="6858000"/>
            <a:ext cx="4952010" cy="923330"/>
          </a:xfrm>
          <a:prstGeom prst="rect">
            <a:avLst/>
          </a:prstGeom>
          <a:noFill/>
        </p:spPr>
        <p:txBody>
          <a:bodyPr wrap="square">
            <a:spAutoFit/>
          </a:bodyPr>
          <a:lstStyle/>
          <a:p>
            <a:r>
              <a:rPr lang="en-US" altLang="ja-JP" dirty="0"/>
              <a:t>https://www.reogma.com/industry-reports/geriatric-care-services-market-in-apac-estimated-to-reach-361-b-by-2023/</a:t>
            </a:r>
            <a:endParaRPr lang="en-US" dirty="0"/>
          </a:p>
        </p:txBody>
      </p:sp>
    </p:spTree>
    <p:extLst>
      <p:ext uri="{BB962C8B-B14F-4D97-AF65-F5344CB8AC3E}">
        <p14:creationId xmlns:p14="http://schemas.microsoft.com/office/powerpoint/2010/main" val="31347407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02" name="think-cell Slide" r:id="rId5" imgW="270" imgH="270" progId="TCLayout.ActiveDocument.1">
                  <p:embed/>
                </p:oleObj>
              </mc:Choice>
              <mc:Fallback>
                <p:oleObj name="think-cell Slide" r:id="rId5" imgW="270" imgH="270" progId="TCLayout.ActiveDocument.1">
                  <p:embed/>
                  <p:pic>
                    <p:nvPicPr>
                      <p:cNvPr id="3" name="オブジェクト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41.7%</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8.5%</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17.9%</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en-US" altLang="ja-JP" sz="1000" b="0" i="0" u="none" strike="noStrike" kern="1200" cap="none" spc="0" normalizeH="0" baseline="0" noProof="0" dirty="0">
                          <a:ln>
                            <a:noFill/>
                          </a:ln>
                          <a:solidFill>
                            <a:srgbClr val="000000"/>
                          </a:solidFill>
                          <a:effectLst/>
                          <a:uLnTx/>
                          <a:uFillTx/>
                          <a:latin typeface="+mn-lt"/>
                          <a:ea typeface="+mn-ea"/>
                          <a:cs typeface="+mn-cs"/>
                        </a:rPr>
                        <a:t>×</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B9EA1FC3-0F05-494B-A4BB-FF01F0017B6D}"/>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394406563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1E0AFD1-A865-4489-91C7-40225E8AE42E}"/>
              </a:ext>
            </a:extLst>
          </p:cNvPr>
          <p:cNvGraphicFramePr>
            <a:graphicFrameLocks noChangeAspect="1"/>
          </p:cNvGraphicFramePr>
          <p:nvPr>
            <p:custDataLst>
              <p:tags r:id="rId2"/>
            </p:custDataLst>
            <p:extLst>
              <p:ext uri="{D42A27DB-BD31-4B8C-83A1-F6EECF244321}">
                <p14:modId xmlns:p14="http://schemas.microsoft.com/office/powerpoint/2010/main" val="71114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6"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01E0AFD1-A865-4489-91C7-40225E8AE4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その他</a:t>
            </a:r>
          </a:p>
        </p:txBody>
      </p:sp>
    </p:spTree>
    <p:extLst>
      <p:ext uri="{BB962C8B-B14F-4D97-AF65-F5344CB8AC3E}">
        <p14:creationId xmlns:p14="http://schemas.microsoft.com/office/powerpoint/2010/main" val="342289837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2"/>
            </p:custDataLst>
            <p:extLst>
              <p:ext uri="{D42A27DB-BD31-4B8C-83A1-F6EECF244321}">
                <p14:modId xmlns:p14="http://schemas.microsoft.com/office/powerpoint/2010/main" val="2833534818"/>
              </p:ext>
            </p:ext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spid="_x0000_s53250" name="think-cell Slide" r:id="rId4" imgW="473" imgH="476" progId="TCLayout.ActiveDocument.1">
                  <p:embed/>
                </p:oleObj>
              </mc:Choice>
              <mc:Fallback>
                <p:oleObj name="think-cell Slide" r:id="rId4"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5"/>
                      <a:stretch>
                        <a:fillRect/>
                      </a:stretch>
                    </p:blipFill>
                    <p:spPr>
                      <a:xfrm>
                        <a:off x="929978" y="644228"/>
                        <a:ext cx="1290" cy="1290"/>
                      </a:xfrm>
                      <a:prstGeom prst="rect">
                        <a:avLst/>
                      </a:prstGeom>
                    </p:spPr>
                  </p:pic>
                </p:oleObj>
              </mc:Fallback>
            </mc:AlternateContent>
          </a:graphicData>
        </a:graphic>
      </p:graphicFrame>
      <p:sp>
        <p:nvSpPr>
          <p:cNvPr id="29" name="Rectangle 28">
            <a:extLst>
              <a:ext uri="{FF2B5EF4-FFF2-40B4-BE49-F238E27FC236}">
                <a16:creationId xmlns:a16="http://schemas.microsoft.com/office/drawing/2014/main" id="{C6E13761-2E5B-492A-BABE-8CB21D68A473}"/>
              </a:ext>
            </a:extLst>
          </p:cNvPr>
          <p:cNvSpPr/>
          <p:nvPr/>
        </p:nvSpPr>
        <p:spPr>
          <a:xfrm>
            <a:off x="4880992" y="3174456"/>
            <a:ext cx="4746796" cy="326545"/>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58</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Rectangle 34">
            <a:extLst>
              <a:ext uri="{FF2B5EF4-FFF2-40B4-BE49-F238E27FC236}">
                <a16:creationId xmlns:a16="http://schemas.microsoft.com/office/drawing/2014/main" id="{94C006E6-AD24-497F-868F-1EC6B0F46C24}"/>
              </a:ext>
            </a:extLst>
          </p:cNvPr>
          <p:cNvSpPr/>
          <p:nvPr/>
        </p:nvSpPr>
        <p:spPr>
          <a:xfrm>
            <a:off x="4880992" y="2839182"/>
            <a:ext cx="4746796" cy="241271"/>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74</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Rectangle 35">
            <a:extLst>
              <a:ext uri="{FF2B5EF4-FFF2-40B4-BE49-F238E27FC236}">
                <a16:creationId xmlns:a16="http://schemas.microsoft.com/office/drawing/2014/main" id="{A4975F4C-2B4F-40EB-A66A-D2A9CCB85AB0}"/>
              </a:ext>
            </a:extLst>
          </p:cNvPr>
          <p:cNvSpPr/>
          <p:nvPr/>
        </p:nvSpPr>
        <p:spPr>
          <a:xfrm>
            <a:off x="4886812" y="2603817"/>
            <a:ext cx="4744487" cy="218614"/>
          </a:xfrm>
          <a:prstGeom prst="rect">
            <a:avLst/>
          </a:prstGeom>
          <a:solidFill>
            <a:schemeClr val="accent2">
              <a:lumMod val="60000"/>
              <a:lumOff val="4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94</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7"/>
          <p:cNvSpPr>
            <a:spLocks noGrp="1"/>
          </p:cNvSpPr>
          <p:nvPr>
            <p:ph type="title"/>
          </p:nvPr>
        </p:nvSpPr>
        <p:spPr/>
        <p:txBody>
          <a:bodyPr vert="horz"/>
          <a:lstStyle/>
          <a:p>
            <a:r>
              <a:rPr lang="ja-JP" altLang="en-US" dirty="0"/>
              <a:t>シンガポール／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290820" y="1096738"/>
            <a:ext cx="9270692" cy="38943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138" dirty="0">
                <a:solidFill>
                  <a:srgbClr val="000000"/>
                </a:solidFill>
              </a:rPr>
              <a:t>シンガポールでは、</a:t>
            </a:r>
            <a:r>
              <a:rPr lang="en-US" altLang="ja-JP" sz="1138" dirty="0">
                <a:solidFill>
                  <a:srgbClr val="000000"/>
                </a:solidFill>
              </a:rPr>
              <a:t>2000</a:t>
            </a:r>
            <a:r>
              <a:rPr lang="ja-JP" altLang="en-US" sz="1138" dirty="0">
                <a:solidFill>
                  <a:srgbClr val="000000"/>
                </a:solidFill>
              </a:rPr>
              <a:t>年代初頭から電子医療記録を導入し、医療システムのデジタル化に取り組んでいる</a:t>
            </a:r>
          </a:p>
          <a:p>
            <a:r>
              <a:rPr lang="en-US" altLang="ja-JP" sz="1138" dirty="0">
                <a:solidFill>
                  <a:srgbClr val="000000"/>
                </a:solidFill>
              </a:rPr>
              <a:t>The National Electronic Health Record (NEHR) </a:t>
            </a:r>
            <a:r>
              <a:rPr lang="ja-JP" altLang="en-US" sz="1138" dirty="0">
                <a:solidFill>
                  <a:srgbClr val="000000"/>
                </a:solidFill>
              </a:rPr>
              <a:t>によって公的医療機関が保持している患者の健康記録は統合管理されており、国民自身も個人の健康情報・医療記録にアクセスできるようになっている</a:t>
            </a:r>
          </a:p>
        </p:txBody>
      </p:sp>
      <p:graphicFrame>
        <p:nvGraphicFramePr>
          <p:cNvPr id="5" name="表 4"/>
          <p:cNvGraphicFramePr>
            <a:graphicFrameLocks noGrp="1"/>
          </p:cNvGraphicFramePr>
          <p:nvPr>
            <p:extLst>
              <p:ext uri="{D42A27DB-BD31-4B8C-83A1-F6EECF244321}">
                <p14:modId xmlns:p14="http://schemas.microsoft.com/office/powerpoint/2010/main" val="1345960401"/>
              </p:ext>
            </p:extLst>
          </p:nvPr>
        </p:nvGraphicFramePr>
        <p:xfrm>
          <a:off x="200025" y="2346896"/>
          <a:ext cx="9438944" cy="3961277"/>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16283">
                  <a:extLst>
                    <a:ext uri="{9D8B030D-6E8A-4147-A177-3AD203B41FA5}">
                      <a16:colId xmlns:a16="http://schemas.microsoft.com/office/drawing/2014/main" val="20001"/>
                    </a:ext>
                  </a:extLst>
                </a:gridCol>
                <a:gridCol w="4757977">
                  <a:extLst>
                    <a:ext uri="{9D8B030D-6E8A-4147-A177-3AD203B41FA5}">
                      <a16:colId xmlns:a16="http://schemas.microsoft.com/office/drawing/2014/main" val="20002"/>
                    </a:ext>
                  </a:extLst>
                </a:gridCol>
              </a:tblGrid>
              <a:tr h="222885">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南アフリカ</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あ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44.3</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あたり</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25.8</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89</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5713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en-US" altLang="ja-JP" sz="900" dirty="0"/>
                        <a:t>2014</a:t>
                      </a:r>
                      <a:r>
                        <a:rPr lang="ja-JP" altLang="en-US" sz="900" dirty="0"/>
                        <a:t>年に発表されたスマート・ネーション構想の重点分野の一つと健康が挙げられ、保健省および</a:t>
                      </a:r>
                      <a:r>
                        <a:rPr lang="en-US" altLang="ja-JP" sz="900" dirty="0" err="1"/>
                        <a:t>IHiS</a:t>
                      </a:r>
                      <a:r>
                        <a:rPr kumimoji="1" lang="en-US" altLang="ja-JP" sz="900" kern="1200" dirty="0">
                          <a:solidFill>
                            <a:schemeClr val="dk1"/>
                          </a:solidFill>
                          <a:latin typeface="+mn-lt"/>
                          <a:ea typeface="+mn-ea"/>
                          <a:cs typeface="+mn-cs"/>
                        </a:rPr>
                        <a:t>(</a:t>
                      </a:r>
                      <a:r>
                        <a:rPr kumimoji="1" lang="ja-JP" altLang="en-US" sz="900" kern="1200" dirty="0">
                          <a:solidFill>
                            <a:schemeClr val="dk1"/>
                          </a:solidFill>
                          <a:latin typeface="+mn-lt"/>
                          <a:ea typeface="+mn-ea"/>
                          <a:cs typeface="+mn-cs"/>
                        </a:rPr>
                        <a:t>統合型医療情報システム</a:t>
                      </a:r>
                      <a:r>
                        <a:rPr kumimoji="1" lang="en-US" altLang="ja-JP" sz="900" kern="1200" dirty="0">
                          <a:solidFill>
                            <a:schemeClr val="dk1"/>
                          </a:solidFill>
                          <a:latin typeface="+mn-lt"/>
                          <a:ea typeface="+mn-ea"/>
                          <a:cs typeface="+mn-cs"/>
                        </a:rPr>
                        <a:t>; Integrated Health Information Systems)</a:t>
                      </a:r>
                      <a:r>
                        <a:rPr kumimoji="1" lang="ja-JP" altLang="en-US" sz="900" kern="1200" dirty="0">
                          <a:solidFill>
                            <a:schemeClr val="dk1"/>
                          </a:solidFill>
                          <a:latin typeface="+mn-lt"/>
                          <a:ea typeface="+mn-ea"/>
                          <a:cs typeface="+mn-cs"/>
                        </a:rPr>
                        <a:t>によってヘル</a:t>
                      </a:r>
                      <a:r>
                        <a:rPr lang="ja-JP" altLang="en-US" sz="900" dirty="0"/>
                        <a:t>ス</a:t>
                      </a:r>
                      <a:r>
                        <a:rPr lang="en-US" altLang="ja-JP" sz="900" dirty="0"/>
                        <a:t>IT</a:t>
                      </a:r>
                      <a:r>
                        <a:rPr lang="ja-JP" altLang="en-US" sz="900" dirty="0"/>
                        <a:t>マスタープランが策定・実行されている。デジタルヘルスに関する予算の総額は不明だが、例として次世代</a:t>
                      </a:r>
                      <a:r>
                        <a:rPr lang="en-US" altLang="ja-JP" sz="900" dirty="0"/>
                        <a:t>EMR</a:t>
                      </a:r>
                      <a:r>
                        <a:rPr lang="ja-JP" altLang="en-US" sz="900" dirty="0"/>
                        <a:t>や</a:t>
                      </a:r>
                      <a:r>
                        <a:rPr lang="en-US" altLang="ja-JP" sz="900" dirty="0"/>
                        <a:t>NEHR</a:t>
                      </a:r>
                      <a:r>
                        <a:rPr lang="ja-JP" altLang="en-US" sz="900" dirty="0"/>
                        <a:t>の導入に向けて</a:t>
                      </a:r>
                      <a:r>
                        <a:rPr lang="en-US" altLang="ja-JP" sz="900" dirty="0"/>
                        <a:t>600</a:t>
                      </a:r>
                      <a:r>
                        <a:rPr lang="ja-JP" altLang="en-US" sz="900" dirty="0"/>
                        <a:t>億円以上の予算が見込ま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Personal Data Protection Act 2012</a:t>
                      </a:r>
                      <a:r>
                        <a:rPr lang="ja-JP" altLang="en-US" sz="900" dirty="0"/>
                        <a:t>が</a:t>
                      </a:r>
                      <a:r>
                        <a:rPr lang="en-US" altLang="ja-JP" sz="900" dirty="0"/>
                        <a:t>2014</a:t>
                      </a:r>
                      <a:r>
                        <a:rPr lang="ja-JP" altLang="en-US" sz="900" dirty="0"/>
                        <a:t>年に全面施行、</a:t>
                      </a:r>
                      <a:r>
                        <a:rPr lang="en-US" altLang="ja-JP" sz="900" dirty="0"/>
                        <a:t>2021</a:t>
                      </a:r>
                      <a:r>
                        <a:rPr lang="ja-JP" altLang="en-US" sz="900" dirty="0"/>
                        <a:t>年に改正・施行されている。</a:t>
                      </a:r>
                      <a:r>
                        <a:rPr lang="en-US" altLang="ja-JP" sz="900" dirty="0"/>
                        <a:t>NEHR</a:t>
                      </a:r>
                      <a:r>
                        <a:rPr lang="ja-JP" altLang="en-US" sz="900" dirty="0"/>
                        <a:t>に集められているデジタルヘルスデータに関しては、医療分野の</a:t>
                      </a:r>
                      <a:r>
                        <a:rPr lang="en-US" altLang="ja-JP" sz="900" dirty="0"/>
                        <a:t>IT</a:t>
                      </a:r>
                      <a:r>
                        <a:rPr lang="ja-JP" altLang="en-US" sz="900" dirty="0"/>
                        <a:t>化を推進している</a:t>
                      </a:r>
                      <a:r>
                        <a:rPr lang="en-US" altLang="ja-JP" sz="900" dirty="0" err="1"/>
                        <a:t>IHiS</a:t>
                      </a:r>
                      <a:r>
                        <a:rPr lang="ja-JP" altLang="en-US" sz="900" dirty="0"/>
                        <a:t>が管理しており、二次利用についての検討も進め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National</a:t>
                      </a:r>
                      <a:r>
                        <a:rPr lang="ja-JP" altLang="en-US" sz="900" dirty="0"/>
                        <a:t> </a:t>
                      </a:r>
                      <a:r>
                        <a:rPr lang="en-US" altLang="ja-JP" sz="900" dirty="0"/>
                        <a:t>University</a:t>
                      </a:r>
                      <a:r>
                        <a:rPr lang="ja-JP" altLang="en-US" sz="900" dirty="0"/>
                        <a:t> </a:t>
                      </a:r>
                      <a:r>
                        <a:rPr lang="en-US" altLang="ja-JP" sz="900" dirty="0"/>
                        <a:t>of</a:t>
                      </a:r>
                      <a:r>
                        <a:rPr lang="ja-JP" altLang="en-US" sz="900" dirty="0"/>
                        <a:t> </a:t>
                      </a:r>
                      <a:r>
                        <a:rPr lang="en-US" altLang="ja-JP" sz="900" dirty="0"/>
                        <a:t>Singapore</a:t>
                      </a:r>
                      <a:r>
                        <a:rPr lang="ja-JP" altLang="en-US" sz="900" dirty="0"/>
                        <a:t>では、医師向けの継続教育の一環として</a:t>
                      </a:r>
                      <a:r>
                        <a:rPr lang="en-US" altLang="ja-JP" sz="900" dirty="0"/>
                        <a:t>Health Information Technology</a:t>
                      </a:r>
                      <a:r>
                        <a:rPr lang="ja-JP" altLang="en-US" sz="900" dirty="0"/>
                        <a:t>が主要項目に位置付けら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生物医学情報学の</a:t>
                      </a:r>
                      <a:r>
                        <a:rPr lang="en-US" altLang="ja-JP" sz="900" dirty="0"/>
                        <a:t>Post-diploma</a:t>
                      </a:r>
                      <a:r>
                        <a:rPr lang="ja-JP" altLang="en-US" sz="900" dirty="0"/>
                        <a:t>プログラムが複数のポリテクニックで開講されているほか、デジタルヘルスに関連する短期の講座はポリテクニックや医科大学でも開か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900" b="0" kern="1200" dirty="0">
                          <a:solidFill>
                            <a:schemeClr val="tx1"/>
                          </a:solidFill>
                          <a:latin typeface="+mn-lt"/>
                          <a:ea typeface="ＭＳ Ｐゴシック" charset="-128"/>
                          <a:cs typeface="Arial" pitchFamily="34" charset="0"/>
                        </a:rPr>
                        <a:t>病院レベルでは</a:t>
                      </a:r>
                      <a:r>
                        <a:rPr kumimoji="1" lang="en-US" altLang="ja-JP" sz="900" b="0" kern="1200" dirty="0">
                          <a:solidFill>
                            <a:schemeClr val="tx1"/>
                          </a:solidFill>
                          <a:latin typeface="+mn-lt"/>
                          <a:ea typeface="ＭＳ Ｐゴシック" charset="-128"/>
                          <a:cs typeface="Arial" pitchFamily="34" charset="0"/>
                        </a:rPr>
                        <a:t>100%</a:t>
                      </a:r>
                      <a:r>
                        <a:rPr kumimoji="1" lang="ja-JP" altLang="en-US" sz="900" b="0" kern="1200" dirty="0">
                          <a:solidFill>
                            <a:schemeClr val="tx1"/>
                          </a:solidFill>
                          <a:latin typeface="+mn-lt"/>
                          <a:ea typeface="ＭＳ Ｐゴシック" charset="-128"/>
                          <a:cs typeface="Arial" pitchFamily="34" charset="0"/>
                        </a:rPr>
                        <a:t>近く、クリニックレベルでも</a:t>
                      </a:r>
                      <a:r>
                        <a:rPr kumimoji="1" lang="en-US" altLang="ja-JP" sz="900" b="0" kern="1200" dirty="0">
                          <a:solidFill>
                            <a:schemeClr val="tx1"/>
                          </a:solidFill>
                          <a:latin typeface="+mn-lt"/>
                          <a:ea typeface="ＭＳ Ｐゴシック" charset="-128"/>
                          <a:cs typeface="Arial" pitchFamily="34" charset="0"/>
                        </a:rPr>
                        <a:t>80%</a:t>
                      </a:r>
                      <a:r>
                        <a:rPr kumimoji="1" lang="ja-JP" altLang="en-US" sz="900" b="0" kern="1200" dirty="0">
                          <a:solidFill>
                            <a:schemeClr val="tx1"/>
                          </a:solidFill>
                          <a:latin typeface="+mn-lt"/>
                          <a:ea typeface="ＭＳ Ｐゴシック" charset="-128"/>
                          <a:cs typeface="Arial" pitchFamily="34" charset="0"/>
                        </a:rPr>
                        <a:t>程度と推測される</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National Electronic Health Records(NEHR)</a:t>
                      </a:r>
                      <a:r>
                        <a:rPr lang="ja-JP" altLang="en-US" sz="900" dirty="0"/>
                        <a:t>が医療機関間の連携基盤として構築されているが、患者情報の共有についてはまだ進んでいないと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grpSp>
        <p:nvGrpSpPr>
          <p:cNvPr id="6" name="グループ化 7"/>
          <p:cNvGrpSpPr>
            <a:grpSpLocks/>
          </p:cNvGrpSpPr>
          <p:nvPr/>
        </p:nvGrpSpPr>
        <p:grpSpPr>
          <a:xfrm>
            <a:off x="200026" y="2049928"/>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2121639"/>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2121639"/>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2121639"/>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2121639"/>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2121639"/>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2112248"/>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a:t>
            </a:r>
          </a:p>
        </p:txBody>
      </p:sp>
      <p:sp>
        <p:nvSpPr>
          <p:cNvPr id="37" name="TextBox 36">
            <a:extLst>
              <a:ext uri="{FF2B5EF4-FFF2-40B4-BE49-F238E27FC236}">
                <a16:creationId xmlns:a16="http://schemas.microsoft.com/office/drawing/2014/main" id="{4D0DF211-FC0E-43D5-8AFF-2AEA82AC522F}"/>
              </a:ext>
            </a:extLst>
          </p:cNvPr>
          <p:cNvSpPr txBox="1"/>
          <p:nvPr/>
        </p:nvSpPr>
        <p:spPr>
          <a:xfrm>
            <a:off x="-85109" y="7100497"/>
            <a:ext cx="6613057" cy="1015663"/>
          </a:xfrm>
          <a:prstGeom prst="rect">
            <a:avLst/>
          </a:prstGeom>
          <a:noFill/>
        </p:spPr>
        <p:txBody>
          <a:bodyPr wrap="square">
            <a:spAutoFit/>
          </a:bodyPr>
          <a:lstStyle/>
          <a:p>
            <a:r>
              <a:rPr lang="en-US" sz="1000" dirty="0">
                <a:hlinkClick r:id="rId6"/>
              </a:rPr>
              <a:t>https://www.mhlw.go.jp/content/10808000/000685914.pdf</a:t>
            </a:r>
            <a:endParaRPr lang="en-US" sz="1000" dirty="0"/>
          </a:p>
          <a:p>
            <a:r>
              <a:rPr lang="en-US" sz="1000" dirty="0">
                <a:hlinkClick r:id="rId7"/>
              </a:rPr>
              <a:t>https://www.edb.gov.sg/ja/newsroom/news-library/2020jan-jp-article-01.html</a:t>
            </a:r>
            <a:endParaRPr lang="en-US" sz="1000" dirty="0"/>
          </a:p>
          <a:p>
            <a:r>
              <a:rPr lang="en-US" sz="1000" dirty="0"/>
              <a:t>https://www.clair.or.jp/j/forum/pub/docs/497.pdf</a:t>
            </a:r>
          </a:p>
          <a:p>
            <a:r>
              <a:rPr lang="en-US" sz="1000" dirty="0"/>
              <a:t>https://www.rp.edu.sg/ace/course-summary/Detail/specialist-diploma-in-biomedical-informatics-and-analytics</a:t>
            </a:r>
          </a:p>
          <a:p>
            <a:r>
              <a:rPr lang="en-US" sz="1000" dirty="0">
                <a:hlinkClick r:id="rId8"/>
              </a:rPr>
              <a:t>https://ace.nus.edu.sg/prelude-to-digitalization-in-healthcare-care-and-patient-journey/</a:t>
            </a:r>
            <a:endParaRPr lang="en-US" sz="1000" dirty="0"/>
          </a:p>
          <a:p>
            <a:r>
              <a:rPr lang="en-US" sz="1000" dirty="0"/>
              <a:t>https://www.nyp.edu.sg/schools/shss/lifelong-learning/digital-health-and-health-informatics.html</a:t>
            </a:r>
          </a:p>
        </p:txBody>
      </p:sp>
      <p:sp>
        <p:nvSpPr>
          <p:cNvPr id="39" name="TextBox 38">
            <a:extLst>
              <a:ext uri="{FF2B5EF4-FFF2-40B4-BE49-F238E27FC236}">
                <a16:creationId xmlns:a16="http://schemas.microsoft.com/office/drawing/2014/main" id="{DE42E020-D531-47BA-AC81-6D28F3C0846D}"/>
              </a:ext>
            </a:extLst>
          </p:cNvPr>
          <p:cNvSpPr txBox="1"/>
          <p:nvPr/>
        </p:nvSpPr>
        <p:spPr>
          <a:xfrm>
            <a:off x="-68427" y="6899114"/>
            <a:ext cx="4953434" cy="246221"/>
          </a:xfrm>
          <a:prstGeom prst="rect">
            <a:avLst/>
          </a:prstGeom>
          <a:noFill/>
        </p:spPr>
        <p:txBody>
          <a:bodyPr wrap="square">
            <a:spAutoFit/>
          </a:bodyPr>
          <a:lstStyle/>
          <a:p>
            <a:r>
              <a:rPr lang="en-US" sz="1000" dirty="0"/>
              <a:t>https://www.ihis.com.sg/hitmap</a:t>
            </a:r>
          </a:p>
        </p:txBody>
      </p:sp>
    </p:spTree>
    <p:extLst>
      <p:ext uri="{BB962C8B-B14F-4D97-AF65-F5344CB8AC3E}">
        <p14:creationId xmlns:p14="http://schemas.microsoft.com/office/powerpoint/2010/main" val="84564612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2"/>
            </p:custDataLst>
            <p:extLst>
              <p:ext uri="{D42A27DB-BD31-4B8C-83A1-F6EECF244321}">
                <p14:modId xmlns:p14="http://schemas.microsoft.com/office/powerpoint/2010/main" val="2415269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4"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ingapore Business Owne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3261422085"/>
              </p:ext>
            </p:extLst>
          </p:nvPr>
        </p:nvGraphicFramePr>
        <p:xfrm>
          <a:off x="776536" y="1988840"/>
          <a:ext cx="7776864" cy="4005944"/>
        </p:xfrm>
        <a:graphic>
          <a:graphicData uri="http://schemas.openxmlformats.org/drawingml/2006/table">
            <a:tbl>
              <a:tblPr firstRow="1" bandRow="1">
                <a:tableStyleId>{2D5ABB26-0587-4C30-8999-92F81FD0307C}</a:tableStyleId>
              </a:tblPr>
              <a:tblGrid>
                <a:gridCol w="364630">
                  <a:extLst>
                    <a:ext uri="{9D8B030D-6E8A-4147-A177-3AD203B41FA5}">
                      <a16:colId xmlns:a16="http://schemas.microsoft.com/office/drawing/2014/main" val="20000"/>
                    </a:ext>
                  </a:extLst>
                </a:gridCol>
                <a:gridCol w="1363562">
                  <a:extLst>
                    <a:ext uri="{9D8B030D-6E8A-4147-A177-3AD203B41FA5}">
                      <a16:colId xmlns:a16="http://schemas.microsoft.com/office/drawing/2014/main" val="20001"/>
                    </a:ext>
                  </a:extLst>
                </a:gridCol>
                <a:gridCol w="3312368">
                  <a:extLst>
                    <a:ext uri="{9D8B030D-6E8A-4147-A177-3AD203B41FA5}">
                      <a16:colId xmlns:a16="http://schemas.microsoft.com/office/drawing/2014/main" val="20002"/>
                    </a:ext>
                  </a:extLst>
                </a:gridCol>
                <a:gridCol w="2736304">
                  <a:extLst>
                    <a:ext uri="{9D8B030D-6E8A-4147-A177-3AD203B41FA5}">
                      <a16:colId xmlns:a16="http://schemas.microsoft.com/office/drawing/2014/main" val="3100871719"/>
                    </a:ext>
                  </a:extLst>
                </a:gridCol>
              </a:tblGrid>
              <a:tr h="324000">
                <a:tc>
                  <a:txBody>
                    <a:bodyPr/>
                    <a:lstStyle/>
                    <a:p>
                      <a:pPr algn="ctr" fontAlgn="ctr"/>
                      <a:r>
                        <a:rPr kumimoji="1" lang="en-US" altLang="ja-JP" sz="105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サービス内容</a:t>
                      </a:r>
                      <a:endParaRPr kumimoji="1" lang="en-US" altLang="ja-JP"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solidFill>
                      <a:prstDash val="solid"/>
                      <a:round/>
                      <a:headEnd type="none" w="med" len="med"/>
                      <a:tailEnd type="none" w="med" len="med"/>
                    </a:lnL>
                    <a:solidFill>
                      <a:srgbClr val="3D6AA7"/>
                    </a:solidFill>
                  </a:tcPr>
                </a:tc>
                <a:tc>
                  <a:txBody>
                    <a:bodyPr/>
                    <a:lstStyle/>
                    <a:p>
                      <a:pPr marL="0" algn="ctr" defTabSz="914400" rtl="0" eaLnBrk="1" fontAlgn="ctr" latinLnBrk="0" hangingPunct="1"/>
                      <a:r>
                        <a:rPr kumimoji="1" lang="en-US" altLang="ja-JP"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URL</a:t>
                      </a:r>
                    </a:p>
                  </a:txBody>
                  <a:tcPr marL="0" marR="0" anchor="ctr">
                    <a:solidFill>
                      <a:srgbClr val="3D6AA7"/>
                    </a:solidFill>
                  </a:tcPr>
                </a:tc>
                <a:extLst>
                  <a:ext uri="{0D108BD9-81ED-4DB2-BD59-A6C34878D82A}">
                    <a16:rowId xmlns:a16="http://schemas.microsoft.com/office/drawing/2014/main" val="10000"/>
                  </a:ext>
                </a:extLst>
              </a:tr>
              <a:tr h="43318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omage</a:t>
                      </a:r>
                    </a:p>
                  </a:txBody>
                  <a:tcPr marL="0" marR="0" marT="0" marB="0" anchor="ctr">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00" kern="1200" dirty="0">
                          <a:solidFill>
                            <a:schemeClr val="tx1"/>
                          </a:solidFill>
                          <a:latin typeface="+mn-lt"/>
                          <a:ea typeface="+mn-ea"/>
                          <a:cs typeface="+mn-cs"/>
                        </a:rPr>
                        <a:t>30</a:t>
                      </a:r>
                      <a:r>
                        <a:rPr kumimoji="1" lang="ja-JP" altLang="en-US" sz="1000" kern="1200" dirty="0">
                          <a:solidFill>
                            <a:schemeClr val="tx1"/>
                          </a:solidFill>
                          <a:latin typeface="+mn-lt"/>
                          <a:ea typeface="+mn-ea"/>
                          <a:cs typeface="+mn-cs"/>
                        </a:rPr>
                        <a:t>分以内に</a:t>
                      </a:r>
                      <a:r>
                        <a:rPr kumimoji="1" lang="en-US" altLang="ja-JP" sz="1000" kern="1200" dirty="0">
                          <a:solidFill>
                            <a:schemeClr val="tx1"/>
                          </a:solidFill>
                          <a:latin typeface="+mn-lt"/>
                          <a:ea typeface="+mn-ea"/>
                          <a:cs typeface="+mn-cs"/>
                        </a:rPr>
                        <a:t>GP</a:t>
                      </a:r>
                      <a:r>
                        <a:rPr kumimoji="1" lang="ja-JP" altLang="en-US" sz="1000" kern="1200" dirty="0">
                          <a:solidFill>
                            <a:schemeClr val="tx1"/>
                          </a:solidFill>
                          <a:latin typeface="+mn-lt"/>
                          <a:ea typeface="+mn-ea"/>
                          <a:cs typeface="+mn-cs"/>
                        </a:rPr>
                        <a:t>とのオンライン診療を受けることができ、即日で処方薬が届く。</a:t>
                      </a:r>
                      <a:endParaRPr kumimoji="1" lang="en-US" altLang="ja-JP" sz="1000" kern="1200" dirty="0">
                        <a:solidFill>
                          <a:schemeClr val="tx1"/>
                        </a:solidFill>
                        <a:latin typeface="+mn-lt"/>
                        <a:ea typeface="+mn-ea"/>
                        <a:cs typeface="+mn-cs"/>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kern="1200" dirty="0">
                          <a:solidFill>
                            <a:schemeClr val="tx1"/>
                          </a:solidFill>
                          <a:latin typeface="+mn-lt"/>
                          <a:ea typeface="+mn-ea"/>
                          <a:cs typeface="+mn-cs"/>
                        </a:rPr>
                        <a:t>https://www.homage.sg/services/telemedicine-online-doctor/</a:t>
                      </a: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32135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peedoc</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ビデオ診療並びに訪問診療の予約を受ける。</a:t>
                      </a:r>
                      <a:r>
                        <a:rPr kumimoji="1" lang="en-US" altLang="ja-JP" sz="1000" kern="1200" dirty="0">
                          <a:solidFill>
                            <a:schemeClr val="tx1"/>
                          </a:solidFill>
                          <a:latin typeface="+mn-lt"/>
                          <a:ea typeface="+mn-ea"/>
                          <a:cs typeface="+mn-cs"/>
                        </a:rPr>
                        <a:t>3</a:t>
                      </a:r>
                      <a:r>
                        <a:rPr kumimoji="1" lang="ja-JP" altLang="en-US" sz="1000" kern="1200" dirty="0">
                          <a:solidFill>
                            <a:schemeClr val="tx1"/>
                          </a:solidFill>
                          <a:latin typeface="+mn-lt"/>
                          <a:ea typeface="+mn-ea"/>
                          <a:cs typeface="+mn-cs"/>
                        </a:rPr>
                        <a:t>時間以内に処方薬を配送。</a:t>
                      </a:r>
                      <a:endParaRPr kumimoji="1" lang="en-US" altLang="ja-JP" sz="1000" kern="1200" dirty="0">
                        <a:solidFill>
                          <a:schemeClr val="tx1"/>
                        </a:solidFill>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kern="1200" dirty="0">
                          <a:solidFill>
                            <a:schemeClr val="tx1"/>
                          </a:solidFill>
                          <a:latin typeface="+mn-lt"/>
                          <a:ea typeface="+mn-ea"/>
                          <a:cs typeface="+mn-cs"/>
                        </a:rPr>
                        <a:t>https://speedoc.com/sg</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32135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altLang="ja-JP"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WhiteCoat</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00" kern="1200" dirty="0">
                          <a:solidFill>
                            <a:schemeClr val="tx1"/>
                          </a:solidFill>
                          <a:latin typeface="+mn-lt"/>
                          <a:ea typeface="+mn-ea"/>
                          <a:cs typeface="+mn-cs"/>
                        </a:rPr>
                        <a:t>GP</a:t>
                      </a:r>
                      <a:r>
                        <a:rPr kumimoji="1" lang="ja-JP" altLang="en-US" sz="1000" kern="1200" dirty="0">
                          <a:solidFill>
                            <a:schemeClr val="tx1"/>
                          </a:solidFill>
                          <a:latin typeface="+mn-lt"/>
                          <a:ea typeface="+mn-ea"/>
                          <a:cs typeface="+mn-cs"/>
                        </a:rPr>
                        <a:t>および慢性疾患の専門医のビデオ診療を受けられる。</a:t>
                      </a:r>
                      <a:r>
                        <a:rPr kumimoji="1" lang="en-US" altLang="ja-JP" sz="1000" kern="1200" dirty="0">
                          <a:solidFill>
                            <a:schemeClr val="tx1"/>
                          </a:solidFill>
                          <a:latin typeface="+mn-lt"/>
                          <a:ea typeface="+mn-ea"/>
                          <a:cs typeface="+mn-cs"/>
                        </a:rPr>
                        <a:t>90</a:t>
                      </a:r>
                      <a:r>
                        <a:rPr kumimoji="1" lang="ja-JP" altLang="en-US" sz="1000" kern="1200" dirty="0">
                          <a:solidFill>
                            <a:schemeClr val="tx1"/>
                          </a:solidFill>
                          <a:latin typeface="+mn-lt"/>
                          <a:ea typeface="+mn-ea"/>
                          <a:cs typeface="+mn-cs"/>
                        </a:rPr>
                        <a:t>分以内に処方薬を配送</a:t>
                      </a:r>
                      <a:endParaRPr kumimoji="1" lang="en-US" altLang="ja-JP" sz="1000" kern="1200" dirty="0">
                        <a:solidFill>
                          <a:schemeClr val="tx1"/>
                        </a:solidFill>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kern="1200" dirty="0">
                          <a:solidFill>
                            <a:schemeClr val="tx1"/>
                          </a:solidFill>
                          <a:latin typeface="+mn-lt"/>
                          <a:ea typeface="+mn-ea"/>
                          <a:cs typeface="+mn-cs"/>
                        </a:rPr>
                        <a:t>https://whitecoat.com.sg/</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218355212"/>
                  </a:ext>
                </a:extLst>
              </a:tr>
              <a:tr h="32135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Unity Telemedicine</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00" kern="1200" dirty="0">
                          <a:solidFill>
                            <a:schemeClr val="tx1"/>
                          </a:solidFill>
                          <a:latin typeface="+mn-lt"/>
                          <a:ea typeface="+mn-ea"/>
                          <a:cs typeface="+mn-cs"/>
                        </a:rPr>
                        <a:t>Unity</a:t>
                      </a:r>
                      <a:r>
                        <a:rPr kumimoji="1" lang="ja-JP" altLang="en-US" sz="1000" kern="1200" dirty="0">
                          <a:solidFill>
                            <a:schemeClr val="tx1"/>
                          </a:solidFill>
                          <a:latin typeface="+mn-lt"/>
                          <a:ea typeface="+mn-ea"/>
                          <a:cs typeface="+mn-cs"/>
                        </a:rPr>
                        <a:t>の店舗もしくは自分の</a:t>
                      </a:r>
                      <a:r>
                        <a:rPr kumimoji="1" lang="en-US" altLang="ja-JP" sz="1000" kern="1200" dirty="0">
                          <a:solidFill>
                            <a:schemeClr val="tx1"/>
                          </a:solidFill>
                          <a:latin typeface="+mn-lt"/>
                          <a:ea typeface="+mn-ea"/>
                          <a:cs typeface="+mn-cs"/>
                        </a:rPr>
                        <a:t>PC</a:t>
                      </a:r>
                      <a:r>
                        <a:rPr kumimoji="1" lang="ja-JP" altLang="en-US" sz="1000" kern="1200" dirty="0">
                          <a:solidFill>
                            <a:schemeClr val="tx1"/>
                          </a:solidFill>
                          <a:latin typeface="+mn-lt"/>
                          <a:ea typeface="+mn-ea"/>
                          <a:cs typeface="+mn-cs"/>
                        </a:rPr>
                        <a:t>経由などで医師のビデオ診療を受けて処方箋を発行してもらえる。薬の受け取りは</a:t>
                      </a:r>
                      <a:r>
                        <a:rPr kumimoji="1" lang="en-US" altLang="ja-JP" sz="1000" kern="1200" dirty="0">
                          <a:solidFill>
                            <a:schemeClr val="tx1"/>
                          </a:solidFill>
                          <a:latin typeface="+mn-lt"/>
                          <a:ea typeface="+mn-ea"/>
                          <a:cs typeface="+mn-cs"/>
                        </a:rPr>
                        <a:t>Unity</a:t>
                      </a:r>
                      <a:r>
                        <a:rPr kumimoji="1" lang="ja-JP" altLang="en-US" sz="1000" kern="1200" dirty="0">
                          <a:solidFill>
                            <a:schemeClr val="tx1"/>
                          </a:solidFill>
                          <a:latin typeface="+mn-lt"/>
                          <a:ea typeface="+mn-ea"/>
                          <a:cs typeface="+mn-cs"/>
                        </a:rPr>
                        <a:t>の店舗にて行う。</a:t>
                      </a:r>
                      <a:endParaRPr kumimoji="1" lang="en-US" altLang="ja-JP" sz="1000" kern="1200" dirty="0">
                        <a:solidFill>
                          <a:schemeClr val="tx1"/>
                        </a:solidFill>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kern="1200" dirty="0">
                          <a:solidFill>
                            <a:schemeClr val="tx1"/>
                          </a:solidFill>
                          <a:latin typeface="+mn-lt"/>
                          <a:ea typeface="+mn-ea"/>
                          <a:cs typeface="+mn-cs"/>
                        </a:rPr>
                        <a:t>https://unity.com.sg/unity-services/telemedicine/</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873939341"/>
                  </a:ext>
                </a:extLst>
              </a:tr>
              <a:tr h="32135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 </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Fullerton health Telemedicine</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携帯電話アプリより医師のビデオ診療を受け、処方薬を自宅に届けてもらえる。</a:t>
                      </a:r>
                      <a:endParaRPr kumimoji="1" lang="en-US" altLang="ja-JP" sz="1000" kern="1200" dirty="0">
                        <a:solidFill>
                          <a:schemeClr val="tx1"/>
                        </a:solidFill>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kern="1200" dirty="0">
                          <a:solidFill>
                            <a:schemeClr val="tx1"/>
                          </a:solidFill>
                          <a:latin typeface="+mn-lt"/>
                          <a:ea typeface="+mn-ea"/>
                          <a:cs typeface="+mn-cs"/>
                        </a:rPr>
                        <a:t>https://www.fullertonhealth.com/sg/telemedicine/</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368676094"/>
                  </a:ext>
                </a:extLst>
              </a:tr>
              <a:tr h="32135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iDoc</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専門医とのオンライン診療</a:t>
                      </a:r>
                      <a:endParaRPr kumimoji="1" lang="en-US" altLang="ja-JP" sz="1000" kern="1200" dirty="0">
                        <a:solidFill>
                          <a:schemeClr val="tx1"/>
                        </a:solidFill>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kern="1200" dirty="0">
                          <a:solidFill>
                            <a:schemeClr val="tx1"/>
                          </a:solidFill>
                          <a:latin typeface="+mn-lt"/>
                          <a:ea typeface="+mn-ea"/>
                          <a:cs typeface="+mn-cs"/>
                        </a:rPr>
                        <a:t>https://www.hidoc.sg/</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2903402"/>
                  </a:ext>
                </a:extLst>
              </a:tr>
              <a:tr h="32135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7</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tor Anywhere</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71450" marR="0" lvl="0" indent="-1714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携帯電話アプリより医師のビデオ診療を受け、処方薬を</a:t>
                      </a:r>
                      <a:r>
                        <a:rPr kumimoji="1" lang="en-US" altLang="ja-JP" sz="1000" kern="1200" dirty="0">
                          <a:solidFill>
                            <a:schemeClr val="tx1"/>
                          </a:solidFill>
                          <a:latin typeface="+mn-lt"/>
                          <a:ea typeface="+mn-ea"/>
                          <a:cs typeface="+mn-cs"/>
                        </a:rPr>
                        <a:t>3</a:t>
                      </a:r>
                      <a:r>
                        <a:rPr kumimoji="1" lang="ja-JP" altLang="en-US" sz="1000" kern="1200" dirty="0">
                          <a:solidFill>
                            <a:schemeClr val="tx1"/>
                          </a:solidFill>
                          <a:latin typeface="+mn-lt"/>
                          <a:ea typeface="+mn-ea"/>
                          <a:cs typeface="+mn-cs"/>
                        </a:rPr>
                        <a:t>時間以内に自宅に配送。慢性疾患の管理のサポートも行う。</a:t>
                      </a:r>
                      <a:endParaRPr kumimoji="1" lang="en-US" altLang="ja-JP" sz="1000" kern="1200" dirty="0">
                        <a:solidFill>
                          <a:schemeClr val="tx1"/>
                        </a:solidFill>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kern="1200" dirty="0">
                          <a:solidFill>
                            <a:schemeClr val="tx1"/>
                          </a:solidFill>
                          <a:latin typeface="+mn-lt"/>
                          <a:ea typeface="+mn-ea"/>
                          <a:cs typeface="+mn-cs"/>
                        </a:rPr>
                        <a:t>https://doctoranywhere.com/</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543757903"/>
                  </a:ext>
                </a:extLst>
              </a:tr>
              <a:tr h="32135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8</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aNaDr</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オンラインで自身の症状を書き込み、舌の写真を送ると、</a:t>
                      </a:r>
                      <a:r>
                        <a:rPr kumimoji="1" lang="en-US" altLang="ja-JP" sz="1000" kern="1200" dirty="0">
                          <a:solidFill>
                            <a:schemeClr val="tx1"/>
                          </a:solidFill>
                          <a:latin typeface="+mn-lt"/>
                          <a:ea typeface="+mn-ea"/>
                          <a:cs typeface="+mn-cs"/>
                        </a:rPr>
                        <a:t>24</a:t>
                      </a:r>
                      <a:r>
                        <a:rPr kumimoji="1" lang="ja-JP" altLang="en-US" sz="1000" kern="1200" dirty="0">
                          <a:solidFill>
                            <a:schemeClr val="tx1"/>
                          </a:solidFill>
                          <a:latin typeface="+mn-lt"/>
                          <a:ea typeface="+mn-ea"/>
                          <a:cs typeface="+mn-cs"/>
                        </a:rPr>
                        <a:t>時間以内に医師が診断結果をメールで送付</a:t>
                      </a:r>
                      <a:endParaRPr kumimoji="1" lang="en-US" altLang="ja-JP" sz="1000" kern="1200" dirty="0">
                        <a:solidFill>
                          <a:schemeClr val="tx1"/>
                        </a:solidFill>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b="0" i="0" u="none" strike="noStrike" kern="1200" cap="none" spc="0" normalizeH="0" baseline="0" noProof="0" dirty="0">
                          <a:ln>
                            <a:noFill/>
                          </a:ln>
                          <a:solidFill>
                            <a:srgbClr val="000000"/>
                          </a:solidFill>
                          <a:effectLst/>
                          <a:uLnTx/>
                          <a:uFillTx/>
                          <a:latin typeface="+mn-lt"/>
                          <a:ea typeface="+mn-ea"/>
                          <a:cs typeface="+mn-cs"/>
                        </a:rPr>
                        <a:t>https://askpulsetcm.sg/</a:t>
                      </a:r>
                      <a:endPar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964084134"/>
                  </a:ext>
                </a:extLst>
              </a:tr>
              <a:tr h="32135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9</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skPULSE</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lvl="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中医学専門のオンライン診療</a:t>
                      </a:r>
                      <a:endParaRPr kumimoji="1" lang="en-US" altLang="ja-JP" sz="1000" kern="1200" dirty="0">
                        <a:solidFill>
                          <a:schemeClr val="tx1"/>
                        </a:solidFill>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b="0" i="0" u="none" strike="noStrike" kern="1200" cap="none" spc="0" normalizeH="0" baseline="0" noProof="0" dirty="0">
                          <a:ln>
                            <a:noFill/>
                          </a:ln>
                          <a:solidFill>
                            <a:srgbClr val="000000"/>
                          </a:solidFill>
                          <a:effectLst/>
                          <a:uLnTx/>
                          <a:uFillTx/>
                          <a:latin typeface="+mn-lt"/>
                          <a:ea typeface="+mn-ea"/>
                          <a:cs typeface="+mn-cs"/>
                        </a:rPr>
                        <a:t>https://askpulsetcm.sg/</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346663602"/>
                  </a:ext>
                </a:extLst>
              </a:tr>
              <a:tr h="32135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ctr"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tor World</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mn-lt"/>
                          <a:ea typeface="+mn-ea"/>
                          <a:cs typeface="+mn-cs"/>
                        </a:rPr>
                        <a:t>携帯電話アプリよりビデオ診療を受け、</a:t>
                      </a:r>
                      <a:r>
                        <a:rPr kumimoji="1" lang="en-US" altLang="ja-JP" sz="1000" kern="1200" dirty="0">
                          <a:solidFill>
                            <a:schemeClr val="tx1"/>
                          </a:solidFill>
                          <a:latin typeface="+mn-lt"/>
                          <a:ea typeface="+mn-ea"/>
                          <a:cs typeface="+mn-cs"/>
                        </a:rPr>
                        <a:t>5</a:t>
                      </a:r>
                      <a:r>
                        <a:rPr kumimoji="1" lang="ja-JP" altLang="en-US" sz="1000" kern="1200" dirty="0">
                          <a:solidFill>
                            <a:schemeClr val="tx1"/>
                          </a:solidFill>
                          <a:latin typeface="+mn-lt"/>
                          <a:ea typeface="+mn-ea"/>
                          <a:cs typeface="+mn-cs"/>
                        </a:rPr>
                        <a:t>時間以内に処方薬を配送。病欠に必要な証明書や専門医の紹介状なども発行。</a:t>
                      </a:r>
                      <a:endParaRPr kumimoji="1" lang="en-US" altLang="ja-JP" sz="1000" kern="1200" dirty="0">
                        <a:solidFill>
                          <a:schemeClr val="tx1"/>
                        </a:solidFill>
                        <a:latin typeface="+mn-lt"/>
                        <a:ea typeface="+mn-ea"/>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b="0" i="0" u="none" strike="noStrike" kern="1200" cap="none" spc="0" normalizeH="0" baseline="0" noProof="0" dirty="0">
                          <a:ln>
                            <a:noFill/>
                          </a:ln>
                          <a:solidFill>
                            <a:srgbClr val="000000"/>
                          </a:solidFill>
                          <a:effectLst/>
                          <a:uLnTx/>
                          <a:uFillTx/>
                          <a:latin typeface="+mn-lt"/>
                          <a:ea typeface="+mn-ea"/>
                          <a:cs typeface="+mn-cs"/>
                        </a:rPr>
                        <a:t>https://www.getcare.io/</a:t>
                      </a:r>
                      <a:endPar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570300527"/>
                  </a:ext>
                </a:extLst>
              </a:tr>
            </a:tbl>
          </a:graphicData>
        </a:graphic>
      </p:graphicFrame>
      <p:sp>
        <p:nvSpPr>
          <p:cNvPr id="11" name="Rectangle 10">
            <a:extLst>
              <a:ext uri="{FF2B5EF4-FFF2-40B4-BE49-F238E27FC236}">
                <a16:creationId xmlns:a16="http://schemas.microsoft.com/office/drawing/2014/main" id="{DA3A4BAF-7D5D-43E6-8799-7715E1CADD0B}"/>
              </a:ext>
            </a:extLst>
          </p:cNvPr>
          <p:cNvSpPr>
            <a:spLocks noChangeArrowheads="1"/>
          </p:cNvSpPr>
          <p:nvPr/>
        </p:nvSpPr>
        <p:spPr bwMode="auto">
          <a:xfrm>
            <a:off x="774680" y="1672269"/>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オンライン診療を提供している企業の例</a:t>
            </a:r>
            <a:endParaRPr lang="en-US" altLang="ja-JP" sz="1400" baseline="30000" dirty="0">
              <a:solidFill>
                <a:srgbClr val="000000"/>
              </a:solidFill>
              <a:latin typeface="Arial Black" pitchFamily="34" charset="0"/>
              <a:ea typeface="HGP創英角ｺﾞｼｯｸUB" pitchFamily="50" charset="-128"/>
            </a:endParaRPr>
          </a:p>
        </p:txBody>
      </p:sp>
      <p:sp>
        <p:nvSpPr>
          <p:cNvPr id="10" name="TextBox 9">
            <a:extLst>
              <a:ext uri="{FF2B5EF4-FFF2-40B4-BE49-F238E27FC236}">
                <a16:creationId xmlns:a16="http://schemas.microsoft.com/office/drawing/2014/main" id="{54DD82DD-490F-46B2-99BA-E60C30EDB358}"/>
              </a:ext>
            </a:extLst>
          </p:cNvPr>
          <p:cNvSpPr txBox="1"/>
          <p:nvPr/>
        </p:nvSpPr>
        <p:spPr>
          <a:xfrm>
            <a:off x="774680" y="6887125"/>
            <a:ext cx="4953698" cy="646331"/>
          </a:xfrm>
          <a:prstGeom prst="rect">
            <a:avLst/>
          </a:prstGeom>
          <a:noFill/>
        </p:spPr>
        <p:txBody>
          <a:bodyPr wrap="square">
            <a:spAutoFit/>
          </a:bodyPr>
          <a:lstStyle/>
          <a:p>
            <a:r>
              <a:rPr lang="en-US" altLang="ja-JP" sz="1800" dirty="0">
                <a:latin typeface="Arial" panose="020B0604020202020204" pitchFamily="34" charset="0"/>
                <a:ea typeface="ＭＳ Ｐゴシック" panose="020B0600070205080204" pitchFamily="50" charset="-128"/>
                <a:cs typeface="Arial" panose="020B0604020202020204" pitchFamily="34" charset="0"/>
                <a:hlinkClick r:id="rId6"/>
              </a:rPr>
              <a:t>https://sbo.sg/lifestyle/health-wellness/best-telemedicine-in-singapore/</a:t>
            </a:r>
            <a:endParaRPr lang="en-US" dirty="0"/>
          </a:p>
        </p:txBody>
      </p:sp>
    </p:spTree>
    <p:extLst>
      <p:ext uri="{BB962C8B-B14F-4D97-AF65-F5344CB8AC3E}">
        <p14:creationId xmlns:p14="http://schemas.microsoft.com/office/powerpoint/2010/main" val="964844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B19FBAC-0797-4D33-B8D2-82B70E913C5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8"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2B19FBAC-0797-4D33-B8D2-82B70E913C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学会</a:t>
            </a:r>
            <a:endParaRPr lang="en-US" altLang="ja-JP" dirty="0"/>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ja-JP" sz="1400" dirty="0"/>
              <a:t>主要な学会</a:t>
            </a:r>
            <a:r>
              <a:rPr lang="ja-JP" altLang="en-US" sz="1400" dirty="0"/>
              <a:t>および医療関係者の組織を以下に示す</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テキスト ボックス 26"/>
          <p:cNvSpPr txBox="1"/>
          <p:nvPr/>
        </p:nvSpPr>
        <p:spPr>
          <a:xfrm>
            <a:off x="200472" y="6669360"/>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デスクトップリサーチ</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Table 9">
            <a:extLst>
              <a:ext uri="{FF2B5EF4-FFF2-40B4-BE49-F238E27FC236}">
                <a16:creationId xmlns:a16="http://schemas.microsoft.com/office/drawing/2014/main" id="{994EE89F-96D8-440A-9FD0-7AA094AA667A}"/>
              </a:ext>
            </a:extLst>
          </p:cNvPr>
          <p:cNvGraphicFramePr>
            <a:graphicFrameLocks noGrp="1"/>
          </p:cNvGraphicFramePr>
          <p:nvPr>
            <p:extLst>
              <p:ext uri="{D42A27DB-BD31-4B8C-83A1-F6EECF244321}">
                <p14:modId xmlns:p14="http://schemas.microsoft.com/office/powerpoint/2010/main" val="171821482"/>
              </p:ext>
            </p:extLst>
          </p:nvPr>
        </p:nvGraphicFramePr>
        <p:xfrm>
          <a:off x="488504" y="1608594"/>
          <a:ext cx="8784976" cy="1508847"/>
        </p:xfrm>
        <a:graphic>
          <a:graphicData uri="http://schemas.openxmlformats.org/drawingml/2006/table">
            <a:tbl>
              <a:tblPr firstRow="1" bandRow="1">
                <a:tableStyleId>{2D5ABB26-0587-4C30-8999-92F81FD0307C}</a:tableStyleId>
              </a:tblPr>
              <a:tblGrid>
                <a:gridCol w="2748602">
                  <a:extLst>
                    <a:ext uri="{9D8B030D-6E8A-4147-A177-3AD203B41FA5}">
                      <a16:colId xmlns:a16="http://schemas.microsoft.com/office/drawing/2014/main" val="2753323387"/>
                    </a:ext>
                  </a:extLst>
                </a:gridCol>
                <a:gridCol w="707782">
                  <a:extLst>
                    <a:ext uri="{9D8B030D-6E8A-4147-A177-3AD203B41FA5}">
                      <a16:colId xmlns:a16="http://schemas.microsoft.com/office/drawing/2014/main" val="2083171187"/>
                    </a:ext>
                  </a:extLst>
                </a:gridCol>
                <a:gridCol w="3384376">
                  <a:extLst>
                    <a:ext uri="{9D8B030D-6E8A-4147-A177-3AD203B41FA5}">
                      <a16:colId xmlns:a16="http://schemas.microsoft.com/office/drawing/2014/main" val="402676426"/>
                    </a:ext>
                  </a:extLst>
                </a:gridCol>
                <a:gridCol w="1944216">
                  <a:extLst>
                    <a:ext uri="{9D8B030D-6E8A-4147-A177-3AD203B41FA5}">
                      <a16:colId xmlns:a16="http://schemas.microsoft.com/office/drawing/2014/main" val="3935625665"/>
                    </a:ext>
                  </a:extLst>
                </a:gridCol>
              </a:tblGrid>
              <a:tr h="243504">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組織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設立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287852">
                <a:tc>
                  <a:txBody>
                    <a:bodyPr/>
                    <a:lstStyle/>
                    <a:p>
                      <a:r>
                        <a:rPr lang="en-US" altLang="ja-JP" sz="900" dirty="0"/>
                        <a:t>Singapore Medical Association </a:t>
                      </a:r>
                      <a:r>
                        <a:rPr lang="ja-JP" altLang="en-US" sz="900" dirty="0"/>
                        <a:t>シンガポール医師会</a:t>
                      </a:r>
                      <a:endParaRPr lang="en-US" altLang="ja-JP" sz="9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mn-lt"/>
                          <a:ea typeface="+mn-ea"/>
                          <a:cs typeface="+mn-cs"/>
                        </a:rPr>
                        <a:t>1957</a:t>
                      </a:r>
                      <a:endParaRPr kumimoji="1" lang="ja-JP" altLang="en-US" sz="9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公立・民間医療機関の双方で働くほとんどの医師で組織されてい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mn-lt"/>
                          <a:ea typeface="+mn-ea"/>
                          <a:cs typeface="+mn-cs"/>
                        </a:rPr>
                        <a:t>https://www.sma.org.sg/</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382828"/>
                  </a:ext>
                </a:extLst>
              </a:tr>
              <a:tr h="143926">
                <a:tc>
                  <a:txBody>
                    <a:bodyPr/>
                    <a:lstStyle/>
                    <a:p>
                      <a:r>
                        <a:rPr lang="en-US" altLang="ja-JP" sz="900" dirty="0"/>
                        <a:t>The Pharmaceutical Society of Singapore (PS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mn-lt"/>
                          <a:ea typeface="+mn-ea"/>
                          <a:cs typeface="+mn-cs"/>
                        </a:rPr>
                        <a:t>1905</a:t>
                      </a:r>
                      <a:endParaRPr kumimoji="1" lang="ja-JP" altLang="en-US" sz="9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シンガポールの薬剤師会。国際薬剤師・薬学連合のメンバー組織</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mn-lt"/>
                          <a:ea typeface="+mn-ea"/>
                          <a:cs typeface="+mn-cs"/>
                        </a:rPr>
                        <a:t>https://www.pss.org.sg/</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91857625"/>
                  </a:ext>
                </a:extLst>
              </a:tr>
              <a:tr h="1439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900" dirty="0"/>
                        <a:t>The Association of Pharmaceutical Medicine Singapore (APM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mn-lt"/>
                          <a:ea typeface="+mn-ea"/>
                          <a:cs typeface="+mn-cs"/>
                        </a:rPr>
                        <a:t>2006</a:t>
                      </a:r>
                      <a:endParaRPr kumimoji="1" lang="ja-JP" altLang="en-US" sz="9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製薬会社や関連する団体に所属する医師や研究者による学会。</a:t>
                      </a:r>
                      <a:r>
                        <a:rPr kumimoji="1" lang="en-US" altLang="ja-JP" sz="900" kern="1200" dirty="0">
                          <a:solidFill>
                            <a:schemeClr val="dk1"/>
                          </a:solidFill>
                          <a:latin typeface="+mn-lt"/>
                          <a:ea typeface="+mn-ea"/>
                          <a:cs typeface="+mn-cs"/>
                        </a:rPr>
                        <a:t>IFAPP</a:t>
                      </a:r>
                      <a:r>
                        <a:rPr kumimoji="1" lang="ja-JP" altLang="en-US" sz="900" kern="1200" dirty="0">
                          <a:solidFill>
                            <a:schemeClr val="dk1"/>
                          </a:solidFill>
                          <a:latin typeface="+mn-lt"/>
                          <a:ea typeface="+mn-ea"/>
                          <a:cs typeface="+mn-cs"/>
                        </a:rPr>
                        <a:t>のメンバー組織</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mn-lt"/>
                          <a:ea typeface="+mn-ea"/>
                          <a:cs typeface="+mn-cs"/>
                          <a:hlinkClick r:id="rId6"/>
                        </a:rPr>
                        <a:t>www.apmsingapore.org</a:t>
                      </a:r>
                      <a:endParaRPr kumimoji="1" lang="en-US" altLang="ja-JP" sz="9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4803721"/>
                  </a:ext>
                </a:extLst>
              </a:tr>
              <a:tr h="1439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900" dirty="0"/>
                        <a:t>Academy of Medicine, Singapo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mn-lt"/>
                          <a:ea typeface="+mn-ea"/>
                          <a:cs typeface="+mn-cs"/>
                        </a:rPr>
                        <a:t>1957</a:t>
                      </a:r>
                      <a:endParaRPr kumimoji="1" lang="ja-JP" altLang="en-US" sz="9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mn-lt"/>
                          <a:ea typeface="+mn-ea"/>
                          <a:cs typeface="+mn-cs"/>
                        </a:rPr>
                        <a:t>シンガポールの医師と歯科医のための専門的かつ教育的な組織</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mn-lt"/>
                          <a:ea typeface="+mn-ea"/>
                          <a:cs typeface="+mn-cs"/>
                        </a:rPr>
                        <a:t>https://www.ams.edu.sg/c</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725111767"/>
                  </a:ext>
                </a:extLst>
              </a:tr>
            </a:tbl>
          </a:graphicData>
        </a:graphic>
      </p:graphicFrame>
    </p:spTree>
    <p:extLst>
      <p:ext uri="{BB962C8B-B14F-4D97-AF65-F5344CB8AC3E}">
        <p14:creationId xmlns:p14="http://schemas.microsoft.com/office/powerpoint/2010/main" val="140831951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B19FBAC-0797-4D33-B8D2-82B70E913C5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2"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2B19FBAC-0797-4D33-B8D2-82B70E913C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団体・イベント</a:t>
            </a:r>
            <a:endParaRPr lang="en-US" altLang="ja-JP" dirty="0"/>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医療機器関連の業界団体および代表的なイベントを以下に示す。</a:t>
            </a:r>
          </a:p>
        </p:txBody>
      </p:sp>
      <p:sp>
        <p:nvSpPr>
          <p:cNvPr id="27" name="テキスト ボックス 26"/>
          <p:cNvSpPr txBox="1"/>
          <p:nvPr/>
        </p:nvSpPr>
        <p:spPr>
          <a:xfrm>
            <a:off x="200472" y="6669360"/>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デスクトップリサーチ</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 name="Table 8">
            <a:extLst>
              <a:ext uri="{FF2B5EF4-FFF2-40B4-BE49-F238E27FC236}">
                <a16:creationId xmlns:a16="http://schemas.microsoft.com/office/drawing/2014/main" id="{CF8BE9A2-C167-4563-A875-41D40E27D950}"/>
              </a:ext>
            </a:extLst>
          </p:cNvPr>
          <p:cNvGraphicFramePr>
            <a:graphicFrameLocks noGrp="1"/>
          </p:cNvGraphicFramePr>
          <p:nvPr>
            <p:extLst>
              <p:ext uri="{D42A27DB-BD31-4B8C-83A1-F6EECF244321}">
                <p14:modId xmlns:p14="http://schemas.microsoft.com/office/powerpoint/2010/main" val="219150340"/>
              </p:ext>
            </p:extLst>
          </p:nvPr>
        </p:nvGraphicFramePr>
        <p:xfrm>
          <a:off x="544339" y="4068605"/>
          <a:ext cx="8750442" cy="1610905"/>
        </p:xfrm>
        <a:graphic>
          <a:graphicData uri="http://schemas.openxmlformats.org/drawingml/2006/table">
            <a:tbl>
              <a:tblPr firstRow="1" bandRow="1">
                <a:tableStyleId>{2D5ABB26-0587-4C30-8999-92F81FD0307C}</a:tableStyleId>
              </a:tblPr>
              <a:tblGrid>
                <a:gridCol w="1584176">
                  <a:extLst>
                    <a:ext uri="{9D8B030D-6E8A-4147-A177-3AD203B41FA5}">
                      <a16:colId xmlns:a16="http://schemas.microsoft.com/office/drawing/2014/main" val="2753323387"/>
                    </a:ext>
                  </a:extLst>
                </a:gridCol>
                <a:gridCol w="1117594">
                  <a:extLst>
                    <a:ext uri="{9D8B030D-6E8A-4147-A177-3AD203B41FA5}">
                      <a16:colId xmlns:a16="http://schemas.microsoft.com/office/drawing/2014/main" val="783939283"/>
                    </a:ext>
                  </a:extLst>
                </a:gridCol>
                <a:gridCol w="3816424">
                  <a:extLst>
                    <a:ext uri="{9D8B030D-6E8A-4147-A177-3AD203B41FA5}">
                      <a16:colId xmlns:a16="http://schemas.microsoft.com/office/drawing/2014/main" val="2808370505"/>
                    </a:ext>
                  </a:extLst>
                </a:gridCol>
                <a:gridCol w="936104">
                  <a:extLst>
                    <a:ext uri="{9D8B030D-6E8A-4147-A177-3AD203B41FA5}">
                      <a16:colId xmlns:a16="http://schemas.microsoft.com/office/drawing/2014/main" val="2083171187"/>
                    </a:ext>
                  </a:extLst>
                </a:gridCol>
                <a:gridCol w="1296144">
                  <a:extLst>
                    <a:ext uri="{9D8B030D-6E8A-4147-A177-3AD203B41FA5}">
                      <a16:colId xmlns:a16="http://schemas.microsoft.com/office/drawing/2014/main" val="3935625665"/>
                    </a:ext>
                  </a:extLst>
                </a:gridCol>
              </a:tblGrid>
              <a:tr h="188600">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イベント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主催者</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開催頻度</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edical</a:t>
                      </a:r>
                      <a:r>
                        <a:rPr kumimoji="1" lang="ja-JP" altLang="en-US"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Fair</a:t>
                      </a:r>
                      <a:r>
                        <a:rPr kumimoji="1" lang="ja-JP" altLang="en-US"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sia</a:t>
                      </a:r>
                      <a:endParaRPr kumimoji="1" lang="ja-JP" altLang="en-US"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Messe Düsseldorf Asia</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事故・緊急設備、建築技術・サービス、配膳・厨房設備、通信・情報技術、歯科設備・用品、診断、消毒・処理システム、電子医療設備／医療技術、衣料・ランドリー、医薬品、リハビリテーション設備／整形外科用品等の展示会</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2</a:t>
                      </a:r>
                      <a:r>
                        <a:rPr kumimoji="1" lang="ja-JP" altLang="en-US" sz="700" kern="1200" dirty="0">
                          <a:solidFill>
                            <a:schemeClr val="dk1"/>
                          </a:solidFill>
                          <a:latin typeface="+mn-lt"/>
                          <a:ea typeface="+mn-ea"/>
                          <a:cs typeface="+mn-cs"/>
                        </a:rPr>
                        <a:t>年に一回</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https://www.medicalfair-asia.com/</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9382828"/>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Medical Manufacturing Asia</a:t>
                      </a:r>
                      <a:endParaRPr kumimoji="1" lang="ja-JP" altLang="en-US"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l"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Messe Düsseldorf Asia</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医療技術／材料、構成要素／マイクロ、ナノ技術／生産、製造／実験システムなどの展示会</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2</a:t>
                      </a:r>
                      <a:r>
                        <a:rPr kumimoji="1" lang="ja-JP" altLang="en-US" sz="700" kern="1200" dirty="0">
                          <a:solidFill>
                            <a:schemeClr val="dk1"/>
                          </a:solidFill>
                          <a:latin typeface="+mn-lt"/>
                          <a:ea typeface="+mn-ea"/>
                          <a:cs typeface="+mn-cs"/>
                        </a:rPr>
                        <a:t>年に一回　（</a:t>
                      </a:r>
                      <a:r>
                        <a:rPr kumimoji="1" lang="en-US" altLang="ja-JP" sz="700" kern="1200" dirty="0">
                          <a:solidFill>
                            <a:schemeClr val="dk1"/>
                          </a:solidFill>
                          <a:latin typeface="+mn-lt"/>
                          <a:ea typeface="+mn-ea"/>
                          <a:cs typeface="+mn-cs"/>
                        </a:rPr>
                        <a:t>Medical Fair Asia</a:t>
                      </a:r>
                      <a:r>
                        <a:rPr kumimoji="1" lang="ja-JP" altLang="en-US" sz="700" kern="1200" dirty="0">
                          <a:solidFill>
                            <a:schemeClr val="dk1"/>
                          </a:solidFill>
                          <a:latin typeface="+mn-lt"/>
                          <a:ea typeface="+mn-ea"/>
                          <a:cs typeface="+mn-cs"/>
                        </a:rPr>
                        <a:t>と共催）</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https://www.medmanufacturing-asia.com/show-info</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07319353"/>
                  </a:ext>
                </a:extLst>
              </a:tr>
              <a:tr h="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ELDEX Asia - Eldercare Exhibition &amp; Conference Asia</a:t>
                      </a:r>
                      <a:endParaRPr kumimoji="1" lang="ja-JP" altLang="en-US" sz="8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en-US" altLang="ja-JP" sz="800" kern="1200" dirty="0">
                          <a:solidFill>
                            <a:schemeClr val="dk1"/>
                          </a:solidFill>
                          <a:latin typeface="+mn-lt"/>
                          <a:ea typeface="+mn-ea"/>
                          <a:cs typeface="+mn-cs"/>
                        </a:rPr>
                        <a:t>ELDEX Asia</a:t>
                      </a:r>
                      <a:endParaRPr kumimoji="1" lang="ja-JP" altLang="en-US" sz="8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高齢化社会に向けた医療、福祉、ヘルスケア分野における各種テクノロジー、製品、サービスの展示会</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毎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https://eldexasia.com/</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94308085"/>
                  </a:ext>
                </a:extLst>
              </a:tr>
            </a:tbl>
          </a:graphicData>
        </a:graphic>
      </p:graphicFrame>
      <p:sp>
        <p:nvSpPr>
          <p:cNvPr id="11" name="Rectangle 10">
            <a:extLst>
              <a:ext uri="{FF2B5EF4-FFF2-40B4-BE49-F238E27FC236}">
                <a16:creationId xmlns:a16="http://schemas.microsoft.com/office/drawing/2014/main" id="{D0F33A65-0E77-4A68-8614-5D606FEBDA12}"/>
              </a:ext>
            </a:extLst>
          </p:cNvPr>
          <p:cNvSpPr>
            <a:spLocks noChangeArrowheads="1"/>
          </p:cNvSpPr>
          <p:nvPr/>
        </p:nvSpPr>
        <p:spPr bwMode="auto">
          <a:xfrm>
            <a:off x="539114" y="3787679"/>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ベント</a:t>
            </a:r>
            <a:endParaRPr lang="en-US" altLang="ja-JP" sz="1400" baseline="30000" dirty="0">
              <a:solidFill>
                <a:srgbClr val="000000"/>
              </a:solidFill>
              <a:latin typeface="Arial Black" pitchFamily="34" charset="0"/>
              <a:ea typeface="HGP創英角ｺﾞｼｯｸUB" pitchFamily="50" charset="-128"/>
            </a:endParaRPr>
          </a:p>
        </p:txBody>
      </p:sp>
      <p:graphicFrame>
        <p:nvGraphicFramePr>
          <p:cNvPr id="12" name="Table 11">
            <a:extLst>
              <a:ext uri="{FF2B5EF4-FFF2-40B4-BE49-F238E27FC236}">
                <a16:creationId xmlns:a16="http://schemas.microsoft.com/office/drawing/2014/main" id="{8A44F3FF-0091-41AA-8B1E-6E77B2227B16}"/>
              </a:ext>
            </a:extLst>
          </p:cNvPr>
          <p:cNvGraphicFramePr>
            <a:graphicFrameLocks noGrp="1"/>
          </p:cNvGraphicFramePr>
          <p:nvPr>
            <p:extLst>
              <p:ext uri="{D42A27DB-BD31-4B8C-83A1-F6EECF244321}">
                <p14:modId xmlns:p14="http://schemas.microsoft.com/office/powerpoint/2010/main" val="3313660264"/>
              </p:ext>
            </p:extLst>
          </p:nvPr>
        </p:nvGraphicFramePr>
        <p:xfrm>
          <a:off x="539114" y="2125442"/>
          <a:ext cx="8784976" cy="1045895"/>
        </p:xfrm>
        <a:graphic>
          <a:graphicData uri="http://schemas.openxmlformats.org/drawingml/2006/table">
            <a:tbl>
              <a:tblPr firstRow="1" bandRow="1">
                <a:tableStyleId>{2D5ABB26-0587-4C30-8999-92F81FD0307C}</a:tableStyleId>
              </a:tblPr>
              <a:tblGrid>
                <a:gridCol w="2748602">
                  <a:extLst>
                    <a:ext uri="{9D8B030D-6E8A-4147-A177-3AD203B41FA5}">
                      <a16:colId xmlns:a16="http://schemas.microsoft.com/office/drawing/2014/main" val="2753323387"/>
                    </a:ext>
                  </a:extLst>
                </a:gridCol>
                <a:gridCol w="707782">
                  <a:extLst>
                    <a:ext uri="{9D8B030D-6E8A-4147-A177-3AD203B41FA5}">
                      <a16:colId xmlns:a16="http://schemas.microsoft.com/office/drawing/2014/main" val="2083171187"/>
                    </a:ext>
                  </a:extLst>
                </a:gridCol>
                <a:gridCol w="3930484">
                  <a:extLst>
                    <a:ext uri="{9D8B030D-6E8A-4147-A177-3AD203B41FA5}">
                      <a16:colId xmlns:a16="http://schemas.microsoft.com/office/drawing/2014/main" val="402676426"/>
                    </a:ext>
                  </a:extLst>
                </a:gridCol>
                <a:gridCol w="1398108">
                  <a:extLst>
                    <a:ext uri="{9D8B030D-6E8A-4147-A177-3AD203B41FA5}">
                      <a16:colId xmlns:a16="http://schemas.microsoft.com/office/drawing/2014/main" val="3935625665"/>
                    </a:ext>
                  </a:extLst>
                </a:gridCol>
              </a:tblGrid>
              <a:tr h="0">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組織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設立年</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公式</a:t>
                      </a:r>
                      <a:r>
                        <a:rPr kumimoji="1" lang="en-US" altLang="ja-JP" sz="1200" kern="1200" dirty="0">
                          <a:solidFill>
                            <a:schemeClr val="bg1"/>
                          </a:solidFill>
                          <a:latin typeface="HGP創英角ｺﾞｼｯｸUB" panose="020B0900000000000000" pitchFamily="50" charset="-128"/>
                          <a:ea typeface="HGP創英角ｺﾞｼｯｸUB" panose="020B0900000000000000" pitchFamily="50" charset="-128"/>
                          <a:cs typeface="+mn-cs"/>
                        </a:rPr>
                        <a:t>URL</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839629090"/>
                  </a:ext>
                </a:extLst>
              </a:tr>
              <a:tr h="1439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800" dirty="0"/>
                        <a:t>Singapore Association of Pharmaceutical Industries (SAPI)</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1966</a:t>
                      </a:r>
                      <a:r>
                        <a:rPr kumimoji="1" lang="ja-JP" altLang="en-US" sz="7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シンガポールの医薬品メーカーの団体。国際製薬団体連合会に参加してい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https://www.sapi.org.sg/</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7625309"/>
                  </a:ext>
                </a:extLst>
              </a:tr>
              <a:tr h="14392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800" dirty="0"/>
                        <a:t>Singapore Manufacturing Federation – Medical technology Industry Group</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1998</a:t>
                      </a:r>
                      <a:r>
                        <a:rPr kumimoji="1" lang="ja-JP" altLang="en-US" sz="700" kern="1200" dirty="0">
                          <a:solidFill>
                            <a:schemeClr val="dk1"/>
                          </a:solidFill>
                          <a:latin typeface="+mn-lt"/>
                          <a:ea typeface="+mn-ea"/>
                          <a:cs typeface="+mn-cs"/>
                        </a:rPr>
                        <a:t>年</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700" kern="1200" dirty="0">
                          <a:solidFill>
                            <a:schemeClr val="dk1"/>
                          </a:solidFill>
                          <a:latin typeface="+mn-lt"/>
                          <a:ea typeface="+mn-ea"/>
                          <a:cs typeface="+mn-cs"/>
                        </a:rPr>
                        <a:t>シンガポールの製造業団体の中の１グループとして活動している</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en-US" altLang="ja-JP" sz="700" kern="1200" dirty="0">
                          <a:solidFill>
                            <a:schemeClr val="dk1"/>
                          </a:solidFill>
                          <a:latin typeface="+mn-lt"/>
                          <a:ea typeface="+mn-ea"/>
                          <a:cs typeface="+mn-cs"/>
                        </a:rPr>
                        <a:t>https://www.smfederation.org.sg/membership/industry-groups/medical-technology</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76704041"/>
                  </a:ext>
                </a:extLst>
              </a:tr>
            </a:tbl>
          </a:graphicData>
        </a:graphic>
      </p:graphicFrame>
      <p:sp>
        <p:nvSpPr>
          <p:cNvPr id="13" name="Rectangle 12">
            <a:extLst>
              <a:ext uri="{FF2B5EF4-FFF2-40B4-BE49-F238E27FC236}">
                <a16:creationId xmlns:a16="http://schemas.microsoft.com/office/drawing/2014/main" id="{3BC038C5-DFA5-4749-B247-0702CC487CAE}"/>
              </a:ext>
            </a:extLst>
          </p:cNvPr>
          <p:cNvSpPr>
            <a:spLocks noChangeArrowheads="1"/>
          </p:cNvSpPr>
          <p:nvPr/>
        </p:nvSpPr>
        <p:spPr bwMode="auto">
          <a:xfrm>
            <a:off x="568423" y="1840282"/>
            <a:ext cx="864096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業界団体</a:t>
            </a:r>
            <a:endParaRPr lang="en-US" altLang="ja-JP" sz="1400" baseline="300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309776061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475CD0E-FF72-44D0-AD33-27CA0190F7F9}"/>
              </a:ext>
            </a:extLst>
          </p:cNvPr>
          <p:cNvGraphicFramePr>
            <a:graphicFrameLocks noChangeAspect="1"/>
          </p:cNvGraphicFramePr>
          <p:nvPr>
            <p:custDataLst>
              <p:tags r:id="rId2"/>
            </p:custDataLst>
            <p:extLst>
              <p:ext uri="{D42A27DB-BD31-4B8C-83A1-F6EECF244321}">
                <p14:modId xmlns:p14="http://schemas.microsoft.com/office/powerpoint/2010/main" val="1219683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6" name="think-cell Slide" r:id="rId7" imgW="395" imgH="396" progId="TCLayout.ActiveDocument.1">
                  <p:embed/>
                </p:oleObj>
              </mc:Choice>
              <mc:Fallback>
                <p:oleObj name="think-cell Slide" r:id="rId7" imgW="395" imgH="396" progId="TCLayout.ActiveDocument.1">
                  <p:embed/>
                  <p:pic>
                    <p:nvPicPr>
                      <p:cNvPr id="6" name="Object 5" hidden="1">
                        <a:extLst>
                          <a:ext uri="{FF2B5EF4-FFF2-40B4-BE49-F238E27FC236}">
                            <a16:creationId xmlns:a16="http://schemas.microsoft.com/office/drawing/2014/main" id="{9475CD0E-FF72-44D0-AD33-27CA0190F7F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zh-CN" altLang="en-US" dirty="0"/>
              <a:t>外国人患者受入／医療渡航</a:t>
            </a:r>
            <a:endParaRPr lang="ja-JP" altLang="en-US" dirty="0"/>
          </a:p>
        </p:txBody>
      </p:sp>
      <p:sp>
        <p:nvSpPr>
          <p:cNvPr id="5" name="テキスト ボックス 4"/>
          <p:cNvSpPr txBox="1"/>
          <p:nvPr/>
        </p:nvSpPr>
        <p:spPr>
          <a:xfrm>
            <a:off x="200472" y="1124744"/>
            <a:ext cx="9505056" cy="7182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シンガポール政府は医療ツーリズムを政策の一つとして位置づけており、私立病院のみならず、公立病院へも外国人患者の受け入れを行っている</a:t>
            </a: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p>
        </p:txBody>
      </p:sp>
      <p:sp>
        <p:nvSpPr>
          <p:cNvPr id="58" name="テキスト ボックス 57"/>
          <p:cNvSpPr txBox="1"/>
          <p:nvPr/>
        </p:nvSpPr>
        <p:spPr>
          <a:xfrm>
            <a:off x="200472" y="6525344"/>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ttps://www.budgetdirect.com.sg/travel-insurance/research/medical-tourism-singapore</a:t>
            </a:r>
            <a:endParaRPr lang="ja-JP" altLang="ja-JP" sz="800" dirty="0"/>
          </a:p>
        </p:txBody>
      </p:sp>
      <p:grpSp>
        <p:nvGrpSpPr>
          <p:cNvPr id="71" name="グループ化 7"/>
          <p:cNvGrpSpPr/>
          <p:nvPr/>
        </p:nvGrpSpPr>
        <p:grpSpPr>
          <a:xfrm>
            <a:off x="309278" y="2132757"/>
            <a:ext cx="4680520" cy="288032"/>
            <a:chOff x="4803500" y="2160745"/>
            <a:chExt cx="2954133" cy="288032"/>
          </a:xfrm>
        </p:grpSpPr>
        <p:cxnSp>
          <p:nvCxnSpPr>
            <p:cNvPr id="72" name="直線コネクタ 7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3" name="Rectangle 6"/>
            <p:cNvSpPr>
              <a:spLocks noChangeArrowheads="1"/>
            </p:cNvSpPr>
            <p:nvPr/>
          </p:nvSpPr>
          <p:spPr bwMode="auto">
            <a:xfrm>
              <a:off x="4803500" y="2160745"/>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シンガポールへの医療目的の渡航者数</a:t>
              </a:r>
            </a:p>
          </p:txBody>
        </p:sp>
      </p:grpSp>
      <p:graphicFrame>
        <p:nvGraphicFramePr>
          <p:cNvPr id="17" name="Chart 16">
            <a:extLst>
              <a:ext uri="{FF2B5EF4-FFF2-40B4-BE49-F238E27FC236}">
                <a16:creationId xmlns:a16="http://schemas.microsoft.com/office/drawing/2014/main" id="{20D7FC31-2AF0-4FFF-89B7-F2CC599FA634}"/>
              </a:ext>
            </a:extLst>
          </p:cNvPr>
          <p:cNvGraphicFramePr/>
          <p:nvPr>
            <p:custDataLst>
              <p:tags r:id="rId3"/>
            </p:custDataLst>
            <p:extLst>
              <p:ext uri="{D42A27DB-BD31-4B8C-83A1-F6EECF244321}">
                <p14:modId xmlns:p14="http://schemas.microsoft.com/office/powerpoint/2010/main" val="1406811531"/>
              </p:ext>
            </p:extLst>
          </p:nvPr>
        </p:nvGraphicFramePr>
        <p:xfrm>
          <a:off x="2406650" y="3384550"/>
          <a:ext cx="4227513" cy="2287588"/>
        </p:xfrm>
        <a:graphic>
          <a:graphicData uri="http://schemas.openxmlformats.org/drawingml/2006/chart">
            <c:chart xmlns:c="http://schemas.openxmlformats.org/drawingml/2006/chart" xmlns:r="http://schemas.openxmlformats.org/officeDocument/2006/relationships" r:id="rId9"/>
          </a:graphicData>
        </a:graphic>
      </p:graphicFrame>
      <p:sp>
        <p:nvSpPr>
          <p:cNvPr id="24" name="テキスト プレースホルダ 9">
            <a:extLst>
              <a:ext uri="{FF2B5EF4-FFF2-40B4-BE49-F238E27FC236}">
                <a16:creationId xmlns:a16="http://schemas.microsoft.com/office/drawing/2014/main" id="{CB734BD2-293F-458A-8AE0-7F7587C0AF3A}"/>
              </a:ext>
            </a:extLst>
          </p:cNvPr>
          <p:cNvSpPr>
            <a:spLocks noGrp="1"/>
          </p:cNvSpPr>
          <p:nvPr>
            <p:custDataLst>
              <p:tags r:id="rId4"/>
            </p:custDataLst>
          </p:nvPr>
        </p:nvSpPr>
        <p:spPr bwMode="auto">
          <a:xfrm>
            <a:off x="3302000" y="56483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A5E719C-B7C8-4F5C-8F33-02B39428D785}" type="datetime'''''''''''''2''0''''''''''''''''''0''''''''''7'">
              <a:rPr lang="en-CA" altLang="en-US" sz="1400" smtClean="0"/>
              <a:pPr/>
              <a:t>2007</a:t>
            </a:fld>
            <a:endParaRPr lang="en-CA" altLang="ja-JP" sz="1400" dirty="0"/>
          </a:p>
        </p:txBody>
      </p:sp>
      <p:sp>
        <p:nvSpPr>
          <p:cNvPr id="26" name="テキスト プレースホルダ 9">
            <a:extLst>
              <a:ext uri="{FF2B5EF4-FFF2-40B4-BE49-F238E27FC236}">
                <a16:creationId xmlns:a16="http://schemas.microsoft.com/office/drawing/2014/main" id="{A3E41D16-775B-41DA-AF8E-5728B5179474}"/>
              </a:ext>
            </a:extLst>
          </p:cNvPr>
          <p:cNvSpPr>
            <a:spLocks noGrp="1"/>
          </p:cNvSpPr>
          <p:nvPr>
            <p:custDataLst>
              <p:tags r:id="rId5"/>
            </p:custDataLst>
          </p:nvPr>
        </p:nvSpPr>
        <p:spPr bwMode="auto">
          <a:xfrm>
            <a:off x="5332413" y="56483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8A69FDC-AE99-4A01-968C-FAD0687DA551}" type="datetime'''''''''''''''2''''0''''''''''''''''''''''1''''8'''''">
              <a:rPr lang="en-CA" altLang="en-US" sz="1400" smtClean="0"/>
              <a:pPr/>
              <a:t>2018</a:t>
            </a:fld>
            <a:endParaRPr lang="en-CA" altLang="ja-JP" sz="1400" dirty="0"/>
          </a:p>
        </p:txBody>
      </p:sp>
      <p:sp>
        <p:nvSpPr>
          <p:cNvPr id="55" name="テキスト ボックス 16">
            <a:extLst>
              <a:ext uri="{FF2B5EF4-FFF2-40B4-BE49-F238E27FC236}">
                <a16:creationId xmlns:a16="http://schemas.microsoft.com/office/drawing/2014/main" id="{E67CB777-4991-43E7-A74C-84B2924F8BCD}"/>
              </a:ext>
            </a:extLst>
          </p:cNvPr>
          <p:cNvSpPr txBox="1"/>
          <p:nvPr/>
        </p:nvSpPr>
        <p:spPr>
          <a:xfrm>
            <a:off x="340190" y="2433524"/>
            <a:ext cx="828032" cy="216024"/>
          </a:xfrm>
          <a:prstGeom prst="rect">
            <a:avLst/>
          </a:prstGeom>
          <a:noFill/>
        </p:spPr>
        <p:txBody>
          <a:bodyPr wrap="square" lIns="0" tIns="0" rIns="0" bIns="0" rtlCol="0" anchor="ctr" anchorCtr="0">
            <a:noAutofit/>
          </a:bodyPr>
          <a:lstStyle/>
          <a:p>
            <a:r>
              <a:rPr lang="ja-JP" altLang="en-US" sz="1000" dirty="0">
                <a:latin typeface="Arial" panose="020B0604020202020204" pitchFamily="34" charset="0"/>
                <a:ea typeface="ＭＳ Ｐゴシック" panose="020B0600070205080204" pitchFamily="50" charset="-128"/>
                <a:cs typeface="Arial" panose="020B0604020202020204" pitchFamily="34" charset="0"/>
              </a:rPr>
              <a:t>（千人）</a:t>
            </a:r>
          </a:p>
        </p:txBody>
      </p:sp>
      <p:sp>
        <p:nvSpPr>
          <p:cNvPr id="15" name="Speech Bubble: Rectangle 14">
            <a:extLst>
              <a:ext uri="{FF2B5EF4-FFF2-40B4-BE49-F238E27FC236}">
                <a16:creationId xmlns:a16="http://schemas.microsoft.com/office/drawing/2014/main" id="{F4256939-08AE-4255-A9F7-EAD98F7AAC2A}"/>
              </a:ext>
            </a:extLst>
          </p:cNvPr>
          <p:cNvSpPr/>
          <p:nvPr/>
        </p:nvSpPr>
        <p:spPr>
          <a:xfrm>
            <a:off x="6305550" y="2806715"/>
            <a:ext cx="1052513" cy="674688"/>
          </a:xfrm>
          <a:prstGeom prst="wedgeRectCallout">
            <a:avLst>
              <a:gd name="adj1" fmla="val -80793"/>
              <a:gd name="adj2" fmla="val 38092"/>
            </a:avLst>
          </a:prstGeom>
          <a:solidFill>
            <a:srgbClr val="A2BBDC"/>
          </a:solidFill>
        </p:spPr>
        <p:txBody>
          <a:bodyPr wrap="square" rtlCol="0" anchor="ctr">
            <a:noAutofit/>
          </a:bodyPr>
          <a:lstStyle/>
          <a:p>
            <a:pPr marL="0" fontAlgn="ctr">
              <a:lnSpc>
                <a:spcPct val="114000"/>
              </a:lnSpc>
              <a:spcAft>
                <a:spcPts val="400"/>
              </a:spcAft>
            </a:pPr>
            <a:r>
              <a:rPr kumimoji="1" lang="en-US" altLang="ja-JP" sz="900" dirty="0"/>
              <a:t>50-60%</a:t>
            </a:r>
            <a:r>
              <a:rPr kumimoji="1" lang="ja-JP" altLang="en-US" sz="900" dirty="0"/>
              <a:t>が</a:t>
            </a:r>
            <a:r>
              <a:rPr lang="ja-JP" altLang="en-US" sz="900" dirty="0"/>
              <a:t>インドネシアからの渡航者とみられる</a:t>
            </a:r>
            <a:endParaRPr kumimoji="1" lang="en-CA" sz="900" dirty="0"/>
          </a:p>
        </p:txBody>
      </p:sp>
    </p:spTree>
    <p:extLst>
      <p:ext uri="{BB962C8B-B14F-4D97-AF65-F5344CB8AC3E}">
        <p14:creationId xmlns:p14="http://schemas.microsoft.com/office/powerpoint/2010/main" val="184565433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latin typeface="HGP創英角ｺﾞｼｯｸUB" panose="020B0A00000000000000" pitchFamily="34" charset="-128"/>
              </a:rPr>
              <a:t>政策動向</a:t>
            </a:r>
            <a:endParaRPr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317278934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6CE1341-F639-4A92-9868-E9843A733932}"/>
              </a:ext>
            </a:extLst>
          </p:cNvPr>
          <p:cNvGraphicFramePr>
            <a:graphicFrameLocks noChangeAspect="1"/>
          </p:cNvGraphicFramePr>
          <p:nvPr>
            <p:custDataLst>
              <p:tags r:id="rId2"/>
            </p:custDataLst>
            <p:extLst>
              <p:ext uri="{D42A27DB-BD31-4B8C-83A1-F6EECF244321}">
                <p14:modId xmlns:p14="http://schemas.microsoft.com/office/powerpoint/2010/main" val="722960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0"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66CE1341-F639-4A92-9868-E9843A7339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p>
        </p:txBody>
      </p:sp>
      <p:sp>
        <p:nvSpPr>
          <p:cNvPr id="12" name="テキスト ボックス 11"/>
          <p:cNvSpPr txBox="1"/>
          <p:nvPr/>
        </p:nvSpPr>
        <p:spPr>
          <a:xfrm>
            <a:off x="200472" y="6669360"/>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https://www.healthiersg.gov.sg/</a:t>
            </a:r>
            <a:endParaRPr lang="ja-JP" altLang="en-US" sz="800" dirty="0"/>
          </a:p>
        </p:txBody>
      </p:sp>
      <p:sp>
        <p:nvSpPr>
          <p:cNvPr id="43" name="テキスト ボックス 3">
            <a:extLst>
              <a:ext uri="{FF2B5EF4-FFF2-40B4-BE49-F238E27FC236}">
                <a16:creationId xmlns:a16="http://schemas.microsoft.com/office/drawing/2014/main" id="{DF8BDAE8-9A0E-4280-BCA8-5A22DBAE63B2}"/>
              </a:ext>
            </a:extLst>
          </p:cNvPr>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シンガポール政府は</a:t>
            </a:r>
            <a:r>
              <a:rPr lang="en-US" altLang="ja-JP" sz="1400" dirty="0"/>
              <a:t>2022</a:t>
            </a:r>
            <a:r>
              <a:rPr lang="ja-JP" altLang="en-US" sz="1400" dirty="0"/>
              <a:t>年</a:t>
            </a:r>
            <a:r>
              <a:rPr lang="en-US" altLang="ja-JP" sz="1400" dirty="0"/>
              <a:t>10</a:t>
            </a:r>
            <a:r>
              <a:rPr lang="ja-JP" altLang="en-US" sz="1400" dirty="0"/>
              <a:t>月、</a:t>
            </a:r>
            <a:r>
              <a:rPr lang="en-US" altLang="ja-JP" sz="1400" dirty="0"/>
              <a:t>Healthier SG</a:t>
            </a:r>
            <a:r>
              <a:rPr lang="ja-JP" altLang="en-US" sz="1400" dirty="0"/>
              <a:t>という予防医療に重点を置いた政策を公表した。</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は新しいスキームの導入のために今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シンガポールドル、さらにランニングコスト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ドルの予算を予定している。</a:t>
            </a:r>
          </a:p>
        </p:txBody>
      </p:sp>
      <p:sp>
        <p:nvSpPr>
          <p:cNvPr id="44" name="TextBox 43">
            <a:extLst>
              <a:ext uri="{FF2B5EF4-FFF2-40B4-BE49-F238E27FC236}">
                <a16:creationId xmlns:a16="http://schemas.microsoft.com/office/drawing/2014/main" id="{AC77B45B-7489-41D8-8117-BD559A03921A}"/>
              </a:ext>
            </a:extLst>
          </p:cNvPr>
          <p:cNvSpPr txBox="1"/>
          <p:nvPr/>
        </p:nvSpPr>
        <p:spPr>
          <a:xfrm>
            <a:off x="1424608" y="2572729"/>
            <a:ext cx="6480720" cy="2462213"/>
          </a:xfrm>
          <a:prstGeom prst="rect">
            <a:avLst/>
          </a:prstGeom>
          <a:noFill/>
        </p:spPr>
        <p:txBody>
          <a:bodyPr wrap="square">
            <a:spAutoFit/>
          </a:bodyPr>
          <a:lstStyle/>
          <a:p>
            <a:r>
              <a:rPr lang="en-US" altLang="ja-JP" sz="1400" b="1" dirty="0"/>
              <a:t>Healthier SG</a:t>
            </a:r>
            <a:r>
              <a:rPr lang="ja-JP" altLang="en-US" sz="1400" b="1" dirty="0"/>
              <a:t>の概要</a:t>
            </a:r>
            <a:endParaRPr lang="en-US" altLang="ja-JP" sz="1400" b="1" dirty="0"/>
          </a:p>
          <a:p>
            <a:endParaRPr lang="en-US" altLang="ja-JP" sz="1400" dirty="0"/>
          </a:p>
          <a:p>
            <a:pPr marL="342900" indent="-342900">
              <a:buAutoNum type="arabicPeriod"/>
            </a:pPr>
            <a:r>
              <a:rPr lang="ja-JP" altLang="en-US" sz="1400" dirty="0"/>
              <a:t>家庭医のネットワークを活用し、住民に予防医療を提供する。</a:t>
            </a:r>
            <a:endParaRPr lang="en-US" altLang="ja-JP" sz="1400" dirty="0"/>
          </a:p>
          <a:p>
            <a:pPr marL="342900" indent="-342900">
              <a:buAutoNum type="arabicPeriod"/>
            </a:pPr>
            <a:r>
              <a:rPr lang="ja-JP" altLang="en-US" sz="1400" dirty="0"/>
              <a:t>生活習慣の改善、定期的な健康診断、適切な予防接種を含む健康計画を策定する。</a:t>
            </a:r>
            <a:endParaRPr lang="en-US" altLang="ja-JP" sz="1400" dirty="0"/>
          </a:p>
          <a:p>
            <a:pPr marL="342900" indent="-342900">
              <a:buAutoNum type="arabicPeriod"/>
            </a:pPr>
            <a:r>
              <a:rPr lang="ja-JP" altLang="en-US" sz="1400" dirty="0"/>
              <a:t>住民の健康的なライフスタイルをサポートするために、地域パートナーを活性化する。</a:t>
            </a:r>
            <a:endParaRPr lang="en-US" altLang="ja-JP" sz="1400" dirty="0"/>
          </a:p>
          <a:p>
            <a:pPr marL="342900" indent="-342900">
              <a:buAutoNum type="arabicPeriod"/>
            </a:pPr>
            <a:r>
              <a:rPr lang="ja-JP" altLang="en-US" sz="1400" dirty="0"/>
              <a:t>住民がかかりつけの家庭医を決め、健康計画を採用するための全国的な登録プログラムを開始する。</a:t>
            </a:r>
            <a:endParaRPr lang="en-US" altLang="ja-JP" sz="1400" dirty="0"/>
          </a:p>
          <a:p>
            <a:pPr marL="342900" indent="-342900">
              <a:buAutoNum type="arabicPeriod"/>
            </a:pPr>
            <a:r>
              <a:rPr lang="ja-JP" altLang="en-US" sz="1400" dirty="0"/>
              <a:t>これらを機能させるために、</a:t>
            </a:r>
            <a:r>
              <a:rPr lang="en-US" altLang="ja-JP" sz="1400" dirty="0"/>
              <a:t>IT</a:t>
            </a:r>
            <a:r>
              <a:rPr lang="ja-JP" altLang="en-US" sz="1400" dirty="0"/>
              <a:t>、人材開発計画、資金調達政策など、必要な主要イネーブラーを準備する。</a:t>
            </a:r>
          </a:p>
        </p:txBody>
      </p:sp>
    </p:spTree>
    <p:extLst>
      <p:ext uri="{BB962C8B-B14F-4D97-AF65-F5344CB8AC3E}">
        <p14:creationId xmlns:p14="http://schemas.microsoft.com/office/powerpoint/2010/main" val="16666456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2"/>
            </p:custDataLst>
            <p:extLst>
              <p:ext uri="{D42A27DB-BD31-4B8C-83A1-F6EECF244321}">
                <p14:modId xmlns:p14="http://schemas.microsoft.com/office/powerpoint/2010/main" val="4333560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227" imgW="270" imgH="270" progId="TCLayout.ActiveDocument.1">
                  <p:embed/>
                </p:oleObj>
              </mc:Choice>
              <mc:Fallback>
                <p:oleObj name="think-cell Slide" r:id="rId227" imgW="270" imgH="270" progId="TCLayout.ActiveDocument.1">
                  <p:embed/>
                  <p:pic>
                    <p:nvPicPr>
                      <p:cNvPr id="7" name="オブジェクト 6" hidden="1"/>
                      <p:cNvPicPr>
                        <a:picLocks noChangeAspect="1" noChangeArrowheads="1"/>
                      </p:cNvPicPr>
                      <p:nvPr/>
                    </p:nvPicPr>
                    <p:blipFill>
                      <a:blip r:embed="rId22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人口動態、および人口成長率</a:t>
              </a:r>
              <a:endParaRPr lang="en-US" altLang="ko-KR" sz="1400" dirty="0">
                <a:solidFill>
                  <a:srgbClr val="000000"/>
                </a:solidFill>
                <a:latin typeface="Arial Black" pitchFamily="34" charset="0"/>
                <a:ea typeface="HGP創英角ｺﾞｼｯｸUB" pitchFamily="50" charset="-128"/>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年齢別人口構成</a:t>
              </a:r>
            </a:p>
          </p:txBody>
        </p:sp>
      </p:grpSp>
      <p:grpSp>
        <p:nvGrpSpPr>
          <p:cNvPr id="62" name="グループ化 61"/>
          <p:cNvGrpSpPr/>
          <p:nvPr/>
        </p:nvGrpSpPr>
        <p:grpSpPr>
          <a:xfrm>
            <a:off x="8181231" y="2330519"/>
            <a:ext cx="1428700" cy="1944216"/>
            <a:chOff x="6548973" y="2016373"/>
            <a:chExt cx="1428700" cy="1944216"/>
          </a:xfrm>
        </p:grpSpPr>
        <p:sp>
          <p:nvSpPr>
            <p:cNvPr id="63" name="フリーフォーム 62"/>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4" name="角丸四角形 63"/>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48097" y="1136003"/>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頃のピークに向けて人口は緩やかに伸び、その後ゆっくりと減少するとみ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高齢化が加速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超高齢社会に突入すると見込まれている。</a:t>
            </a:r>
          </a:p>
        </p:txBody>
      </p:sp>
      <p:grpSp>
        <p:nvGrpSpPr>
          <p:cNvPr id="66" name="グループ化 65"/>
          <p:cNvGrpSpPr/>
          <p:nvPr/>
        </p:nvGrpSpPr>
        <p:grpSpPr>
          <a:xfrm>
            <a:off x="8228359" y="4497425"/>
            <a:ext cx="1390798" cy="2160240"/>
            <a:chOff x="6586875" y="2016372"/>
            <a:chExt cx="1390798"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8" name="角丸四角形 67"/>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182" name="Chart 181">
            <a:extLst>
              <a:ext uri="{FF2B5EF4-FFF2-40B4-BE49-F238E27FC236}">
                <a16:creationId xmlns:a16="http://schemas.microsoft.com/office/drawing/2014/main" id="{4EA9268F-304C-4F91-A1A1-CC1BC9304F72}"/>
              </a:ext>
            </a:extLst>
          </p:cNvPr>
          <p:cNvGraphicFramePr/>
          <p:nvPr>
            <p:custDataLst>
              <p:tags r:id="rId4"/>
            </p:custDataLst>
            <p:extLst>
              <p:ext uri="{D42A27DB-BD31-4B8C-83A1-F6EECF244321}">
                <p14:modId xmlns:p14="http://schemas.microsoft.com/office/powerpoint/2010/main" val="1901357656"/>
              </p:ext>
            </p:extLst>
          </p:nvPr>
        </p:nvGraphicFramePr>
        <p:xfrm>
          <a:off x="303213" y="2452688"/>
          <a:ext cx="9202737" cy="1374775"/>
        </p:xfrm>
        <a:graphic>
          <a:graphicData uri="http://schemas.openxmlformats.org/drawingml/2006/chart">
            <c:chart xmlns:c="http://schemas.openxmlformats.org/drawingml/2006/chart" xmlns:r="http://schemas.openxmlformats.org/officeDocument/2006/relationships" r:id="rId229"/>
          </a:graphicData>
        </a:graphic>
      </p:graphicFrame>
      <p:cxnSp>
        <p:nvCxnSpPr>
          <p:cNvPr id="277" name="Straight Connector 276">
            <a:extLst>
              <a:ext uri="{FF2B5EF4-FFF2-40B4-BE49-F238E27FC236}">
                <a16:creationId xmlns:a16="http://schemas.microsoft.com/office/drawing/2014/main" id="{60A254C8-CCBA-472A-880A-6E4726F74180}"/>
              </a:ext>
            </a:extLst>
          </p:cNvPr>
          <p:cNvCxnSpPr/>
          <p:nvPr>
            <p:custDataLst>
              <p:tags r:id="rId5"/>
            </p:custDataLst>
          </p:nvPr>
        </p:nvCxnSpPr>
        <p:spPr bwMode="auto">
          <a:xfrm>
            <a:off x="2535238" y="2884488"/>
            <a:ext cx="7938" cy="2587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669FD5F7-18C6-437A-AF47-D6D09A1C1245}"/>
              </a:ext>
            </a:extLst>
          </p:cNvPr>
          <p:cNvCxnSpPr/>
          <p:nvPr>
            <p:custDataLst>
              <p:tags r:id="rId6"/>
            </p:custDataLst>
          </p:nvPr>
        </p:nvCxnSpPr>
        <p:spPr bwMode="auto">
          <a:xfrm flipV="1">
            <a:off x="1508125" y="3405188"/>
            <a:ext cx="6350" cy="171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37E02A7C-737F-41D1-A23E-FF5B1F88F305}"/>
              </a:ext>
            </a:extLst>
          </p:cNvPr>
          <p:cNvCxnSpPr/>
          <p:nvPr>
            <p:custDataLst>
              <p:tags r:id="rId7"/>
            </p:custDataLst>
          </p:nvPr>
        </p:nvCxnSpPr>
        <p:spPr bwMode="auto">
          <a:xfrm>
            <a:off x="833438" y="2833688"/>
            <a:ext cx="0" cy="4937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C5CFF641-C027-4FB0-B78E-FB1DB18169F9}"/>
              </a:ext>
            </a:extLst>
          </p:cNvPr>
          <p:cNvCxnSpPr/>
          <p:nvPr>
            <p:custDataLst>
              <p:tags r:id="rId8"/>
            </p:custDataLst>
          </p:nvPr>
        </p:nvCxnSpPr>
        <p:spPr bwMode="auto">
          <a:xfrm>
            <a:off x="1174750" y="2989263"/>
            <a:ext cx="0" cy="3302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C5362406-A340-4C7D-8D0A-61AF621E7BC8}"/>
              </a:ext>
            </a:extLst>
          </p:cNvPr>
          <p:cNvCxnSpPr/>
          <p:nvPr>
            <p:custDataLst>
              <p:tags r:id="rId9"/>
            </p:custDataLst>
          </p:nvPr>
        </p:nvCxnSpPr>
        <p:spPr bwMode="auto">
          <a:xfrm>
            <a:off x="4219575" y="2849563"/>
            <a:ext cx="3492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50FC6CE4-077C-4BDB-88DA-562A5F948B6D}"/>
              </a:ext>
            </a:extLst>
          </p:cNvPr>
          <p:cNvCxnSpPr/>
          <p:nvPr>
            <p:custDataLst>
              <p:tags r:id="rId10"/>
            </p:custDataLst>
          </p:nvPr>
        </p:nvCxnSpPr>
        <p:spPr bwMode="auto">
          <a:xfrm>
            <a:off x="4254500" y="2849563"/>
            <a:ext cx="0" cy="3476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222" name="テキスト プレースホルダ 9">
            <a:extLst>
              <a:ext uri="{FF2B5EF4-FFF2-40B4-BE49-F238E27FC236}">
                <a16:creationId xmlns:a16="http://schemas.microsoft.com/office/drawing/2014/main" id="{88FFAD26-BFEA-4A3A-B1F3-99463802AB0C}"/>
              </a:ext>
            </a:extLst>
          </p:cNvPr>
          <p:cNvSpPr>
            <a:spLocks noGrp="1"/>
          </p:cNvSpPr>
          <p:nvPr>
            <p:custDataLst>
              <p:tags r:id="rId11"/>
            </p:custDataLst>
          </p:nvPr>
        </p:nvSpPr>
        <p:spPr bwMode="gray">
          <a:xfrm>
            <a:off x="7913688" y="3668713"/>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B868D80-A31B-414E-8555-DC777642426E}" type="datetime'''''''''''0''''.''''''''''''''''''''''''''''''''5'''''''">
              <a:rPr lang="ja-JP" altLang="en-US" sz="1000" smtClean="0">
                <a:effectLst/>
                <a:sym typeface="+mn-lt"/>
              </a:rPr>
              <a:pPr marL="0" indent="0" algn="ctr">
                <a:spcBef>
                  <a:spcPct val="0"/>
                </a:spcBef>
                <a:buNone/>
              </a:pPr>
              <a:t>0.5</a:t>
            </a:fld>
            <a:endParaRPr lang="ja-JP" altLang="en-US" sz="1000" dirty="0">
              <a:sym typeface="+mn-lt"/>
            </a:endParaRPr>
          </a:p>
        </p:txBody>
      </p:sp>
      <p:sp>
        <p:nvSpPr>
          <p:cNvPr id="85" name="Text Placeholder 12"/>
          <p:cNvSpPr>
            <a:spLocks noGrp="1"/>
          </p:cNvSpPr>
          <p:nvPr>
            <p:custDataLst>
              <p:tags r:id="rId12"/>
            </p:custDataLst>
          </p:nvPr>
        </p:nvSpPr>
        <p:spPr bwMode="auto">
          <a:xfrm>
            <a:off x="687388" y="38639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614E370-FF8E-474B-AD7E-D659AF644BCB}" type="datetime'''''''''2''''0''''''''''''''0''''''''''''''0'''">
              <a:rPr lang="ja-JP" altLang="en-US" sz="1000" b="0"/>
              <a:pPr algn="ctr">
                <a:spcBef>
                  <a:spcPct val="0"/>
                </a:spcBef>
                <a:spcAft>
                  <a:spcPct val="0"/>
                </a:spcAft>
              </a:pPr>
              <a:t>2000</a:t>
            </a:fld>
            <a:endParaRPr kumimoji="0" lang="ja-JP" altLang="en-US" sz="1000" b="0" dirty="0">
              <a:sym typeface="+mn-lt"/>
            </a:endParaRPr>
          </a:p>
        </p:txBody>
      </p:sp>
      <p:sp>
        <p:nvSpPr>
          <p:cNvPr id="83" name="Text Placeholder 12"/>
          <p:cNvSpPr>
            <a:spLocks noGrp="1"/>
          </p:cNvSpPr>
          <p:nvPr>
            <p:custDataLst>
              <p:tags r:id="rId13"/>
            </p:custDataLst>
          </p:nvPr>
        </p:nvSpPr>
        <p:spPr bwMode="auto">
          <a:xfrm>
            <a:off x="1441450" y="38639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BD94357-DDE8-41D3-B8E1-8929029A1A53}" type="datetime'''''''''''''02'''''''''''''''''''''''''''''''''''''''''''">
              <a:rPr lang="ja-JP" altLang="en-US" sz="1000" b="0"/>
              <a:pPr algn="ctr">
                <a:spcBef>
                  <a:spcPct val="0"/>
                </a:spcBef>
                <a:spcAft>
                  <a:spcPct val="0"/>
                </a:spcAft>
              </a:pPr>
              <a:t>02</a:t>
            </a:fld>
            <a:endParaRPr kumimoji="0" lang="ja-JP" altLang="en-US" sz="1000" b="0" dirty="0">
              <a:sym typeface="+mn-lt"/>
            </a:endParaRPr>
          </a:p>
        </p:txBody>
      </p:sp>
      <p:sp>
        <p:nvSpPr>
          <p:cNvPr id="84" name="Text Placeholder 12"/>
          <p:cNvSpPr>
            <a:spLocks noGrp="1"/>
          </p:cNvSpPr>
          <p:nvPr>
            <p:custDataLst>
              <p:tags r:id="rId14"/>
            </p:custDataLst>
          </p:nvPr>
        </p:nvSpPr>
        <p:spPr bwMode="auto">
          <a:xfrm>
            <a:off x="1098550" y="38639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87CDC96-33E4-49D8-839F-3B0D83585A67}" type="datetime'0''''''''''''''''''1'''''''''''''''''''''''''''''''''''''">
              <a:rPr lang="ja-JP" altLang="en-US" sz="1000" b="0"/>
              <a:pPr algn="ctr">
                <a:spcBef>
                  <a:spcPct val="0"/>
                </a:spcBef>
                <a:spcAft>
                  <a:spcPct val="0"/>
                </a:spcAft>
              </a:pPr>
              <a:t>01</a:t>
            </a:fld>
            <a:endParaRPr kumimoji="0" lang="ja-JP" altLang="en-US" sz="1000" b="0" dirty="0">
              <a:sym typeface="+mn-lt"/>
            </a:endParaRPr>
          </a:p>
        </p:txBody>
      </p:sp>
      <p:sp useBgFill="1">
        <p:nvSpPr>
          <p:cNvPr id="228" name="テキスト プレースホルダ 9">
            <a:extLst>
              <a:ext uri="{FF2B5EF4-FFF2-40B4-BE49-F238E27FC236}">
                <a16:creationId xmlns:a16="http://schemas.microsoft.com/office/drawing/2014/main" id="{4F38115D-A03F-4E7E-BFFA-47F37539E5DB}"/>
              </a:ext>
            </a:extLst>
          </p:cNvPr>
          <p:cNvSpPr>
            <a:spLocks noGrp="1"/>
          </p:cNvSpPr>
          <p:nvPr>
            <p:custDataLst>
              <p:tags r:id="rId15"/>
            </p:custDataLst>
          </p:nvPr>
        </p:nvSpPr>
        <p:spPr bwMode="gray">
          <a:xfrm>
            <a:off x="2079625" y="3579813"/>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5EF6533-C0A9-4EB0-8134-74348B65B9B8}" type="datetime'''''''''''''''''1''''''''''''''''''''''''''''.''0'''''">
              <a:rPr kumimoji="0" lang="ja-JP" altLang="en-US" sz="1000" smtClean="0">
                <a:effectLst/>
                <a:sym typeface="+mn-lt"/>
              </a:rPr>
              <a:pPr marL="0" indent="0">
                <a:spcBef>
                  <a:spcPct val="0"/>
                </a:spcBef>
                <a:buNone/>
              </a:pPr>
              <a:t>1.0</a:t>
            </a:fld>
            <a:endParaRPr kumimoji="0" lang="ja-JP" altLang="en-US" sz="1000" dirty="0">
              <a:sym typeface="+mn-lt"/>
            </a:endParaRPr>
          </a:p>
        </p:txBody>
      </p:sp>
      <p:sp>
        <p:nvSpPr>
          <p:cNvPr id="42" name="Text Placeholder 12"/>
          <p:cNvSpPr>
            <a:spLocks noGrp="1"/>
          </p:cNvSpPr>
          <p:nvPr>
            <p:custDataLst>
              <p:tags r:id="rId16"/>
            </p:custDataLst>
          </p:nvPr>
        </p:nvSpPr>
        <p:spPr bwMode="auto">
          <a:xfrm>
            <a:off x="4178300" y="38639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14E1EED-E91D-4209-BC5E-9E107AEDB7F5}" type="datetime'''''''''''''''''''''''''''''''''''1''''''''''''''''0'">
              <a:rPr lang="ja-JP" altLang="en-US" sz="1000" b="0"/>
              <a:pPr algn="ctr">
                <a:spcBef>
                  <a:spcPct val="0"/>
                </a:spcBef>
                <a:spcAft>
                  <a:spcPct val="0"/>
                </a:spcAft>
              </a:pPr>
              <a:t>10</a:t>
            </a:fld>
            <a:endParaRPr kumimoji="0" lang="ja-JP" altLang="en-US" sz="1000" b="0" dirty="0">
              <a:sym typeface="+mn-lt"/>
            </a:endParaRPr>
          </a:p>
        </p:txBody>
      </p:sp>
      <p:sp>
        <p:nvSpPr>
          <p:cNvPr id="80" name="Text Placeholder 12"/>
          <p:cNvSpPr>
            <a:spLocks noGrp="1"/>
          </p:cNvSpPr>
          <p:nvPr>
            <p:custDataLst>
              <p:tags r:id="rId17"/>
            </p:custDataLst>
          </p:nvPr>
        </p:nvSpPr>
        <p:spPr bwMode="auto">
          <a:xfrm>
            <a:off x="2125663" y="38639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58BDE03-15B0-438A-ADF3-0D85D0EF1A15}" type="datetime'''''''''''''''''''''''''''''''''''''''0''''''''''4'''''">
              <a:rPr lang="ja-JP" altLang="en-US" sz="1000" b="0"/>
              <a:pPr algn="ctr">
                <a:spcBef>
                  <a:spcPct val="0"/>
                </a:spcBef>
                <a:spcAft>
                  <a:spcPct val="0"/>
                </a:spcAft>
              </a:pPr>
              <a:t>04</a:t>
            </a:fld>
            <a:endParaRPr kumimoji="0" lang="ja-JP" altLang="en-US" sz="1000" b="0" dirty="0">
              <a:sym typeface="+mn-lt"/>
            </a:endParaRPr>
          </a:p>
        </p:txBody>
      </p:sp>
      <p:sp>
        <p:nvSpPr>
          <p:cNvPr id="78" name="Text Placeholder 12"/>
          <p:cNvSpPr>
            <a:spLocks noGrp="1"/>
          </p:cNvSpPr>
          <p:nvPr>
            <p:custDataLst>
              <p:tags r:id="rId18"/>
            </p:custDataLst>
          </p:nvPr>
        </p:nvSpPr>
        <p:spPr bwMode="auto">
          <a:xfrm>
            <a:off x="2466975" y="38639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AC4AE68-9FF2-4BD8-8ACF-302003735B1F}" type="datetime'''''''''''''''''''''''''''0''''''''''''''5'''''''''">
              <a:rPr lang="ja-JP" altLang="en-US" sz="1000" b="0"/>
              <a:pPr algn="ctr">
                <a:spcBef>
                  <a:spcPct val="0"/>
                </a:spcBef>
                <a:spcAft>
                  <a:spcPct val="0"/>
                </a:spcAft>
              </a:pPr>
              <a:t>05</a:t>
            </a:fld>
            <a:endParaRPr kumimoji="0" lang="ja-JP" altLang="en-US" sz="1000" b="0" dirty="0">
              <a:sym typeface="+mn-lt"/>
            </a:endParaRPr>
          </a:p>
        </p:txBody>
      </p:sp>
      <p:sp>
        <p:nvSpPr>
          <p:cNvPr id="40" name="Text Placeholder 12"/>
          <p:cNvSpPr>
            <a:spLocks noGrp="1"/>
          </p:cNvSpPr>
          <p:nvPr>
            <p:custDataLst>
              <p:tags r:id="rId19"/>
            </p:custDataLst>
          </p:nvPr>
        </p:nvSpPr>
        <p:spPr bwMode="auto">
          <a:xfrm>
            <a:off x="8967788" y="38639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9B7E0B6-CDED-4006-BBD3-CBA1B27C1185}" type="datetime'''''''''''''''''''''''5''''0'''''''''''''">
              <a:rPr lang="ja-JP" altLang="en-US" sz="1000" b="0"/>
              <a:pPr algn="ctr">
                <a:spcBef>
                  <a:spcPct val="0"/>
                </a:spcBef>
                <a:spcAft>
                  <a:spcPct val="0"/>
                </a:spcAft>
              </a:pPr>
              <a:t>50</a:t>
            </a:fld>
            <a:endParaRPr kumimoji="0" lang="ja-JP" altLang="en-US" sz="1000" b="0" dirty="0">
              <a:sym typeface="+mn-lt"/>
            </a:endParaRPr>
          </a:p>
        </p:txBody>
      </p:sp>
      <p:sp>
        <p:nvSpPr>
          <p:cNvPr id="41" name="Text Placeholder 12"/>
          <p:cNvSpPr>
            <a:spLocks noGrp="1"/>
          </p:cNvSpPr>
          <p:nvPr>
            <p:custDataLst>
              <p:tags r:id="rId20"/>
            </p:custDataLst>
          </p:nvPr>
        </p:nvSpPr>
        <p:spPr bwMode="auto">
          <a:xfrm>
            <a:off x="3494088" y="38639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2535B86-BB4A-417B-B0C7-9C752CEDB19D}" type="datetime'''''0''''''''''''''''''''8'''''''''''''''''''''''''''''''''">
              <a:rPr lang="ja-JP" altLang="en-US" sz="1000" b="0"/>
              <a:pPr algn="ctr">
                <a:spcBef>
                  <a:spcPct val="0"/>
                </a:spcBef>
                <a:spcAft>
                  <a:spcPct val="0"/>
                </a:spcAft>
              </a:pPr>
              <a:t>08</a:t>
            </a:fld>
            <a:endParaRPr kumimoji="0" lang="ja-JP" altLang="en-US" sz="1000" b="0" dirty="0">
              <a:sym typeface="+mn-lt"/>
            </a:endParaRPr>
          </a:p>
        </p:txBody>
      </p:sp>
      <p:sp useBgFill="1">
        <p:nvSpPr>
          <p:cNvPr id="221" name="テキスト プレースホルダ 9">
            <a:extLst>
              <a:ext uri="{FF2B5EF4-FFF2-40B4-BE49-F238E27FC236}">
                <a16:creationId xmlns:a16="http://schemas.microsoft.com/office/drawing/2014/main" id="{C620DEEB-2A80-4759-857F-FD3DFB23BF17}"/>
              </a:ext>
            </a:extLst>
          </p:cNvPr>
          <p:cNvSpPr>
            <a:spLocks noGrp="1"/>
          </p:cNvSpPr>
          <p:nvPr>
            <p:custDataLst>
              <p:tags r:id="rId21"/>
            </p:custDataLst>
          </p:nvPr>
        </p:nvSpPr>
        <p:spPr bwMode="gray">
          <a:xfrm>
            <a:off x="2781300" y="2862263"/>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9EDEC6-FB42-4F64-8244-C80183D1052D}" type="datetime'''''''''3''''''''''''''''''''''.''''''''3'''''''''''''''">
              <a:rPr lang="ja-JP" altLang="en-US" sz="1000" smtClean="0">
                <a:effectLst/>
                <a:sym typeface="+mn-lt"/>
              </a:rPr>
              <a:pPr marL="0" indent="0" algn="ctr">
                <a:spcBef>
                  <a:spcPct val="0"/>
                </a:spcBef>
                <a:buNone/>
              </a:pPr>
              <a:t>3.3</a:t>
            </a:fld>
            <a:endParaRPr lang="ja-JP" altLang="en-US" sz="1000" dirty="0">
              <a:sym typeface="+mn-lt"/>
            </a:endParaRPr>
          </a:p>
        </p:txBody>
      </p:sp>
      <p:sp>
        <p:nvSpPr>
          <p:cNvPr id="47" name="Text Placeholder 12"/>
          <p:cNvSpPr>
            <a:spLocks noGrp="1"/>
          </p:cNvSpPr>
          <p:nvPr>
            <p:custDataLst>
              <p:tags r:id="rId22"/>
            </p:custDataLst>
          </p:nvPr>
        </p:nvSpPr>
        <p:spPr bwMode="auto">
          <a:xfrm>
            <a:off x="2809875" y="38639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2A2B7A-B147-41B3-9DF8-ADDEC8F01450}" type="datetime'''''''''''''''''''''''''0''''''''6'''''''''''''''''''''''''''">
              <a:rPr lang="ja-JP" altLang="en-US" sz="1000" b="0"/>
              <a:pPr algn="ctr">
                <a:spcBef>
                  <a:spcPct val="0"/>
                </a:spcBef>
                <a:spcAft>
                  <a:spcPct val="0"/>
                </a:spcAft>
              </a:pPr>
              <a:t>06</a:t>
            </a:fld>
            <a:endParaRPr kumimoji="0" lang="ja-JP" altLang="en-US" sz="1000" b="0" dirty="0">
              <a:sym typeface="+mn-lt"/>
            </a:endParaRPr>
          </a:p>
        </p:txBody>
      </p:sp>
      <p:sp>
        <p:nvSpPr>
          <p:cNvPr id="46" name="Text Placeholder 12"/>
          <p:cNvSpPr>
            <a:spLocks noGrp="1"/>
          </p:cNvSpPr>
          <p:nvPr>
            <p:custDataLst>
              <p:tags r:id="rId23"/>
            </p:custDataLst>
          </p:nvPr>
        </p:nvSpPr>
        <p:spPr bwMode="auto">
          <a:xfrm>
            <a:off x="3151188" y="38639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1B796D6-EE30-4F20-ACAA-D2422D6299B2}" type="datetime'''''''''''''''''''''0''''7'''''''''''''''''''''''">
              <a:rPr lang="ja-JP" altLang="en-US" sz="1000" b="0"/>
              <a:pPr algn="ctr">
                <a:spcBef>
                  <a:spcPct val="0"/>
                </a:spcBef>
                <a:spcAft>
                  <a:spcPct val="0"/>
                </a:spcAft>
              </a:pPr>
              <a:t>07</a:t>
            </a:fld>
            <a:endParaRPr kumimoji="0" lang="ja-JP" altLang="en-US" sz="1000" b="0" dirty="0">
              <a:sym typeface="+mn-lt"/>
            </a:endParaRPr>
          </a:p>
        </p:txBody>
      </p:sp>
      <p:sp>
        <p:nvSpPr>
          <p:cNvPr id="43" name="Text Placeholder 12"/>
          <p:cNvSpPr>
            <a:spLocks noGrp="1"/>
          </p:cNvSpPr>
          <p:nvPr>
            <p:custDataLst>
              <p:tags r:id="rId24"/>
            </p:custDataLst>
          </p:nvPr>
        </p:nvSpPr>
        <p:spPr bwMode="auto">
          <a:xfrm>
            <a:off x="3835400" y="38639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305D953-E140-4D4A-AE50-3F5876E2F23B}" type="datetime'''''''''''''''''''''''''''''0''''''''''''''''''''''9'''''">
              <a:rPr lang="ja-JP" altLang="en-US" sz="1000" b="0"/>
              <a:pPr algn="ctr">
                <a:spcBef>
                  <a:spcPct val="0"/>
                </a:spcBef>
                <a:spcAft>
                  <a:spcPct val="0"/>
                </a:spcAft>
              </a:pPr>
              <a:t>09</a:t>
            </a:fld>
            <a:endParaRPr kumimoji="0" lang="ja-JP" altLang="en-US" sz="1000" b="0" dirty="0">
              <a:sym typeface="+mn-lt"/>
            </a:endParaRPr>
          </a:p>
        </p:txBody>
      </p:sp>
      <p:sp useBgFill="1">
        <p:nvSpPr>
          <p:cNvPr id="190" name="テキスト プレースホルダ 9">
            <a:extLst>
              <a:ext uri="{FF2B5EF4-FFF2-40B4-BE49-F238E27FC236}">
                <a16:creationId xmlns:a16="http://schemas.microsoft.com/office/drawing/2014/main" id="{A808EE2D-5CBC-4B89-A6B5-EE188975A834}"/>
              </a:ext>
            </a:extLst>
          </p:cNvPr>
          <p:cNvSpPr>
            <a:spLocks noGrp="1"/>
          </p:cNvSpPr>
          <p:nvPr>
            <p:custDataLst>
              <p:tags r:id="rId25"/>
            </p:custDataLst>
          </p:nvPr>
        </p:nvSpPr>
        <p:spPr bwMode="gray">
          <a:xfrm>
            <a:off x="4010025" y="277336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75EED72-DD26-4DBB-A737-109395BE431D}" type="datetime'5''.''''''''''''''''''''''''''''''''''''''''2'">
              <a:rPr lang="ja-JP" altLang="en-US" sz="1000" smtClean="0">
                <a:effectLst/>
              </a:rPr>
              <a:pPr/>
              <a:t>5.2</a:t>
            </a:fld>
            <a:endParaRPr lang="ja-JP" altLang="en-US" sz="1000" dirty="0">
              <a:sym typeface="+mn-lt"/>
            </a:endParaRPr>
          </a:p>
        </p:txBody>
      </p:sp>
      <p:sp>
        <p:nvSpPr>
          <p:cNvPr id="51" name="Text Placeholder 12"/>
          <p:cNvSpPr>
            <a:spLocks noGrp="1"/>
          </p:cNvSpPr>
          <p:nvPr>
            <p:custDataLst>
              <p:tags r:id="rId26"/>
            </p:custDataLst>
          </p:nvPr>
        </p:nvSpPr>
        <p:spPr bwMode="auto">
          <a:xfrm>
            <a:off x="4519613" y="38639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2946BCD-F90F-44CE-ACFA-42BBF6DABDE1}" type="datetime'''''''''1''''1'''''''''''''''''''''''''''''''''''''''''">
              <a:rPr lang="ja-JP" altLang="en-US" sz="1000" b="0"/>
              <a:pPr algn="ctr">
                <a:spcBef>
                  <a:spcPct val="0"/>
                </a:spcBef>
                <a:spcAft>
                  <a:spcPct val="0"/>
                </a:spcAft>
              </a:pPr>
              <a:t>11</a:t>
            </a:fld>
            <a:endParaRPr kumimoji="0" lang="ja-JP" altLang="en-US" sz="1000" b="0" dirty="0">
              <a:sym typeface="+mn-lt"/>
            </a:endParaRPr>
          </a:p>
        </p:txBody>
      </p:sp>
      <p:sp>
        <p:nvSpPr>
          <p:cNvPr id="50" name="Text Placeholder 12"/>
          <p:cNvSpPr>
            <a:spLocks noGrp="1"/>
          </p:cNvSpPr>
          <p:nvPr>
            <p:custDataLst>
              <p:tags r:id="rId27"/>
            </p:custDataLst>
          </p:nvPr>
        </p:nvSpPr>
        <p:spPr bwMode="auto">
          <a:xfrm>
            <a:off x="4862513" y="38639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FE8B08E-88CC-4C76-A441-B0DA6823ECDE}" type="datetime'''''''''''''''''''1''''''''2'''''''''''''''''">
              <a:rPr lang="ja-JP" altLang="en-US" sz="1000" b="0"/>
              <a:pPr algn="ctr">
                <a:spcBef>
                  <a:spcPct val="0"/>
                </a:spcBef>
                <a:spcAft>
                  <a:spcPct val="0"/>
                </a:spcAft>
              </a:pPr>
              <a:t>12</a:t>
            </a:fld>
            <a:endParaRPr kumimoji="0" lang="ja-JP" altLang="en-US" sz="1000" b="0" dirty="0">
              <a:sym typeface="+mn-lt"/>
            </a:endParaRPr>
          </a:p>
        </p:txBody>
      </p:sp>
      <p:sp>
        <p:nvSpPr>
          <p:cNvPr id="82" name="Text Placeholder 12"/>
          <p:cNvSpPr>
            <a:spLocks noGrp="1"/>
          </p:cNvSpPr>
          <p:nvPr>
            <p:custDataLst>
              <p:tags r:id="rId28"/>
            </p:custDataLst>
          </p:nvPr>
        </p:nvSpPr>
        <p:spPr bwMode="auto">
          <a:xfrm>
            <a:off x="1782763" y="38639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6C6701E-A898-4761-A33C-C5F2B762C261}" type="datetime'''0''''''''3'''''''''''''">
              <a:rPr lang="ja-JP" altLang="en-US" sz="1000" b="0"/>
              <a:pPr algn="ctr">
                <a:spcBef>
                  <a:spcPct val="0"/>
                </a:spcBef>
                <a:spcAft>
                  <a:spcPct val="0"/>
                </a:spcAft>
              </a:pPr>
              <a:t>03</a:t>
            </a:fld>
            <a:endParaRPr kumimoji="0" lang="ja-JP" altLang="en-US" sz="1000" b="0" dirty="0">
              <a:sym typeface="+mn-lt"/>
            </a:endParaRPr>
          </a:p>
        </p:txBody>
      </p:sp>
      <p:sp>
        <p:nvSpPr>
          <p:cNvPr id="217" name="Text Placeholder 12">
            <a:extLst>
              <a:ext uri="{FF2B5EF4-FFF2-40B4-BE49-F238E27FC236}">
                <a16:creationId xmlns:a16="http://schemas.microsoft.com/office/drawing/2014/main" id="{5ED0EDE2-FB70-40BE-A937-DBF66608BDA5}"/>
              </a:ext>
            </a:extLst>
          </p:cNvPr>
          <p:cNvSpPr>
            <a:spLocks noGrp="1"/>
          </p:cNvSpPr>
          <p:nvPr>
            <p:custDataLst>
              <p:tags r:id="rId29"/>
            </p:custDataLst>
          </p:nvPr>
        </p:nvSpPr>
        <p:spPr bwMode="auto">
          <a:xfrm>
            <a:off x="8283575" y="38639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2754E67-1C3B-46D2-AEC3-B927FC1F9734}" type="datetime'''''''''''''''''''''''''''''''''''''3''''''''''''''''0'''''''">
              <a:rPr kumimoji="0" lang="ja-JP" altLang="en-US" sz="1000" b="0" smtClean="0"/>
              <a:pPr/>
              <a:t>30</a:t>
            </a:fld>
            <a:endParaRPr kumimoji="0" lang="ja-JP" altLang="en-US" sz="1000" b="0" dirty="0">
              <a:sym typeface="+mn-lt"/>
            </a:endParaRPr>
          </a:p>
        </p:txBody>
      </p:sp>
      <p:sp>
        <p:nvSpPr>
          <p:cNvPr id="44" name="Text Placeholder 12"/>
          <p:cNvSpPr>
            <a:spLocks noGrp="1"/>
          </p:cNvSpPr>
          <p:nvPr>
            <p:custDataLst>
              <p:tags r:id="rId30"/>
            </p:custDataLst>
          </p:nvPr>
        </p:nvSpPr>
        <p:spPr bwMode="auto">
          <a:xfrm>
            <a:off x="5203825" y="38639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326D5F4-9EE4-4AD5-B750-A3D363507366}" type="datetime'''''''''''''''''''''''1''3'''''''''''''''''''''''''''''">
              <a:rPr lang="ja-JP" altLang="en-US" sz="1000" b="0"/>
              <a:pPr algn="ctr">
                <a:spcBef>
                  <a:spcPct val="0"/>
                </a:spcBef>
                <a:spcAft>
                  <a:spcPct val="0"/>
                </a:spcAft>
              </a:pPr>
              <a:t>13</a:t>
            </a:fld>
            <a:endParaRPr kumimoji="0" lang="ja-JP" altLang="en-US" sz="1000" b="0" dirty="0">
              <a:sym typeface="+mn-lt"/>
            </a:endParaRPr>
          </a:p>
        </p:txBody>
      </p:sp>
      <p:sp>
        <p:nvSpPr>
          <p:cNvPr id="195" name="Text Placeholder 12"/>
          <p:cNvSpPr>
            <a:spLocks noGrp="1"/>
          </p:cNvSpPr>
          <p:nvPr>
            <p:custDataLst>
              <p:tags r:id="rId31"/>
            </p:custDataLst>
          </p:nvPr>
        </p:nvSpPr>
        <p:spPr bwMode="auto">
          <a:xfrm>
            <a:off x="6572250" y="38639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839C518-B58B-4303-ABDF-CED3167BFDD1}" type="datetime'''''''''''''''''''''''''''''1''''''''''''''''''''''''''''''7'">
              <a:rPr lang="ja-JP" altLang="en-US" sz="1000" b="0" smtClean="0"/>
              <a:pPr algn="ctr">
                <a:spcBef>
                  <a:spcPct val="0"/>
                </a:spcBef>
                <a:spcAft>
                  <a:spcPct val="0"/>
                </a:spcAft>
              </a:pPr>
              <a:t>17</a:t>
            </a:fld>
            <a:endParaRPr kumimoji="0" lang="ja-JP" altLang="en-US" sz="1000" b="0" dirty="0">
              <a:sym typeface="+mn-lt"/>
            </a:endParaRPr>
          </a:p>
        </p:txBody>
      </p:sp>
      <p:sp>
        <p:nvSpPr>
          <p:cNvPr id="45" name="Text Placeholder 12"/>
          <p:cNvSpPr>
            <a:spLocks noGrp="1"/>
          </p:cNvSpPr>
          <p:nvPr>
            <p:custDataLst>
              <p:tags r:id="rId32"/>
            </p:custDataLst>
          </p:nvPr>
        </p:nvSpPr>
        <p:spPr bwMode="auto">
          <a:xfrm>
            <a:off x="5546725" y="38639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441FDAA-7E64-48EB-AB63-DCAD483719E1}" type="datetime'''''''''''''''''''''1''''''''''''''''''''''''''''4'''''''''">
              <a:rPr lang="ja-JP" altLang="en-US" sz="1000" b="0"/>
              <a:pPr algn="ctr">
                <a:spcBef>
                  <a:spcPct val="0"/>
                </a:spcBef>
                <a:spcAft>
                  <a:spcPct val="0"/>
                </a:spcAft>
              </a:pPr>
              <a:t>14</a:t>
            </a:fld>
            <a:endParaRPr kumimoji="0" lang="ja-JP" altLang="en-US" sz="1000" b="0" dirty="0">
              <a:sym typeface="+mn-lt"/>
            </a:endParaRPr>
          </a:p>
        </p:txBody>
      </p:sp>
      <p:sp>
        <p:nvSpPr>
          <p:cNvPr id="77" name="Text Placeholder 12"/>
          <p:cNvSpPr>
            <a:spLocks noGrp="1"/>
          </p:cNvSpPr>
          <p:nvPr>
            <p:custDataLst>
              <p:tags r:id="rId33"/>
            </p:custDataLst>
          </p:nvPr>
        </p:nvSpPr>
        <p:spPr bwMode="auto">
          <a:xfrm>
            <a:off x="5888038" y="38639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B463A15-56B3-416C-A0BA-C2FB72E86C1E}" type="datetime'''''''''''''''''''1''''5'''">
              <a:rPr lang="ja-JP" altLang="en-US" sz="1000" b="0"/>
              <a:pPr algn="ctr">
                <a:spcBef>
                  <a:spcPct val="0"/>
                </a:spcBef>
                <a:spcAft>
                  <a:spcPct val="0"/>
                </a:spcAft>
              </a:pPr>
              <a:t>15</a:t>
            </a:fld>
            <a:endParaRPr kumimoji="0" lang="ja-JP" altLang="en-US" sz="1000" b="0" dirty="0">
              <a:sym typeface="+mn-lt"/>
            </a:endParaRPr>
          </a:p>
        </p:txBody>
      </p:sp>
      <p:sp>
        <p:nvSpPr>
          <p:cNvPr id="76" name="Text Placeholder 12"/>
          <p:cNvSpPr>
            <a:spLocks noGrp="1"/>
          </p:cNvSpPr>
          <p:nvPr>
            <p:custDataLst>
              <p:tags r:id="rId34"/>
            </p:custDataLst>
          </p:nvPr>
        </p:nvSpPr>
        <p:spPr bwMode="auto">
          <a:xfrm>
            <a:off x="6230938" y="38639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02CAC04-EBC3-45FD-A603-3C869E04F2F5}" type="datetime'''''''''''''''''1''''''''''''''6'">
              <a:rPr lang="ja-JP" altLang="en-US" sz="1000" b="0"/>
              <a:pPr algn="ctr">
                <a:spcBef>
                  <a:spcPct val="0"/>
                </a:spcBef>
                <a:spcAft>
                  <a:spcPct val="0"/>
                </a:spcAft>
              </a:pPr>
              <a:t>16</a:t>
            </a:fld>
            <a:endParaRPr kumimoji="0" lang="ja-JP" altLang="en-US" sz="1000" b="0" dirty="0">
              <a:sym typeface="+mn-lt"/>
            </a:endParaRPr>
          </a:p>
        </p:txBody>
      </p:sp>
      <p:sp useBgFill="1">
        <p:nvSpPr>
          <p:cNvPr id="227" name="テキスト プレースホルダ 9">
            <a:extLst>
              <a:ext uri="{FF2B5EF4-FFF2-40B4-BE49-F238E27FC236}">
                <a16:creationId xmlns:a16="http://schemas.microsoft.com/office/drawing/2014/main" id="{03E80723-FD6A-491F-8C93-9EAE5BB3A539}"/>
              </a:ext>
            </a:extLst>
          </p:cNvPr>
          <p:cNvSpPr>
            <a:spLocks noGrp="1"/>
          </p:cNvSpPr>
          <p:nvPr>
            <p:custDataLst>
              <p:tags r:id="rId35"/>
            </p:custDataLst>
          </p:nvPr>
        </p:nvSpPr>
        <p:spPr bwMode="gray">
          <a:xfrm>
            <a:off x="1733550" y="3554413"/>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96421AA-2954-4570-B9E6-954E68904E43}" type="datetime'''''''1''''''.''''''''''''''''''''''''''''''''''''2'''''''''">
              <a:rPr kumimoji="0" lang="ja-JP" altLang="en-US" sz="1000" smtClean="0">
                <a:effectLst/>
                <a:sym typeface="+mn-lt"/>
              </a:rPr>
              <a:pPr marL="0" indent="0">
                <a:spcBef>
                  <a:spcPct val="0"/>
                </a:spcBef>
                <a:buNone/>
              </a:pPr>
              <a:t>1.2</a:t>
            </a:fld>
            <a:endParaRPr kumimoji="0" lang="ja-JP" altLang="en-US" sz="1000" dirty="0">
              <a:sym typeface="+mn-lt"/>
            </a:endParaRPr>
          </a:p>
        </p:txBody>
      </p:sp>
      <p:sp>
        <p:nvSpPr>
          <p:cNvPr id="197" name="Text Placeholder 12"/>
          <p:cNvSpPr>
            <a:spLocks noGrp="1"/>
          </p:cNvSpPr>
          <p:nvPr>
            <p:custDataLst>
              <p:tags r:id="rId36"/>
            </p:custDataLst>
          </p:nvPr>
        </p:nvSpPr>
        <p:spPr bwMode="auto">
          <a:xfrm>
            <a:off x="7256463" y="38639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8B49BBF-BEB1-4CB4-B464-A8E52B4DE807}" type="datetime'''''''''''''''''''''''1''9'''''''''''''''''''''''''''">
              <a:rPr lang="en-US" altLang="en-US" sz="1000" b="0" smtClean="0"/>
              <a:pPr algn="ctr">
                <a:spcBef>
                  <a:spcPct val="0"/>
                </a:spcBef>
                <a:spcAft>
                  <a:spcPct val="0"/>
                </a:spcAft>
              </a:pPr>
              <a:t>19</a:t>
            </a:fld>
            <a:endParaRPr kumimoji="0" lang="ja-JP" altLang="en-US" sz="1000" b="0" dirty="0">
              <a:sym typeface="+mn-lt"/>
            </a:endParaRPr>
          </a:p>
        </p:txBody>
      </p:sp>
      <p:sp useBgFill="1">
        <p:nvSpPr>
          <p:cNvPr id="261" name="テキスト プレースホルダ 9">
            <a:extLst>
              <a:ext uri="{FF2B5EF4-FFF2-40B4-BE49-F238E27FC236}">
                <a16:creationId xmlns:a16="http://schemas.microsoft.com/office/drawing/2014/main" id="{D7A0EE39-999E-4F7C-8BF9-35A36D7A7834}"/>
              </a:ext>
            </a:extLst>
          </p:cNvPr>
          <p:cNvSpPr>
            <a:spLocks noGrp="1"/>
          </p:cNvSpPr>
          <p:nvPr>
            <p:custDataLst>
              <p:tags r:id="rId37"/>
            </p:custDataLst>
          </p:nvPr>
        </p:nvSpPr>
        <p:spPr bwMode="gray">
          <a:xfrm>
            <a:off x="7570788" y="3605213"/>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5A6F74-0D2F-4487-9282-F195FB8F8397}" type="datetime'''''''''''''''''''''0''''''.''''''''7'''''''''''''''''''''''''">
              <a:rPr lang="ja-JP" altLang="en-US" sz="1000" smtClean="0">
                <a:effectLst/>
                <a:sym typeface="+mn-lt"/>
              </a:rPr>
              <a:pPr marL="0" indent="0" algn="ctr">
                <a:spcBef>
                  <a:spcPct val="0"/>
                </a:spcBef>
                <a:buNone/>
              </a:pPr>
              <a:t>0.7</a:t>
            </a:fld>
            <a:endParaRPr lang="ja-JP" altLang="en-US" sz="1000" dirty="0">
              <a:sym typeface="+mn-lt"/>
            </a:endParaRPr>
          </a:p>
        </p:txBody>
      </p:sp>
      <p:sp>
        <p:nvSpPr>
          <p:cNvPr id="52" name="Text Placeholder 12"/>
          <p:cNvSpPr>
            <a:spLocks noGrp="1"/>
          </p:cNvSpPr>
          <p:nvPr>
            <p:custDataLst>
              <p:tags r:id="rId38"/>
            </p:custDataLst>
          </p:nvPr>
        </p:nvSpPr>
        <p:spPr bwMode="auto">
          <a:xfrm>
            <a:off x="7599363" y="38639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BF8376A-2596-4237-A0EB-7B2B2AB5F01F}" type="datetime'''''''''''''''''''''''''''''''''''2''''''''''''''''0'">
              <a:rPr lang="ja-JP" altLang="en-US" sz="1000" b="0"/>
              <a:pPr algn="ctr">
                <a:spcBef>
                  <a:spcPct val="0"/>
                </a:spcBef>
                <a:spcAft>
                  <a:spcPct val="0"/>
                </a:spcAft>
              </a:pPr>
              <a:t>20</a:t>
            </a:fld>
            <a:endParaRPr kumimoji="0" lang="ja-JP" altLang="en-US" sz="1000" b="0" dirty="0">
              <a:sym typeface="+mn-lt"/>
            </a:endParaRPr>
          </a:p>
        </p:txBody>
      </p:sp>
      <p:sp>
        <p:nvSpPr>
          <p:cNvPr id="39" name="Text Placeholder 12"/>
          <p:cNvSpPr>
            <a:spLocks noGrp="1"/>
          </p:cNvSpPr>
          <p:nvPr>
            <p:custDataLst>
              <p:tags r:id="rId39"/>
            </p:custDataLst>
          </p:nvPr>
        </p:nvSpPr>
        <p:spPr bwMode="auto">
          <a:xfrm>
            <a:off x="8624888" y="38639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3CDEE21-36C6-4D9A-B1CB-1318A6D2ACA8}" type="datetime'4''''''''''''''''''''''''0'''''''''''''''''''''''''''''">
              <a:rPr lang="ja-JP" altLang="en-US" sz="1000" b="0"/>
              <a:pPr algn="ctr">
                <a:spcBef>
                  <a:spcPct val="0"/>
                </a:spcBef>
                <a:spcAft>
                  <a:spcPct val="0"/>
                </a:spcAft>
              </a:pPr>
              <a:t>40</a:t>
            </a:fld>
            <a:endParaRPr kumimoji="0" lang="ja-JP" altLang="en-US" sz="1000" b="0" dirty="0">
              <a:sym typeface="+mn-lt"/>
            </a:endParaRPr>
          </a:p>
        </p:txBody>
      </p:sp>
      <p:sp>
        <p:nvSpPr>
          <p:cNvPr id="196" name="Text Placeholder 12"/>
          <p:cNvSpPr>
            <a:spLocks noGrp="1"/>
          </p:cNvSpPr>
          <p:nvPr>
            <p:custDataLst>
              <p:tags r:id="rId40"/>
            </p:custDataLst>
          </p:nvPr>
        </p:nvSpPr>
        <p:spPr bwMode="auto">
          <a:xfrm>
            <a:off x="6915150" y="38639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A069BE2-0EB0-463A-A8C5-DF7F3CCD5835}" type="datetime'''''''''''''''''''''''''''''1''''''''''''''''8'''''''''''''''">
              <a:rPr lang="en-US" altLang="en-US" sz="1000" b="0" smtClean="0"/>
              <a:pPr algn="ctr">
                <a:spcBef>
                  <a:spcPct val="0"/>
                </a:spcBef>
                <a:spcAft>
                  <a:spcPct val="0"/>
                </a:spcAft>
              </a:pPr>
              <a:t>18</a:t>
            </a:fld>
            <a:endParaRPr kumimoji="0" lang="ja-JP" altLang="en-US" sz="1000" b="0" dirty="0">
              <a:sym typeface="+mn-lt"/>
            </a:endParaRPr>
          </a:p>
        </p:txBody>
      </p:sp>
      <p:sp useBgFill="1">
        <p:nvSpPr>
          <p:cNvPr id="185" name="テキスト プレースホルダ 9">
            <a:extLst>
              <a:ext uri="{FF2B5EF4-FFF2-40B4-BE49-F238E27FC236}">
                <a16:creationId xmlns:a16="http://schemas.microsoft.com/office/drawing/2014/main" id="{1729BBD6-8E3A-4ACE-B3B4-5B20E38C764A}"/>
              </a:ext>
            </a:extLst>
          </p:cNvPr>
          <p:cNvSpPr>
            <a:spLocks noGrp="1"/>
          </p:cNvSpPr>
          <p:nvPr>
            <p:custDataLst>
              <p:tags r:id="rId41"/>
            </p:custDataLst>
          </p:nvPr>
        </p:nvSpPr>
        <p:spPr bwMode="gray">
          <a:xfrm>
            <a:off x="2438400" y="302101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5378E4F-533C-4CD2-B8BF-71E6FF6C31A7}" type="datetime'4''''''''''''''''''''''.''''''''''3'">
              <a:rPr lang="ja-JP" altLang="en-US" sz="1000" smtClean="0">
                <a:effectLst/>
              </a:rPr>
              <a:pPr/>
              <a:t>4.3</a:t>
            </a:fld>
            <a:endParaRPr lang="ja-JP" altLang="en-US" sz="1000" dirty="0">
              <a:sym typeface="+mn-lt"/>
            </a:endParaRPr>
          </a:p>
        </p:txBody>
      </p:sp>
      <p:sp>
        <p:nvSpPr>
          <p:cNvPr id="48" name="Text Placeholder 12"/>
          <p:cNvSpPr>
            <a:spLocks noGrp="1"/>
          </p:cNvSpPr>
          <p:nvPr>
            <p:custDataLst>
              <p:tags r:id="rId42"/>
            </p:custDataLst>
          </p:nvPr>
        </p:nvSpPr>
        <p:spPr bwMode="auto">
          <a:xfrm>
            <a:off x="395288" y="22209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百万人）</a:t>
            </a:r>
          </a:p>
        </p:txBody>
      </p:sp>
      <p:sp>
        <p:nvSpPr>
          <p:cNvPr id="49" name="Text Placeholder 12"/>
          <p:cNvSpPr>
            <a:spLocks noGrp="1"/>
          </p:cNvSpPr>
          <p:nvPr>
            <p:custDataLst>
              <p:tags r:id="rId43"/>
            </p:custDataLst>
          </p:nvPr>
        </p:nvSpPr>
        <p:spPr bwMode="auto">
          <a:xfrm>
            <a:off x="9159875" y="22209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useBgFill="1">
        <p:nvSpPr>
          <p:cNvPr id="191" name="テキスト プレースホルダ 9">
            <a:extLst>
              <a:ext uri="{FF2B5EF4-FFF2-40B4-BE49-F238E27FC236}">
                <a16:creationId xmlns:a16="http://schemas.microsoft.com/office/drawing/2014/main" id="{87769458-3A39-48E5-8742-CDEBEC91E86D}"/>
              </a:ext>
            </a:extLst>
          </p:cNvPr>
          <p:cNvSpPr>
            <a:spLocks noGrp="1"/>
          </p:cNvSpPr>
          <p:nvPr>
            <p:custDataLst>
              <p:tags r:id="rId44"/>
            </p:custDataLst>
          </p:nvPr>
        </p:nvSpPr>
        <p:spPr bwMode="gray">
          <a:xfrm>
            <a:off x="4491038" y="286226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563E54D-8495-4BD7-8E3B-3175DBA06236}" type="datetime'''''''5''''''''''''''''''''''''.''''''''''''''''''''3'''''''''">
              <a:rPr lang="ja-JP" altLang="en-US" sz="1000" smtClean="0">
                <a:effectLst/>
              </a:rPr>
              <a:pPr/>
              <a:t>5.3</a:t>
            </a:fld>
            <a:endParaRPr lang="ja-JP" altLang="en-US" sz="1000" dirty="0">
              <a:sym typeface="+mn-lt"/>
            </a:endParaRPr>
          </a:p>
        </p:txBody>
      </p:sp>
      <p:sp>
        <p:nvSpPr>
          <p:cNvPr id="53" name="Text Placeholder 12"/>
          <p:cNvSpPr>
            <a:spLocks noGrp="1"/>
          </p:cNvSpPr>
          <p:nvPr>
            <p:custDataLst>
              <p:tags r:id="rId45"/>
            </p:custDataLst>
          </p:nvPr>
        </p:nvSpPr>
        <p:spPr bwMode="auto">
          <a:xfrm>
            <a:off x="7940675" y="38639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B1BDD25-B6B0-49B9-BB7C-D405F07494DA}" type="datetime'2''''''''''''''''''''''''''1'''''''''''">
              <a:rPr lang="ja-JP" altLang="en-US" sz="1000" b="0" smtClean="0"/>
              <a:pPr/>
              <a:t>21</a:t>
            </a:fld>
            <a:endParaRPr kumimoji="0" lang="ja-JP" altLang="en-US" sz="1000" b="0" dirty="0">
              <a:sym typeface="+mn-lt"/>
            </a:endParaRPr>
          </a:p>
        </p:txBody>
      </p:sp>
      <p:cxnSp>
        <p:nvCxnSpPr>
          <p:cNvPr id="87" name="Straight Connector 86"/>
          <p:cNvCxnSpPr/>
          <p:nvPr>
            <p:custDataLst>
              <p:tags r:id="rId46"/>
            </p:custDataLst>
          </p:nvPr>
        </p:nvCxnSpPr>
        <p:spPr bwMode="gray">
          <a:xfrm>
            <a:off x="8455025" y="1484313"/>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6" name="Rectangle 85"/>
          <p:cNvSpPr/>
          <p:nvPr>
            <p:custDataLst>
              <p:tags r:id="rId47"/>
            </p:custDataLst>
          </p:nvPr>
        </p:nvSpPr>
        <p:spPr bwMode="gray">
          <a:xfrm>
            <a:off x="8535988" y="1620838"/>
            <a:ext cx="179388" cy="133350"/>
          </a:xfrm>
          <a:prstGeom prst="rect">
            <a:avLst/>
          </a:prstGeom>
          <a:solidFill>
            <a:srgbClr val="80CCE8"/>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88" name="Oval 87"/>
          <p:cNvSpPr/>
          <p:nvPr>
            <p:custDataLst>
              <p:tags r:id="rId48"/>
            </p:custDataLst>
          </p:nvPr>
        </p:nvSpPr>
        <p:spPr bwMode="gray">
          <a:xfrm>
            <a:off x="8543925" y="1446213"/>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90" name="Text Placeholder 12"/>
          <p:cNvSpPr>
            <a:spLocks noGrp="1"/>
          </p:cNvSpPr>
          <p:nvPr>
            <p:custDataLst>
              <p:tags r:id="rId49"/>
            </p:custDataLst>
          </p:nvPr>
        </p:nvSpPr>
        <p:spPr bwMode="auto">
          <a:xfrm>
            <a:off x="8766175" y="1412875"/>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73B677C-E409-4D81-B7EA-3A7959124D7A}" type="datetime'人''''''''''''''''''''''口成''''''''''長''''''率''''（''''''％''）'''">
              <a:rPr lang="ja-JP" altLang="en-US" sz="1000" b="0"/>
              <a:pPr>
                <a:spcBef>
                  <a:spcPct val="0"/>
                </a:spcBef>
                <a:spcAft>
                  <a:spcPct val="0"/>
                </a:spcAft>
              </a:pPr>
              <a:t>人口成長率（％）</a:t>
            </a:fld>
            <a:endParaRPr kumimoji="0" lang="ja-JP" altLang="en-US" sz="1000" b="0" dirty="0">
              <a:sym typeface="+mn-lt"/>
            </a:endParaRPr>
          </a:p>
        </p:txBody>
      </p:sp>
      <p:sp>
        <p:nvSpPr>
          <p:cNvPr id="89" name="Text Placeholder 12"/>
          <p:cNvSpPr>
            <a:spLocks noGrp="1"/>
          </p:cNvSpPr>
          <p:nvPr>
            <p:custDataLst>
              <p:tags r:id="rId50"/>
            </p:custDataLst>
          </p:nvPr>
        </p:nvSpPr>
        <p:spPr bwMode="auto">
          <a:xfrm>
            <a:off x="8766175" y="1616075"/>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593714D-6E6F-42A2-AD49-28D29BD94B3C}" type="datetime'''総計（''''''''''''百''''''''''''''''万''''''''人''''''''''''''''）'">
              <a:rPr lang="zh-TW" altLang="en-US" sz="1000" b="0" smtClean="0"/>
              <a:pPr/>
              <a:t>総計（百万人）</a:t>
            </a:fld>
            <a:endParaRPr kumimoji="0" lang="ja-JP" altLang="en-US" sz="1000" b="0" dirty="0">
              <a:sym typeface="+mn-lt"/>
            </a:endParaRPr>
          </a:p>
        </p:txBody>
      </p:sp>
      <p:cxnSp>
        <p:nvCxnSpPr>
          <p:cNvPr id="284" name="Straight Connector 283">
            <a:extLst>
              <a:ext uri="{FF2B5EF4-FFF2-40B4-BE49-F238E27FC236}">
                <a16:creationId xmlns:a16="http://schemas.microsoft.com/office/drawing/2014/main" id="{F9F2A403-9558-48AD-8D3B-D9C960A03F9D}"/>
              </a:ext>
            </a:extLst>
          </p:cNvPr>
          <p:cNvCxnSpPr/>
          <p:nvPr>
            <p:custDataLst>
              <p:tags r:id="rId51"/>
            </p:custDataLst>
          </p:nvPr>
        </p:nvCxnSpPr>
        <p:spPr bwMode="auto">
          <a:xfrm>
            <a:off x="81724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438D48A5-7ED5-48CD-B822-BC40220F7AA6}"/>
              </a:ext>
            </a:extLst>
          </p:cNvPr>
          <p:cNvCxnSpPr/>
          <p:nvPr>
            <p:custDataLst>
              <p:tags r:id="rId52"/>
            </p:custDataLst>
          </p:nvPr>
        </p:nvCxnSpPr>
        <p:spPr bwMode="auto">
          <a:xfrm>
            <a:off x="912813" y="488632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8" name="Straight Connector 277">
            <a:extLst>
              <a:ext uri="{FF2B5EF4-FFF2-40B4-BE49-F238E27FC236}">
                <a16:creationId xmlns:a16="http://schemas.microsoft.com/office/drawing/2014/main" id="{1188CD57-7F97-445A-AD0B-F1B23D3DFCFB}"/>
              </a:ext>
            </a:extLst>
          </p:cNvPr>
          <p:cNvCxnSpPr/>
          <p:nvPr>
            <p:custDataLst>
              <p:tags r:id="rId53"/>
            </p:custDataLst>
          </p:nvPr>
        </p:nvCxnSpPr>
        <p:spPr bwMode="auto">
          <a:xfrm>
            <a:off x="74803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4" name="Straight Connector 263">
            <a:extLst>
              <a:ext uri="{FF2B5EF4-FFF2-40B4-BE49-F238E27FC236}">
                <a16:creationId xmlns:a16="http://schemas.microsoft.com/office/drawing/2014/main" id="{8091BCF1-787C-4847-968D-11AC289E37BA}"/>
              </a:ext>
            </a:extLst>
          </p:cNvPr>
          <p:cNvCxnSpPr/>
          <p:nvPr>
            <p:custDataLst>
              <p:tags r:id="rId54"/>
            </p:custDataLst>
          </p:nvPr>
        </p:nvCxnSpPr>
        <p:spPr bwMode="auto">
          <a:xfrm>
            <a:off x="5751513" y="6016625"/>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6" name="Straight Connector 265">
            <a:extLst>
              <a:ext uri="{FF2B5EF4-FFF2-40B4-BE49-F238E27FC236}">
                <a16:creationId xmlns:a16="http://schemas.microsoft.com/office/drawing/2014/main" id="{24129640-8F37-4ECA-BC6E-50C03DD817DE}"/>
              </a:ext>
            </a:extLst>
          </p:cNvPr>
          <p:cNvCxnSpPr/>
          <p:nvPr>
            <p:custDataLst>
              <p:tags r:id="rId55"/>
            </p:custDataLst>
          </p:nvPr>
        </p:nvCxnSpPr>
        <p:spPr bwMode="auto">
          <a:xfrm>
            <a:off x="6097588" y="4922838"/>
            <a:ext cx="123825" cy="7937"/>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Straight Connector 258">
            <a:extLst>
              <a:ext uri="{FF2B5EF4-FFF2-40B4-BE49-F238E27FC236}">
                <a16:creationId xmlns:a16="http://schemas.microsoft.com/office/drawing/2014/main" id="{85F29997-9C6C-446F-B4D7-512A5527E16F}"/>
              </a:ext>
            </a:extLst>
          </p:cNvPr>
          <p:cNvCxnSpPr/>
          <p:nvPr>
            <p:custDataLst>
              <p:tags r:id="rId56"/>
            </p:custDataLst>
          </p:nvPr>
        </p:nvCxnSpPr>
        <p:spPr bwMode="auto">
          <a:xfrm>
            <a:off x="5407025" y="4911725"/>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EC485B34-A5BA-4A0B-AF28-6E87A4B7E942}"/>
              </a:ext>
            </a:extLst>
          </p:cNvPr>
          <p:cNvCxnSpPr/>
          <p:nvPr>
            <p:custDataLst>
              <p:tags r:id="rId57"/>
            </p:custDataLst>
          </p:nvPr>
        </p:nvCxnSpPr>
        <p:spPr bwMode="auto">
          <a:xfrm>
            <a:off x="9128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5" name="Straight Connector 284">
            <a:extLst>
              <a:ext uri="{FF2B5EF4-FFF2-40B4-BE49-F238E27FC236}">
                <a16:creationId xmlns:a16="http://schemas.microsoft.com/office/drawing/2014/main" id="{7C7FC7CC-E01D-46AE-A5B5-10391BADC865}"/>
              </a:ext>
            </a:extLst>
          </p:cNvPr>
          <p:cNvCxnSpPr/>
          <p:nvPr>
            <p:custDataLst>
              <p:tags r:id="rId58"/>
            </p:custDataLst>
          </p:nvPr>
        </p:nvCxnSpPr>
        <p:spPr bwMode="auto">
          <a:xfrm>
            <a:off x="8172450" y="4995863"/>
            <a:ext cx="128588" cy="1206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7" name="Straight Connector 266">
            <a:extLst>
              <a:ext uri="{FF2B5EF4-FFF2-40B4-BE49-F238E27FC236}">
                <a16:creationId xmlns:a16="http://schemas.microsoft.com/office/drawing/2014/main" id="{68E3FAB3-3BFA-4312-9B03-3912FE56C677}"/>
              </a:ext>
            </a:extLst>
          </p:cNvPr>
          <p:cNvCxnSpPr/>
          <p:nvPr>
            <p:custDataLst>
              <p:tags r:id="rId59"/>
            </p:custDataLst>
          </p:nvPr>
        </p:nvCxnSpPr>
        <p:spPr bwMode="auto">
          <a:xfrm>
            <a:off x="6097588" y="6022975"/>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3BBE29FA-431A-44D4-BBEC-9C1830DC3069}"/>
              </a:ext>
            </a:extLst>
          </p:cNvPr>
          <p:cNvCxnSpPr/>
          <p:nvPr>
            <p:custDataLst>
              <p:tags r:id="rId60"/>
            </p:custDataLst>
          </p:nvPr>
        </p:nvCxnSpPr>
        <p:spPr bwMode="auto">
          <a:xfrm>
            <a:off x="22955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6" name="Straight Connector 285">
            <a:extLst>
              <a:ext uri="{FF2B5EF4-FFF2-40B4-BE49-F238E27FC236}">
                <a16:creationId xmlns:a16="http://schemas.microsoft.com/office/drawing/2014/main" id="{60143F3C-AA3F-4043-89A4-C144D4CC616C}"/>
              </a:ext>
            </a:extLst>
          </p:cNvPr>
          <p:cNvCxnSpPr/>
          <p:nvPr>
            <p:custDataLst>
              <p:tags r:id="rId61"/>
            </p:custDataLst>
          </p:nvPr>
        </p:nvCxnSpPr>
        <p:spPr bwMode="auto">
          <a:xfrm>
            <a:off x="8172450" y="6032500"/>
            <a:ext cx="128588"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Straight Connector 250">
            <a:extLst>
              <a:ext uri="{FF2B5EF4-FFF2-40B4-BE49-F238E27FC236}">
                <a16:creationId xmlns:a16="http://schemas.microsoft.com/office/drawing/2014/main" id="{4D0A1478-8ED4-418B-9FFF-AC19C125A701}"/>
              </a:ext>
            </a:extLst>
          </p:cNvPr>
          <p:cNvCxnSpPr/>
          <p:nvPr>
            <p:custDataLst>
              <p:tags r:id="rId62"/>
            </p:custDataLst>
          </p:nvPr>
        </p:nvCxnSpPr>
        <p:spPr bwMode="auto">
          <a:xfrm>
            <a:off x="4368800" y="6000750"/>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1" name="Straight Connector 270">
            <a:extLst>
              <a:ext uri="{FF2B5EF4-FFF2-40B4-BE49-F238E27FC236}">
                <a16:creationId xmlns:a16="http://schemas.microsoft.com/office/drawing/2014/main" id="{54757C9F-DF44-4EF7-985B-6A822E02F573}"/>
              </a:ext>
            </a:extLst>
          </p:cNvPr>
          <p:cNvCxnSpPr/>
          <p:nvPr>
            <p:custDataLst>
              <p:tags r:id="rId63"/>
            </p:custDataLst>
          </p:nvPr>
        </p:nvCxnSpPr>
        <p:spPr bwMode="auto">
          <a:xfrm>
            <a:off x="67897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Straight Connector 205">
            <a:extLst>
              <a:ext uri="{FF2B5EF4-FFF2-40B4-BE49-F238E27FC236}">
                <a16:creationId xmlns:a16="http://schemas.microsoft.com/office/drawing/2014/main" id="{0ACB9C67-F8B1-4092-9E6A-73A6767D3F68}"/>
              </a:ext>
            </a:extLst>
          </p:cNvPr>
          <p:cNvCxnSpPr/>
          <p:nvPr>
            <p:custDataLst>
              <p:tags r:id="rId64"/>
            </p:custDataLst>
          </p:nvPr>
        </p:nvCxnSpPr>
        <p:spPr bwMode="auto">
          <a:xfrm>
            <a:off x="29860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8" name="Straight Connector 287">
            <a:extLst>
              <a:ext uri="{FF2B5EF4-FFF2-40B4-BE49-F238E27FC236}">
                <a16:creationId xmlns:a16="http://schemas.microsoft.com/office/drawing/2014/main" id="{17C588CC-4304-4230-A1E7-B4D4247B9E45}"/>
              </a:ext>
            </a:extLst>
          </p:cNvPr>
          <p:cNvCxnSpPr/>
          <p:nvPr>
            <p:custDataLst>
              <p:tags r:id="rId65"/>
            </p:custDataLst>
          </p:nvPr>
        </p:nvCxnSpPr>
        <p:spPr bwMode="auto">
          <a:xfrm>
            <a:off x="8516938" y="5116513"/>
            <a:ext cx="128588" cy="984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7B5DB5F4-8F36-4D7C-B8EC-D53C016299B6}"/>
              </a:ext>
            </a:extLst>
          </p:cNvPr>
          <p:cNvCxnSpPr/>
          <p:nvPr>
            <p:custDataLst>
              <p:tags r:id="rId66"/>
            </p:custDataLst>
          </p:nvPr>
        </p:nvCxnSpPr>
        <p:spPr bwMode="auto">
          <a:xfrm>
            <a:off x="1258888" y="5935663"/>
            <a:ext cx="128588" cy="1587"/>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FE79625A-5AC5-47A2-BEB8-71C6D0BC79FA}"/>
              </a:ext>
            </a:extLst>
          </p:cNvPr>
          <p:cNvCxnSpPr/>
          <p:nvPr>
            <p:custDataLst>
              <p:tags r:id="rId67"/>
            </p:custDataLst>
          </p:nvPr>
        </p:nvCxnSpPr>
        <p:spPr bwMode="auto">
          <a:xfrm>
            <a:off x="1603375" y="4891088"/>
            <a:ext cx="128588" cy="1587"/>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9" name="Straight Connector 288">
            <a:extLst>
              <a:ext uri="{FF2B5EF4-FFF2-40B4-BE49-F238E27FC236}">
                <a16:creationId xmlns:a16="http://schemas.microsoft.com/office/drawing/2014/main" id="{C51ED891-9F61-4655-BA98-DD87063BFE4D}"/>
              </a:ext>
            </a:extLst>
          </p:cNvPr>
          <p:cNvCxnSpPr/>
          <p:nvPr>
            <p:custDataLst>
              <p:tags r:id="rId68"/>
            </p:custDataLst>
          </p:nvPr>
        </p:nvCxnSpPr>
        <p:spPr bwMode="auto">
          <a:xfrm>
            <a:off x="8516938" y="6043613"/>
            <a:ext cx="128588" cy="158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Straight Connector 243">
            <a:extLst>
              <a:ext uri="{FF2B5EF4-FFF2-40B4-BE49-F238E27FC236}">
                <a16:creationId xmlns:a16="http://schemas.microsoft.com/office/drawing/2014/main" id="{EE98BDA1-F0FE-4D03-BB9E-10DD68111D7B}"/>
              </a:ext>
            </a:extLst>
          </p:cNvPr>
          <p:cNvCxnSpPr/>
          <p:nvPr>
            <p:custDataLst>
              <p:tags r:id="rId69"/>
            </p:custDataLst>
          </p:nvPr>
        </p:nvCxnSpPr>
        <p:spPr bwMode="auto">
          <a:xfrm>
            <a:off x="3678238" y="5980113"/>
            <a:ext cx="128588" cy="11112"/>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Straight Connector 193">
            <a:extLst>
              <a:ext uri="{FF2B5EF4-FFF2-40B4-BE49-F238E27FC236}">
                <a16:creationId xmlns:a16="http://schemas.microsoft.com/office/drawing/2014/main" id="{BB56814A-F45C-4E84-B84B-6713A08CA0D8}"/>
              </a:ext>
            </a:extLst>
          </p:cNvPr>
          <p:cNvCxnSpPr/>
          <p:nvPr>
            <p:custDataLst>
              <p:tags r:id="rId70"/>
            </p:custDataLst>
          </p:nvPr>
        </p:nvCxnSpPr>
        <p:spPr bwMode="auto">
          <a:xfrm>
            <a:off x="26416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4" name="Straight Connector 273">
            <a:extLst>
              <a:ext uri="{FF2B5EF4-FFF2-40B4-BE49-F238E27FC236}">
                <a16:creationId xmlns:a16="http://schemas.microsoft.com/office/drawing/2014/main" id="{BA6E6791-42C6-4E93-BB11-9E19D5A5C42A}"/>
              </a:ext>
            </a:extLst>
          </p:cNvPr>
          <p:cNvCxnSpPr/>
          <p:nvPr>
            <p:custDataLst>
              <p:tags r:id="rId71"/>
            </p:custDataLst>
          </p:nvPr>
        </p:nvCxnSpPr>
        <p:spPr bwMode="auto">
          <a:xfrm>
            <a:off x="71342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7" name="Straight Connector 286">
            <a:extLst>
              <a:ext uri="{FF2B5EF4-FFF2-40B4-BE49-F238E27FC236}">
                <a16:creationId xmlns:a16="http://schemas.microsoft.com/office/drawing/2014/main" id="{7DEEAB08-05F8-4481-A327-4A2B33DB1C45}"/>
              </a:ext>
            </a:extLst>
          </p:cNvPr>
          <p:cNvCxnSpPr/>
          <p:nvPr>
            <p:custDataLst>
              <p:tags r:id="rId72"/>
            </p:custDataLst>
          </p:nvPr>
        </p:nvCxnSpPr>
        <p:spPr bwMode="auto">
          <a:xfrm>
            <a:off x="85169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1" name="Straight Connector 290">
            <a:extLst>
              <a:ext uri="{FF2B5EF4-FFF2-40B4-BE49-F238E27FC236}">
                <a16:creationId xmlns:a16="http://schemas.microsoft.com/office/drawing/2014/main" id="{8EFFD6E4-FB90-4A39-AA9D-BAC142362A7D}"/>
              </a:ext>
            </a:extLst>
          </p:cNvPr>
          <p:cNvCxnSpPr/>
          <p:nvPr>
            <p:custDataLst>
              <p:tags r:id="rId73"/>
            </p:custDataLst>
          </p:nvPr>
        </p:nvCxnSpPr>
        <p:spPr bwMode="auto">
          <a:xfrm>
            <a:off x="8863013" y="5214938"/>
            <a:ext cx="128588" cy="635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4" name="Straight Connector 253">
            <a:extLst>
              <a:ext uri="{FF2B5EF4-FFF2-40B4-BE49-F238E27FC236}">
                <a16:creationId xmlns:a16="http://schemas.microsoft.com/office/drawing/2014/main" id="{0B3A4F8F-455A-493D-A62E-7771FAA97914}"/>
              </a:ext>
            </a:extLst>
          </p:cNvPr>
          <p:cNvCxnSpPr/>
          <p:nvPr>
            <p:custDataLst>
              <p:tags r:id="rId74"/>
            </p:custDataLst>
          </p:nvPr>
        </p:nvCxnSpPr>
        <p:spPr bwMode="auto">
          <a:xfrm>
            <a:off x="4714875" y="6005513"/>
            <a:ext cx="128588" cy="1587"/>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2" name="Straight Connector 291">
            <a:extLst>
              <a:ext uri="{FF2B5EF4-FFF2-40B4-BE49-F238E27FC236}">
                <a16:creationId xmlns:a16="http://schemas.microsoft.com/office/drawing/2014/main" id="{68676FCF-3B17-46EC-98F2-EB218718A999}"/>
              </a:ext>
            </a:extLst>
          </p:cNvPr>
          <p:cNvCxnSpPr/>
          <p:nvPr>
            <p:custDataLst>
              <p:tags r:id="rId75"/>
            </p:custDataLst>
          </p:nvPr>
        </p:nvCxnSpPr>
        <p:spPr bwMode="auto">
          <a:xfrm>
            <a:off x="8863014" y="6059488"/>
            <a:ext cx="123825" cy="7937"/>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9" name="Straight Connector 278">
            <a:extLst>
              <a:ext uri="{FF2B5EF4-FFF2-40B4-BE49-F238E27FC236}">
                <a16:creationId xmlns:a16="http://schemas.microsoft.com/office/drawing/2014/main" id="{F6A42CEB-7489-4BC2-80CC-E981EE13A142}"/>
              </a:ext>
            </a:extLst>
          </p:cNvPr>
          <p:cNvCxnSpPr/>
          <p:nvPr>
            <p:custDataLst>
              <p:tags r:id="rId76"/>
            </p:custDataLst>
          </p:nvPr>
        </p:nvCxnSpPr>
        <p:spPr bwMode="auto">
          <a:xfrm>
            <a:off x="7480300" y="4968875"/>
            <a:ext cx="128588"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D3A5B634-8250-41E2-A65A-61D7C5213D44}"/>
              </a:ext>
            </a:extLst>
          </p:cNvPr>
          <p:cNvCxnSpPr/>
          <p:nvPr>
            <p:custDataLst>
              <p:tags r:id="rId77"/>
            </p:custDataLst>
          </p:nvPr>
        </p:nvCxnSpPr>
        <p:spPr bwMode="auto">
          <a:xfrm>
            <a:off x="912813" y="5932488"/>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8" name="Straight Connector 267">
            <a:extLst>
              <a:ext uri="{FF2B5EF4-FFF2-40B4-BE49-F238E27FC236}">
                <a16:creationId xmlns:a16="http://schemas.microsoft.com/office/drawing/2014/main" id="{2BA7CEF5-B164-471E-BC18-B2ED8AAF28D9}"/>
              </a:ext>
            </a:extLst>
          </p:cNvPr>
          <p:cNvCxnSpPr/>
          <p:nvPr>
            <p:custDataLst>
              <p:tags r:id="rId78"/>
            </p:custDataLst>
          </p:nvPr>
        </p:nvCxnSpPr>
        <p:spPr bwMode="auto">
          <a:xfrm>
            <a:off x="6446839" y="4797425"/>
            <a:ext cx="12541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8BC12EF2-AC20-4098-B4D4-CF847D23058E}"/>
              </a:ext>
            </a:extLst>
          </p:cNvPr>
          <p:cNvCxnSpPr/>
          <p:nvPr>
            <p:custDataLst>
              <p:tags r:id="rId79"/>
            </p:custDataLst>
          </p:nvPr>
        </p:nvCxnSpPr>
        <p:spPr bwMode="auto">
          <a:xfrm>
            <a:off x="12588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9989BB02-4115-4F74-935B-DC77ABFBEFCC}"/>
              </a:ext>
            </a:extLst>
          </p:cNvPr>
          <p:cNvCxnSpPr/>
          <p:nvPr>
            <p:custDataLst>
              <p:tags r:id="rId80"/>
            </p:custDataLst>
          </p:nvPr>
        </p:nvCxnSpPr>
        <p:spPr bwMode="auto">
          <a:xfrm>
            <a:off x="1258888" y="4887913"/>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8C555550-E99C-449A-BEE9-03820FC59F93}"/>
              </a:ext>
            </a:extLst>
          </p:cNvPr>
          <p:cNvCxnSpPr/>
          <p:nvPr>
            <p:custDataLst>
              <p:tags r:id="rId81"/>
            </p:custDataLst>
          </p:nvPr>
        </p:nvCxnSpPr>
        <p:spPr bwMode="auto">
          <a:xfrm>
            <a:off x="16033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97821DBB-5561-4406-A107-753321D204A0}"/>
              </a:ext>
            </a:extLst>
          </p:cNvPr>
          <p:cNvCxnSpPr/>
          <p:nvPr>
            <p:custDataLst>
              <p:tags r:id="rId82"/>
            </p:custDataLst>
          </p:nvPr>
        </p:nvCxnSpPr>
        <p:spPr bwMode="auto">
          <a:xfrm>
            <a:off x="1603375" y="5937250"/>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5E836BE6-FACD-4FCF-A42E-3910340DA18D}"/>
              </a:ext>
            </a:extLst>
          </p:cNvPr>
          <p:cNvCxnSpPr/>
          <p:nvPr>
            <p:custDataLst>
              <p:tags r:id="rId83"/>
            </p:custDataLst>
          </p:nvPr>
        </p:nvCxnSpPr>
        <p:spPr bwMode="auto">
          <a:xfrm>
            <a:off x="19494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B58223F5-4F13-42A4-80EF-1793551CF4CA}"/>
              </a:ext>
            </a:extLst>
          </p:cNvPr>
          <p:cNvCxnSpPr/>
          <p:nvPr>
            <p:custDataLst>
              <p:tags r:id="rId84"/>
            </p:custDataLst>
          </p:nvPr>
        </p:nvCxnSpPr>
        <p:spPr bwMode="auto">
          <a:xfrm>
            <a:off x="1949450" y="489267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8D82AC34-E15C-40C1-A83B-8E58C03EA51D}"/>
              </a:ext>
            </a:extLst>
          </p:cNvPr>
          <p:cNvCxnSpPr/>
          <p:nvPr>
            <p:custDataLst>
              <p:tags r:id="rId85"/>
            </p:custDataLst>
          </p:nvPr>
        </p:nvCxnSpPr>
        <p:spPr bwMode="auto">
          <a:xfrm>
            <a:off x="1949450" y="5940425"/>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00050329-5AE5-4BDA-9B18-A7C62685579C}"/>
              </a:ext>
            </a:extLst>
          </p:cNvPr>
          <p:cNvCxnSpPr/>
          <p:nvPr>
            <p:custDataLst>
              <p:tags r:id="rId86"/>
            </p:custDataLst>
          </p:nvPr>
        </p:nvCxnSpPr>
        <p:spPr bwMode="auto">
          <a:xfrm>
            <a:off x="2295525" y="4894263"/>
            <a:ext cx="128588" cy="1587"/>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Straight Connector 192">
            <a:extLst>
              <a:ext uri="{FF2B5EF4-FFF2-40B4-BE49-F238E27FC236}">
                <a16:creationId xmlns:a16="http://schemas.microsoft.com/office/drawing/2014/main" id="{65A1A4A0-E4C4-4A28-B007-A97BAAB24A8A}"/>
              </a:ext>
            </a:extLst>
          </p:cNvPr>
          <p:cNvCxnSpPr/>
          <p:nvPr>
            <p:custDataLst>
              <p:tags r:id="rId87"/>
            </p:custDataLst>
          </p:nvPr>
        </p:nvCxnSpPr>
        <p:spPr bwMode="auto">
          <a:xfrm>
            <a:off x="2295525" y="5948363"/>
            <a:ext cx="128588" cy="7937"/>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3" name="Straight Connector 202">
            <a:extLst>
              <a:ext uri="{FF2B5EF4-FFF2-40B4-BE49-F238E27FC236}">
                <a16:creationId xmlns:a16="http://schemas.microsoft.com/office/drawing/2014/main" id="{6480C1AB-E381-4C02-B3A7-5A14899CAAB5}"/>
              </a:ext>
            </a:extLst>
          </p:cNvPr>
          <p:cNvCxnSpPr/>
          <p:nvPr>
            <p:custDataLst>
              <p:tags r:id="rId88"/>
            </p:custDataLst>
          </p:nvPr>
        </p:nvCxnSpPr>
        <p:spPr bwMode="auto">
          <a:xfrm>
            <a:off x="2641600" y="489585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4" name="Straight Connector 203">
            <a:extLst>
              <a:ext uri="{FF2B5EF4-FFF2-40B4-BE49-F238E27FC236}">
                <a16:creationId xmlns:a16="http://schemas.microsoft.com/office/drawing/2014/main" id="{0137D878-6846-4BA0-AAAF-767FD39BE120}"/>
              </a:ext>
            </a:extLst>
          </p:cNvPr>
          <p:cNvCxnSpPr/>
          <p:nvPr>
            <p:custDataLst>
              <p:tags r:id="rId89"/>
            </p:custDataLst>
          </p:nvPr>
        </p:nvCxnSpPr>
        <p:spPr bwMode="auto">
          <a:xfrm>
            <a:off x="2641600" y="5956300"/>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5F65409A-504B-4CB3-83E4-CCCF9803C327}"/>
              </a:ext>
            </a:extLst>
          </p:cNvPr>
          <p:cNvCxnSpPr/>
          <p:nvPr>
            <p:custDataLst>
              <p:tags r:id="rId90"/>
            </p:custDataLst>
          </p:nvPr>
        </p:nvCxnSpPr>
        <p:spPr bwMode="auto">
          <a:xfrm>
            <a:off x="2986088" y="489585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0ACE962D-C831-48CB-A550-D8775FBC198E}"/>
              </a:ext>
            </a:extLst>
          </p:cNvPr>
          <p:cNvCxnSpPr/>
          <p:nvPr>
            <p:custDataLst>
              <p:tags r:id="rId91"/>
            </p:custDataLst>
          </p:nvPr>
        </p:nvCxnSpPr>
        <p:spPr bwMode="auto">
          <a:xfrm>
            <a:off x="2986088" y="5962650"/>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6" name="Straight Connector 275">
            <a:extLst>
              <a:ext uri="{FF2B5EF4-FFF2-40B4-BE49-F238E27FC236}">
                <a16:creationId xmlns:a16="http://schemas.microsoft.com/office/drawing/2014/main" id="{6B1148CC-20B1-4BD4-ABFD-D84DD0A0CCB6}"/>
              </a:ext>
            </a:extLst>
          </p:cNvPr>
          <p:cNvCxnSpPr/>
          <p:nvPr>
            <p:custDataLst>
              <p:tags r:id="rId92"/>
            </p:custDataLst>
          </p:nvPr>
        </p:nvCxnSpPr>
        <p:spPr bwMode="auto">
          <a:xfrm>
            <a:off x="7134225" y="60293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F8141371-77DA-4B12-B931-AE3FFBFF8D63}"/>
              </a:ext>
            </a:extLst>
          </p:cNvPr>
          <p:cNvCxnSpPr/>
          <p:nvPr>
            <p:custDataLst>
              <p:tags r:id="rId93"/>
            </p:custDataLst>
          </p:nvPr>
        </p:nvCxnSpPr>
        <p:spPr bwMode="auto">
          <a:xfrm>
            <a:off x="333216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16867B59-DFC7-42AF-9951-C33FEBE28A30}"/>
              </a:ext>
            </a:extLst>
          </p:cNvPr>
          <p:cNvCxnSpPr/>
          <p:nvPr>
            <p:custDataLst>
              <p:tags r:id="rId94"/>
            </p:custDataLst>
          </p:nvPr>
        </p:nvCxnSpPr>
        <p:spPr bwMode="auto">
          <a:xfrm>
            <a:off x="3332163" y="489585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Straight Connector 223">
            <a:extLst>
              <a:ext uri="{FF2B5EF4-FFF2-40B4-BE49-F238E27FC236}">
                <a16:creationId xmlns:a16="http://schemas.microsoft.com/office/drawing/2014/main" id="{F73271E3-BBC9-45C0-8584-E5421680DDF5}"/>
              </a:ext>
            </a:extLst>
          </p:cNvPr>
          <p:cNvCxnSpPr/>
          <p:nvPr>
            <p:custDataLst>
              <p:tags r:id="rId95"/>
            </p:custDataLst>
          </p:nvPr>
        </p:nvCxnSpPr>
        <p:spPr bwMode="auto">
          <a:xfrm>
            <a:off x="3332163" y="5970588"/>
            <a:ext cx="12858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450FD19B-F0BE-4296-98FF-7E88E17DA529}"/>
              </a:ext>
            </a:extLst>
          </p:cNvPr>
          <p:cNvCxnSpPr/>
          <p:nvPr>
            <p:custDataLst>
              <p:tags r:id="rId96"/>
            </p:custDataLst>
          </p:nvPr>
        </p:nvCxnSpPr>
        <p:spPr bwMode="auto">
          <a:xfrm>
            <a:off x="36782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B163BC88-3FA8-474F-9CDE-003EE7122349}"/>
              </a:ext>
            </a:extLst>
          </p:cNvPr>
          <p:cNvCxnSpPr/>
          <p:nvPr>
            <p:custDataLst>
              <p:tags r:id="rId97"/>
            </p:custDataLst>
          </p:nvPr>
        </p:nvCxnSpPr>
        <p:spPr bwMode="auto">
          <a:xfrm>
            <a:off x="3678238" y="489585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196ABEE4-49B8-4C66-A405-5B4BF074D686}"/>
              </a:ext>
            </a:extLst>
          </p:cNvPr>
          <p:cNvCxnSpPr/>
          <p:nvPr>
            <p:custDataLst>
              <p:tags r:id="rId98"/>
            </p:custDataLst>
          </p:nvPr>
        </p:nvCxnSpPr>
        <p:spPr bwMode="auto">
          <a:xfrm>
            <a:off x="40243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Straight Connector 246">
            <a:extLst>
              <a:ext uri="{FF2B5EF4-FFF2-40B4-BE49-F238E27FC236}">
                <a16:creationId xmlns:a16="http://schemas.microsoft.com/office/drawing/2014/main" id="{F76D16FD-FE63-4B44-B799-00354FBA9C3F}"/>
              </a:ext>
            </a:extLst>
          </p:cNvPr>
          <p:cNvCxnSpPr/>
          <p:nvPr>
            <p:custDataLst>
              <p:tags r:id="rId99"/>
            </p:custDataLst>
          </p:nvPr>
        </p:nvCxnSpPr>
        <p:spPr bwMode="auto">
          <a:xfrm>
            <a:off x="4024313" y="489585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Straight Connector 247">
            <a:extLst>
              <a:ext uri="{FF2B5EF4-FFF2-40B4-BE49-F238E27FC236}">
                <a16:creationId xmlns:a16="http://schemas.microsoft.com/office/drawing/2014/main" id="{5A036DFD-D533-44E1-AECD-96B5BF1CFE0B}"/>
              </a:ext>
            </a:extLst>
          </p:cNvPr>
          <p:cNvCxnSpPr/>
          <p:nvPr>
            <p:custDataLst>
              <p:tags r:id="rId100"/>
            </p:custDataLst>
          </p:nvPr>
        </p:nvCxnSpPr>
        <p:spPr bwMode="auto">
          <a:xfrm>
            <a:off x="4024313" y="5991225"/>
            <a:ext cx="12858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Straight Connector 248">
            <a:extLst>
              <a:ext uri="{FF2B5EF4-FFF2-40B4-BE49-F238E27FC236}">
                <a16:creationId xmlns:a16="http://schemas.microsoft.com/office/drawing/2014/main" id="{8C440285-4996-45DE-98E2-34222731441E}"/>
              </a:ext>
            </a:extLst>
          </p:cNvPr>
          <p:cNvCxnSpPr/>
          <p:nvPr>
            <p:custDataLst>
              <p:tags r:id="rId101"/>
            </p:custDataLst>
          </p:nvPr>
        </p:nvCxnSpPr>
        <p:spPr bwMode="auto">
          <a:xfrm>
            <a:off x="43688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Straight Connector 249">
            <a:extLst>
              <a:ext uri="{FF2B5EF4-FFF2-40B4-BE49-F238E27FC236}">
                <a16:creationId xmlns:a16="http://schemas.microsoft.com/office/drawing/2014/main" id="{3DAECBA5-6F5C-4FAE-A4E8-6A68ADCA6753}"/>
              </a:ext>
            </a:extLst>
          </p:cNvPr>
          <p:cNvCxnSpPr/>
          <p:nvPr>
            <p:custDataLst>
              <p:tags r:id="rId102"/>
            </p:custDataLst>
          </p:nvPr>
        </p:nvCxnSpPr>
        <p:spPr bwMode="auto">
          <a:xfrm>
            <a:off x="4368800" y="4897438"/>
            <a:ext cx="128588" cy="4762"/>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Straight Connector 251">
            <a:extLst>
              <a:ext uri="{FF2B5EF4-FFF2-40B4-BE49-F238E27FC236}">
                <a16:creationId xmlns:a16="http://schemas.microsoft.com/office/drawing/2014/main" id="{7F562DEF-7EE3-41E8-AFD1-A8EC78827A2A}"/>
              </a:ext>
            </a:extLst>
          </p:cNvPr>
          <p:cNvCxnSpPr/>
          <p:nvPr>
            <p:custDataLst>
              <p:tags r:id="rId103"/>
            </p:custDataLst>
          </p:nvPr>
        </p:nvCxnSpPr>
        <p:spPr bwMode="auto">
          <a:xfrm>
            <a:off x="47148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Straight Connector 252">
            <a:extLst>
              <a:ext uri="{FF2B5EF4-FFF2-40B4-BE49-F238E27FC236}">
                <a16:creationId xmlns:a16="http://schemas.microsoft.com/office/drawing/2014/main" id="{531E0FEB-2A4B-4C44-8088-42C6FDE39F92}"/>
              </a:ext>
            </a:extLst>
          </p:cNvPr>
          <p:cNvCxnSpPr/>
          <p:nvPr>
            <p:custDataLst>
              <p:tags r:id="rId104"/>
            </p:custDataLst>
          </p:nvPr>
        </p:nvCxnSpPr>
        <p:spPr bwMode="auto">
          <a:xfrm>
            <a:off x="4714875" y="4902200"/>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Straight Connector 254">
            <a:extLst>
              <a:ext uri="{FF2B5EF4-FFF2-40B4-BE49-F238E27FC236}">
                <a16:creationId xmlns:a16="http://schemas.microsoft.com/office/drawing/2014/main" id="{416643AA-041C-400B-8F6C-4ACCF992AD6A}"/>
              </a:ext>
            </a:extLst>
          </p:cNvPr>
          <p:cNvCxnSpPr/>
          <p:nvPr>
            <p:custDataLst>
              <p:tags r:id="rId105"/>
            </p:custDataLst>
          </p:nvPr>
        </p:nvCxnSpPr>
        <p:spPr bwMode="auto">
          <a:xfrm>
            <a:off x="50609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0" name="Straight Connector 289">
            <a:extLst>
              <a:ext uri="{FF2B5EF4-FFF2-40B4-BE49-F238E27FC236}">
                <a16:creationId xmlns:a16="http://schemas.microsoft.com/office/drawing/2014/main" id="{BA073299-3152-4754-8BFB-172517E60102}"/>
              </a:ext>
            </a:extLst>
          </p:cNvPr>
          <p:cNvCxnSpPr/>
          <p:nvPr>
            <p:custDataLst>
              <p:tags r:id="rId106"/>
            </p:custDataLst>
          </p:nvPr>
        </p:nvCxnSpPr>
        <p:spPr bwMode="auto">
          <a:xfrm>
            <a:off x="88630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6" name="Straight Connector 255">
            <a:extLst>
              <a:ext uri="{FF2B5EF4-FFF2-40B4-BE49-F238E27FC236}">
                <a16:creationId xmlns:a16="http://schemas.microsoft.com/office/drawing/2014/main" id="{35A91324-4E18-44B7-B0BD-200BE30B8FAC}"/>
              </a:ext>
            </a:extLst>
          </p:cNvPr>
          <p:cNvCxnSpPr/>
          <p:nvPr>
            <p:custDataLst>
              <p:tags r:id="rId107"/>
            </p:custDataLst>
          </p:nvPr>
        </p:nvCxnSpPr>
        <p:spPr bwMode="auto">
          <a:xfrm>
            <a:off x="5060950" y="4906963"/>
            <a:ext cx="128588" cy="4762"/>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Straight Connector 256">
            <a:extLst>
              <a:ext uri="{FF2B5EF4-FFF2-40B4-BE49-F238E27FC236}">
                <a16:creationId xmlns:a16="http://schemas.microsoft.com/office/drawing/2014/main" id="{5F2C76CB-49D7-429E-B57B-1C21EAFEEC9D}"/>
              </a:ext>
            </a:extLst>
          </p:cNvPr>
          <p:cNvCxnSpPr/>
          <p:nvPr>
            <p:custDataLst>
              <p:tags r:id="rId108"/>
            </p:custDataLst>
          </p:nvPr>
        </p:nvCxnSpPr>
        <p:spPr bwMode="auto">
          <a:xfrm>
            <a:off x="5060950" y="6007100"/>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Straight Connector 257">
            <a:extLst>
              <a:ext uri="{FF2B5EF4-FFF2-40B4-BE49-F238E27FC236}">
                <a16:creationId xmlns:a16="http://schemas.microsoft.com/office/drawing/2014/main" id="{267CF128-ADB9-41B3-A3D3-5C1C38A1C085}"/>
              </a:ext>
            </a:extLst>
          </p:cNvPr>
          <p:cNvCxnSpPr/>
          <p:nvPr>
            <p:custDataLst>
              <p:tags r:id="rId109"/>
            </p:custDataLst>
          </p:nvPr>
        </p:nvCxnSpPr>
        <p:spPr bwMode="auto">
          <a:xfrm>
            <a:off x="54070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0" name="Straight Connector 259">
            <a:extLst>
              <a:ext uri="{FF2B5EF4-FFF2-40B4-BE49-F238E27FC236}">
                <a16:creationId xmlns:a16="http://schemas.microsoft.com/office/drawing/2014/main" id="{DFE53DE9-0D1F-4270-AE44-C7667DEB0C06}"/>
              </a:ext>
            </a:extLst>
          </p:cNvPr>
          <p:cNvCxnSpPr/>
          <p:nvPr>
            <p:custDataLst>
              <p:tags r:id="rId110"/>
            </p:custDataLst>
          </p:nvPr>
        </p:nvCxnSpPr>
        <p:spPr bwMode="auto">
          <a:xfrm>
            <a:off x="5407025" y="6010275"/>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2" name="Straight Connector 261">
            <a:extLst>
              <a:ext uri="{FF2B5EF4-FFF2-40B4-BE49-F238E27FC236}">
                <a16:creationId xmlns:a16="http://schemas.microsoft.com/office/drawing/2014/main" id="{A3F6D91F-000C-4C90-AA96-C220C304BE4E}"/>
              </a:ext>
            </a:extLst>
          </p:cNvPr>
          <p:cNvCxnSpPr/>
          <p:nvPr>
            <p:custDataLst>
              <p:tags r:id="rId111"/>
            </p:custDataLst>
          </p:nvPr>
        </p:nvCxnSpPr>
        <p:spPr bwMode="auto">
          <a:xfrm>
            <a:off x="57515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3" name="Straight Connector 262">
            <a:extLst>
              <a:ext uri="{FF2B5EF4-FFF2-40B4-BE49-F238E27FC236}">
                <a16:creationId xmlns:a16="http://schemas.microsoft.com/office/drawing/2014/main" id="{2B8C8193-F6E6-46AB-9F8B-DD16FA854FD8}"/>
              </a:ext>
            </a:extLst>
          </p:cNvPr>
          <p:cNvCxnSpPr/>
          <p:nvPr>
            <p:custDataLst>
              <p:tags r:id="rId112"/>
            </p:custDataLst>
          </p:nvPr>
        </p:nvCxnSpPr>
        <p:spPr bwMode="auto">
          <a:xfrm>
            <a:off x="5751513" y="4916488"/>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5" name="Straight Connector 264">
            <a:extLst>
              <a:ext uri="{FF2B5EF4-FFF2-40B4-BE49-F238E27FC236}">
                <a16:creationId xmlns:a16="http://schemas.microsoft.com/office/drawing/2014/main" id="{339EB4FC-EAAD-4561-B7B7-765F948A7B5E}"/>
              </a:ext>
            </a:extLst>
          </p:cNvPr>
          <p:cNvCxnSpPr/>
          <p:nvPr>
            <p:custDataLst>
              <p:tags r:id="rId113"/>
            </p:custDataLst>
          </p:nvPr>
        </p:nvCxnSpPr>
        <p:spPr bwMode="auto">
          <a:xfrm>
            <a:off x="6097588" y="4797425"/>
            <a:ext cx="1238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9" name="Straight Connector 268">
            <a:extLst>
              <a:ext uri="{FF2B5EF4-FFF2-40B4-BE49-F238E27FC236}">
                <a16:creationId xmlns:a16="http://schemas.microsoft.com/office/drawing/2014/main" id="{CBF0BDEA-6F7A-43D1-9E27-E741B01C8A04}"/>
              </a:ext>
            </a:extLst>
          </p:cNvPr>
          <p:cNvCxnSpPr/>
          <p:nvPr>
            <p:custDataLst>
              <p:tags r:id="rId114"/>
            </p:custDataLst>
          </p:nvPr>
        </p:nvCxnSpPr>
        <p:spPr bwMode="auto">
          <a:xfrm>
            <a:off x="6446839" y="4930775"/>
            <a:ext cx="125413" cy="1270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0" name="Straight Connector 269">
            <a:extLst>
              <a:ext uri="{FF2B5EF4-FFF2-40B4-BE49-F238E27FC236}">
                <a16:creationId xmlns:a16="http://schemas.microsoft.com/office/drawing/2014/main" id="{45A83A54-8EC9-4CA6-9FC4-0D926A02916E}"/>
              </a:ext>
            </a:extLst>
          </p:cNvPr>
          <p:cNvCxnSpPr/>
          <p:nvPr>
            <p:custDataLst>
              <p:tags r:id="rId115"/>
            </p:custDataLst>
          </p:nvPr>
        </p:nvCxnSpPr>
        <p:spPr bwMode="auto">
          <a:xfrm>
            <a:off x="6443663" y="602615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2" name="Straight Connector 271">
            <a:extLst>
              <a:ext uri="{FF2B5EF4-FFF2-40B4-BE49-F238E27FC236}">
                <a16:creationId xmlns:a16="http://schemas.microsoft.com/office/drawing/2014/main" id="{3104B5E0-AA23-435D-97CF-06D1068DDF88}"/>
              </a:ext>
            </a:extLst>
          </p:cNvPr>
          <p:cNvCxnSpPr/>
          <p:nvPr>
            <p:custDataLst>
              <p:tags r:id="rId116"/>
            </p:custDataLst>
          </p:nvPr>
        </p:nvCxnSpPr>
        <p:spPr bwMode="auto">
          <a:xfrm>
            <a:off x="6789738" y="4943475"/>
            <a:ext cx="128588" cy="111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1" name="Straight Connector 280">
            <a:extLst>
              <a:ext uri="{FF2B5EF4-FFF2-40B4-BE49-F238E27FC236}">
                <a16:creationId xmlns:a16="http://schemas.microsoft.com/office/drawing/2014/main" id="{373F1EAA-CB38-42EA-AAD2-17D4B31DECF9}"/>
              </a:ext>
            </a:extLst>
          </p:cNvPr>
          <p:cNvCxnSpPr/>
          <p:nvPr>
            <p:custDataLst>
              <p:tags r:id="rId117"/>
            </p:custDataLst>
          </p:nvPr>
        </p:nvCxnSpPr>
        <p:spPr bwMode="auto">
          <a:xfrm>
            <a:off x="78263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3" name="Straight Connector 272">
            <a:extLst>
              <a:ext uri="{FF2B5EF4-FFF2-40B4-BE49-F238E27FC236}">
                <a16:creationId xmlns:a16="http://schemas.microsoft.com/office/drawing/2014/main" id="{5E4D5A0D-BF24-4C48-BBEC-A84D3EEE0C23}"/>
              </a:ext>
            </a:extLst>
          </p:cNvPr>
          <p:cNvCxnSpPr/>
          <p:nvPr>
            <p:custDataLst>
              <p:tags r:id="rId118"/>
            </p:custDataLst>
          </p:nvPr>
        </p:nvCxnSpPr>
        <p:spPr bwMode="auto">
          <a:xfrm>
            <a:off x="6789738" y="6027738"/>
            <a:ext cx="128588" cy="1587"/>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5" name="Straight Connector 274">
            <a:extLst>
              <a:ext uri="{FF2B5EF4-FFF2-40B4-BE49-F238E27FC236}">
                <a16:creationId xmlns:a16="http://schemas.microsoft.com/office/drawing/2014/main" id="{C6B64492-4354-4FC7-A307-5A8315DEA4CC}"/>
              </a:ext>
            </a:extLst>
          </p:cNvPr>
          <p:cNvCxnSpPr/>
          <p:nvPr>
            <p:custDataLst>
              <p:tags r:id="rId119"/>
            </p:custDataLst>
          </p:nvPr>
        </p:nvCxnSpPr>
        <p:spPr bwMode="auto">
          <a:xfrm>
            <a:off x="7134225" y="4954588"/>
            <a:ext cx="128588" cy="14287"/>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70F7B326-9492-48F4-AE7D-9806AC187BBB}"/>
              </a:ext>
            </a:extLst>
          </p:cNvPr>
          <p:cNvCxnSpPr/>
          <p:nvPr>
            <p:custDataLst>
              <p:tags r:id="rId120"/>
            </p:custDataLst>
          </p:nvPr>
        </p:nvCxnSpPr>
        <p:spPr bwMode="auto">
          <a:xfrm>
            <a:off x="7480300" y="602932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2" name="Straight Connector 281">
            <a:extLst>
              <a:ext uri="{FF2B5EF4-FFF2-40B4-BE49-F238E27FC236}">
                <a16:creationId xmlns:a16="http://schemas.microsoft.com/office/drawing/2014/main" id="{BC844585-3235-4E2F-B9B2-F9C56D15DF02}"/>
              </a:ext>
            </a:extLst>
          </p:cNvPr>
          <p:cNvCxnSpPr/>
          <p:nvPr>
            <p:custDataLst>
              <p:tags r:id="rId121"/>
            </p:custDataLst>
          </p:nvPr>
        </p:nvCxnSpPr>
        <p:spPr bwMode="auto">
          <a:xfrm>
            <a:off x="7826375" y="4981575"/>
            <a:ext cx="128588" cy="142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3" name="Straight Connector 282">
            <a:extLst>
              <a:ext uri="{FF2B5EF4-FFF2-40B4-BE49-F238E27FC236}">
                <a16:creationId xmlns:a16="http://schemas.microsoft.com/office/drawing/2014/main" id="{39B18E23-C43A-4F5A-AD99-707FD017D4BF}"/>
              </a:ext>
            </a:extLst>
          </p:cNvPr>
          <p:cNvCxnSpPr/>
          <p:nvPr>
            <p:custDataLst>
              <p:tags r:id="rId122"/>
            </p:custDataLst>
          </p:nvPr>
        </p:nvCxnSpPr>
        <p:spPr bwMode="auto">
          <a:xfrm>
            <a:off x="7826375" y="6030913"/>
            <a:ext cx="128588" cy="1587"/>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25" name="Chart 324">
            <a:extLst>
              <a:ext uri="{FF2B5EF4-FFF2-40B4-BE49-F238E27FC236}">
                <a16:creationId xmlns:a16="http://schemas.microsoft.com/office/drawing/2014/main" id="{5712C106-722A-4AD7-B766-CE3D86D69495}"/>
              </a:ext>
            </a:extLst>
          </p:cNvPr>
          <p:cNvGraphicFramePr/>
          <p:nvPr>
            <p:custDataLst>
              <p:tags r:id="rId123"/>
            </p:custDataLst>
            <p:extLst>
              <p:ext uri="{D42A27DB-BD31-4B8C-83A1-F6EECF244321}">
                <p14:modId xmlns:p14="http://schemas.microsoft.com/office/powerpoint/2010/main" val="3109143048"/>
              </p:ext>
            </p:extLst>
          </p:nvPr>
        </p:nvGraphicFramePr>
        <p:xfrm>
          <a:off x="96838" y="4597400"/>
          <a:ext cx="9259887" cy="1701800"/>
        </p:xfrm>
        <a:graphic>
          <a:graphicData uri="http://schemas.openxmlformats.org/drawingml/2006/chart">
            <c:chart xmlns:c="http://schemas.openxmlformats.org/drawingml/2006/chart" xmlns:r="http://schemas.openxmlformats.org/officeDocument/2006/relationships" r:id="rId230"/>
          </a:graphicData>
        </a:graphic>
      </p:graphicFrame>
      <p:cxnSp>
        <p:nvCxnSpPr>
          <p:cNvPr id="16" name="直線コネクタ 15"/>
          <p:cNvCxnSpPr/>
          <p:nvPr>
            <p:custDataLst>
              <p:tags r:id="rId124"/>
            </p:custDataLst>
          </p:nvPr>
        </p:nvCxnSpPr>
        <p:spPr bwMode="auto">
          <a:xfrm>
            <a:off x="7026275" y="4772025"/>
            <a:ext cx="0" cy="10160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custDataLst>
              <p:tags r:id="rId125"/>
            </p:custDataLst>
          </p:nvPr>
        </p:nvCxnSpPr>
        <p:spPr bwMode="auto">
          <a:xfrm>
            <a:off x="6680200" y="4772025"/>
            <a:ext cx="0" cy="98425"/>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6" name="Straight Connector 305">
            <a:extLst>
              <a:ext uri="{FF2B5EF4-FFF2-40B4-BE49-F238E27FC236}">
                <a16:creationId xmlns:a16="http://schemas.microsoft.com/office/drawing/2014/main" id="{CAEBD0C7-EC5C-40EC-B919-02C7F397C1B1}"/>
              </a:ext>
            </a:extLst>
          </p:cNvPr>
          <p:cNvCxnSpPr/>
          <p:nvPr>
            <p:custDataLst>
              <p:tags r:id="rId126"/>
            </p:custDataLst>
          </p:nvPr>
        </p:nvCxnSpPr>
        <p:spPr bwMode="auto">
          <a:xfrm>
            <a:off x="4260850" y="4772025"/>
            <a:ext cx="0" cy="746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直線コネクタ 20"/>
          <p:cNvCxnSpPr/>
          <p:nvPr>
            <p:custDataLst>
              <p:tags r:id="rId127"/>
            </p:custDataLst>
          </p:nvPr>
        </p:nvCxnSpPr>
        <p:spPr bwMode="gray">
          <a:xfrm>
            <a:off x="5988050" y="4772026"/>
            <a:ext cx="0" cy="87313"/>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7" name="Straight Connector 296">
            <a:extLst>
              <a:ext uri="{FF2B5EF4-FFF2-40B4-BE49-F238E27FC236}">
                <a16:creationId xmlns:a16="http://schemas.microsoft.com/office/drawing/2014/main" id="{8763E456-4AC8-44E8-903D-41E453A5F021}"/>
              </a:ext>
            </a:extLst>
          </p:cNvPr>
          <p:cNvCxnSpPr/>
          <p:nvPr>
            <p:custDataLst>
              <p:tags r:id="rId128"/>
            </p:custDataLst>
          </p:nvPr>
        </p:nvCxnSpPr>
        <p:spPr bwMode="auto">
          <a:xfrm>
            <a:off x="1149350"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0" name="Straight Connector 299">
            <a:extLst>
              <a:ext uri="{FF2B5EF4-FFF2-40B4-BE49-F238E27FC236}">
                <a16:creationId xmlns:a16="http://schemas.microsoft.com/office/drawing/2014/main" id="{EF79E9FA-022E-4307-B57A-2275A57440FA}"/>
              </a:ext>
            </a:extLst>
          </p:cNvPr>
          <p:cNvCxnSpPr/>
          <p:nvPr>
            <p:custDataLst>
              <p:tags r:id="rId129"/>
            </p:custDataLst>
          </p:nvPr>
        </p:nvCxnSpPr>
        <p:spPr bwMode="auto">
          <a:xfrm>
            <a:off x="2185988" y="4772025"/>
            <a:ext cx="0" cy="730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2" name="Straight Connector 301">
            <a:extLst>
              <a:ext uri="{FF2B5EF4-FFF2-40B4-BE49-F238E27FC236}">
                <a16:creationId xmlns:a16="http://schemas.microsoft.com/office/drawing/2014/main" id="{E7981D64-1A73-4426-B953-418F6489E104}"/>
              </a:ext>
            </a:extLst>
          </p:cNvPr>
          <p:cNvCxnSpPr/>
          <p:nvPr>
            <p:custDataLst>
              <p:tags r:id="rId130"/>
            </p:custDataLst>
          </p:nvPr>
        </p:nvCxnSpPr>
        <p:spPr bwMode="auto">
          <a:xfrm>
            <a:off x="2878138" y="4772025"/>
            <a:ext cx="0" cy="746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8" name="Straight Connector 297">
            <a:extLst>
              <a:ext uri="{FF2B5EF4-FFF2-40B4-BE49-F238E27FC236}">
                <a16:creationId xmlns:a16="http://schemas.microsoft.com/office/drawing/2014/main" id="{EE520EE7-0FB1-4249-896B-7EC8367BAEEF}"/>
              </a:ext>
            </a:extLst>
          </p:cNvPr>
          <p:cNvCxnSpPr/>
          <p:nvPr>
            <p:custDataLst>
              <p:tags r:id="rId131"/>
            </p:custDataLst>
          </p:nvPr>
        </p:nvCxnSpPr>
        <p:spPr bwMode="auto">
          <a:xfrm>
            <a:off x="1495425" y="4772025"/>
            <a:ext cx="0" cy="714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9" name="Straight Connector 298">
            <a:extLst>
              <a:ext uri="{FF2B5EF4-FFF2-40B4-BE49-F238E27FC236}">
                <a16:creationId xmlns:a16="http://schemas.microsoft.com/office/drawing/2014/main" id="{ACD561CF-2838-485F-8176-6644D1500441}"/>
              </a:ext>
            </a:extLst>
          </p:cNvPr>
          <p:cNvCxnSpPr/>
          <p:nvPr>
            <p:custDataLst>
              <p:tags r:id="rId132"/>
            </p:custDataLst>
          </p:nvPr>
        </p:nvCxnSpPr>
        <p:spPr bwMode="auto">
          <a:xfrm>
            <a:off x="1839913" y="4772025"/>
            <a:ext cx="0" cy="730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1" name="Straight Connector 300">
            <a:extLst>
              <a:ext uri="{FF2B5EF4-FFF2-40B4-BE49-F238E27FC236}">
                <a16:creationId xmlns:a16="http://schemas.microsoft.com/office/drawing/2014/main" id="{96A2A0DE-AE30-41BE-92E1-B0150C7DC173}"/>
              </a:ext>
            </a:extLst>
          </p:cNvPr>
          <p:cNvCxnSpPr/>
          <p:nvPr>
            <p:custDataLst>
              <p:tags r:id="rId133"/>
            </p:custDataLst>
          </p:nvPr>
        </p:nvCxnSpPr>
        <p:spPr bwMode="auto">
          <a:xfrm>
            <a:off x="2532063" y="4772025"/>
            <a:ext cx="0" cy="746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3" name="Straight Connector 302">
            <a:extLst>
              <a:ext uri="{FF2B5EF4-FFF2-40B4-BE49-F238E27FC236}">
                <a16:creationId xmlns:a16="http://schemas.microsoft.com/office/drawing/2014/main" id="{BB116CEB-1120-4EBD-91D4-0084ADE7EEAD}"/>
              </a:ext>
            </a:extLst>
          </p:cNvPr>
          <p:cNvCxnSpPr/>
          <p:nvPr>
            <p:custDataLst>
              <p:tags r:id="rId134"/>
            </p:custDataLst>
          </p:nvPr>
        </p:nvCxnSpPr>
        <p:spPr bwMode="auto">
          <a:xfrm>
            <a:off x="3222625" y="4772025"/>
            <a:ext cx="0" cy="746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4" name="Straight Connector 303">
            <a:extLst>
              <a:ext uri="{FF2B5EF4-FFF2-40B4-BE49-F238E27FC236}">
                <a16:creationId xmlns:a16="http://schemas.microsoft.com/office/drawing/2014/main" id="{862E24AD-0514-4294-89EE-608BB4AEFAA9}"/>
              </a:ext>
            </a:extLst>
          </p:cNvPr>
          <p:cNvCxnSpPr/>
          <p:nvPr>
            <p:custDataLst>
              <p:tags r:id="rId135"/>
            </p:custDataLst>
          </p:nvPr>
        </p:nvCxnSpPr>
        <p:spPr bwMode="auto">
          <a:xfrm>
            <a:off x="3568700" y="4772025"/>
            <a:ext cx="0" cy="746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5" name="Straight Connector 304">
            <a:extLst>
              <a:ext uri="{FF2B5EF4-FFF2-40B4-BE49-F238E27FC236}">
                <a16:creationId xmlns:a16="http://schemas.microsoft.com/office/drawing/2014/main" id="{B7DDBD39-0EFA-472B-9456-9FC33B96C26E}"/>
              </a:ext>
            </a:extLst>
          </p:cNvPr>
          <p:cNvCxnSpPr/>
          <p:nvPr>
            <p:custDataLst>
              <p:tags r:id="rId136"/>
            </p:custDataLst>
          </p:nvPr>
        </p:nvCxnSpPr>
        <p:spPr bwMode="auto">
          <a:xfrm>
            <a:off x="3914775" y="4772025"/>
            <a:ext cx="0" cy="746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7" name="Straight Connector 306">
            <a:extLst>
              <a:ext uri="{FF2B5EF4-FFF2-40B4-BE49-F238E27FC236}">
                <a16:creationId xmlns:a16="http://schemas.microsoft.com/office/drawing/2014/main" id="{F4047DA6-1821-4E1C-AC1C-FDEE01872156}"/>
              </a:ext>
            </a:extLst>
          </p:cNvPr>
          <p:cNvCxnSpPr/>
          <p:nvPr>
            <p:custDataLst>
              <p:tags r:id="rId137"/>
            </p:custDataLst>
          </p:nvPr>
        </p:nvCxnSpPr>
        <p:spPr bwMode="auto">
          <a:xfrm>
            <a:off x="4605338" y="4772025"/>
            <a:ext cx="0" cy="777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8" name="Straight Connector 307">
            <a:extLst>
              <a:ext uri="{FF2B5EF4-FFF2-40B4-BE49-F238E27FC236}">
                <a16:creationId xmlns:a16="http://schemas.microsoft.com/office/drawing/2014/main" id="{59ABD023-705D-4A60-AEAA-1983BAA469F1}"/>
              </a:ext>
            </a:extLst>
          </p:cNvPr>
          <p:cNvCxnSpPr/>
          <p:nvPr>
            <p:custDataLst>
              <p:tags r:id="rId138"/>
            </p:custDataLst>
          </p:nvPr>
        </p:nvCxnSpPr>
        <p:spPr bwMode="auto">
          <a:xfrm>
            <a:off x="4951413" y="4772025"/>
            <a:ext cx="0" cy="793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9" name="Straight Connector 308">
            <a:extLst>
              <a:ext uri="{FF2B5EF4-FFF2-40B4-BE49-F238E27FC236}">
                <a16:creationId xmlns:a16="http://schemas.microsoft.com/office/drawing/2014/main" id="{F5AB23BC-8FB0-4574-9740-71FA5DE52176}"/>
              </a:ext>
            </a:extLst>
          </p:cNvPr>
          <p:cNvCxnSpPr/>
          <p:nvPr>
            <p:custDataLst>
              <p:tags r:id="rId139"/>
            </p:custDataLst>
          </p:nvPr>
        </p:nvCxnSpPr>
        <p:spPr bwMode="auto">
          <a:xfrm>
            <a:off x="5297488" y="4772025"/>
            <a:ext cx="0" cy="825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0" name="Straight Connector 309">
            <a:extLst>
              <a:ext uri="{FF2B5EF4-FFF2-40B4-BE49-F238E27FC236}">
                <a16:creationId xmlns:a16="http://schemas.microsoft.com/office/drawing/2014/main" id="{9B2A7D75-D2B4-47DF-A963-A252CFA418A2}"/>
              </a:ext>
            </a:extLst>
          </p:cNvPr>
          <p:cNvCxnSpPr/>
          <p:nvPr>
            <p:custDataLst>
              <p:tags r:id="rId140"/>
            </p:custDataLst>
          </p:nvPr>
        </p:nvCxnSpPr>
        <p:spPr bwMode="auto">
          <a:xfrm>
            <a:off x="5643563" y="4772025"/>
            <a:ext cx="0" cy="841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6" name="Straight Connector 295">
            <a:extLst>
              <a:ext uri="{FF2B5EF4-FFF2-40B4-BE49-F238E27FC236}">
                <a16:creationId xmlns:a16="http://schemas.microsoft.com/office/drawing/2014/main" id="{48BCACB6-C248-4CDC-83C3-1EEE35E3B938}"/>
              </a:ext>
            </a:extLst>
          </p:cNvPr>
          <p:cNvCxnSpPr/>
          <p:nvPr>
            <p:custDataLst>
              <p:tags r:id="rId141"/>
            </p:custDataLst>
          </p:nvPr>
        </p:nvCxnSpPr>
        <p:spPr bwMode="auto">
          <a:xfrm>
            <a:off x="803275" y="4772025"/>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3" name="Text Placeholder 12"/>
          <p:cNvSpPr>
            <a:spLocks noGrp="1"/>
          </p:cNvSpPr>
          <p:nvPr>
            <p:custDataLst>
              <p:tags r:id="rId142"/>
            </p:custDataLst>
          </p:nvPr>
        </p:nvSpPr>
        <p:spPr bwMode="gray">
          <a:xfrm>
            <a:off x="7923213" y="60404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436B5E2-6937-4568-9950-CBB60E1F5070}" type="datetime'''''''''1''''''2.''''''''''''''0'''''''''''''''''''''''''''''">
              <a:rPr lang="ja-JP" altLang="en-US" sz="1000" b="0" smtClean="0">
                <a:solidFill>
                  <a:schemeClr val="bg1"/>
                </a:solidFill>
                <a:effectLst/>
              </a:rPr>
              <a:pPr/>
              <a:t>12.0</a:t>
            </a:fld>
            <a:endParaRPr kumimoji="0" lang="ja-JP" altLang="en-US" sz="1000" b="0" dirty="0">
              <a:solidFill>
                <a:schemeClr val="bg1"/>
              </a:solidFill>
              <a:sym typeface="+mn-lt"/>
            </a:endParaRPr>
          </a:p>
        </p:txBody>
      </p:sp>
      <p:sp>
        <p:nvSpPr>
          <p:cNvPr id="123" name="Text Placeholder 12"/>
          <p:cNvSpPr>
            <a:spLocks noGrp="1"/>
          </p:cNvSpPr>
          <p:nvPr>
            <p:custDataLst>
              <p:tags r:id="rId143"/>
            </p:custDataLst>
          </p:nvPr>
        </p:nvSpPr>
        <p:spPr bwMode="auto">
          <a:xfrm>
            <a:off x="7986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246CAB-33D3-4746-98B1-D6544AE412B8}" type="datetime'''''''2''''''''''''''''''''''1'">
              <a:rPr lang="ja-JP" altLang="en-US" sz="1000" b="0" smtClean="0"/>
              <a:pPr/>
              <a:t>21</a:t>
            </a:fld>
            <a:endParaRPr kumimoji="0" lang="ja-JP" altLang="en-US" sz="1000" b="0" dirty="0">
              <a:sym typeface="+mn-lt"/>
            </a:endParaRPr>
          </a:p>
        </p:txBody>
      </p:sp>
      <p:sp>
        <p:nvSpPr>
          <p:cNvPr id="125" name="Text Placeholder 12"/>
          <p:cNvSpPr>
            <a:spLocks noGrp="1"/>
          </p:cNvSpPr>
          <p:nvPr>
            <p:custDataLst>
              <p:tags r:id="rId144"/>
            </p:custDataLst>
          </p:nvPr>
        </p:nvSpPr>
        <p:spPr bwMode="auto">
          <a:xfrm>
            <a:off x="9310688" y="4960938"/>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3D14E672-2587-4A15-A85D-F06385583E6C}" type="datetime'''6''5歳''''''以''''''''''''''''''''''''''''''上'''''''">
              <a:rPr lang="ja-JP" altLang="en-US" sz="1000" b="0"/>
              <a:pPr>
                <a:spcBef>
                  <a:spcPct val="0"/>
                </a:spcBef>
                <a:spcAft>
                  <a:spcPct val="0"/>
                </a:spcAft>
              </a:pPr>
              <a:t>65歳以上</a:t>
            </a:fld>
            <a:endParaRPr kumimoji="0" lang="ja-JP" altLang="en-US" sz="1000" b="0" dirty="0">
              <a:sym typeface="+mn-lt"/>
            </a:endParaRPr>
          </a:p>
        </p:txBody>
      </p:sp>
      <p:sp>
        <p:nvSpPr>
          <p:cNvPr id="126" name="Text Placeholder 12"/>
          <p:cNvSpPr>
            <a:spLocks noGrp="1"/>
          </p:cNvSpPr>
          <p:nvPr>
            <p:custDataLst>
              <p:tags r:id="rId145"/>
            </p:custDataLst>
          </p:nvPr>
        </p:nvSpPr>
        <p:spPr bwMode="auto">
          <a:xfrm>
            <a:off x="9310688" y="5595938"/>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A51CF21C-B2CB-4F19-A691-195957F3036E}" type="datetime'''''''''15''''～''''''''''''''''''''''''''''6''''''''''4''歳'''">
              <a:rPr lang="ja-JP" altLang="en-US" sz="1000" b="0"/>
              <a:pPr>
                <a:spcBef>
                  <a:spcPct val="0"/>
                </a:spcBef>
                <a:spcAft>
                  <a:spcPct val="0"/>
                </a:spcAft>
              </a:pPr>
              <a:t>15～64歳</a:t>
            </a:fld>
            <a:endParaRPr kumimoji="0" lang="ja-JP" altLang="en-US" sz="1000" b="0" dirty="0">
              <a:sym typeface="+mn-lt"/>
            </a:endParaRPr>
          </a:p>
        </p:txBody>
      </p:sp>
      <p:sp>
        <p:nvSpPr>
          <p:cNvPr id="127" name="Text Placeholder 12"/>
          <p:cNvSpPr>
            <a:spLocks noGrp="1"/>
          </p:cNvSpPr>
          <p:nvPr>
            <p:custDataLst>
              <p:tags r:id="rId146"/>
            </p:custDataLst>
          </p:nvPr>
        </p:nvSpPr>
        <p:spPr bwMode="auto">
          <a:xfrm>
            <a:off x="9310688" y="6022975"/>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46DB4CB8-EEAB-4400-8895-D85F23D75D75}" type="datetime'''1''''''''''''''''''''5''''''''''歳未''''''''''''''''''''''満'">
              <a:rPr lang="ja-JP" altLang="en-US" sz="1000" b="0"/>
              <a:pPr>
                <a:spcBef>
                  <a:spcPct val="0"/>
                </a:spcBef>
                <a:spcAft>
                  <a:spcPct val="0"/>
                </a:spcAft>
              </a:pPr>
              <a:t>15歳未満</a:t>
            </a:fld>
            <a:endParaRPr kumimoji="0" lang="ja-JP" altLang="en-US" sz="1000" b="0" dirty="0">
              <a:sym typeface="+mn-lt"/>
            </a:endParaRPr>
          </a:p>
        </p:txBody>
      </p:sp>
      <p:sp>
        <p:nvSpPr>
          <p:cNvPr id="192" name="Text Placeholder 12">
            <a:extLst>
              <a:ext uri="{FF2B5EF4-FFF2-40B4-BE49-F238E27FC236}">
                <a16:creationId xmlns:a16="http://schemas.microsoft.com/office/drawing/2014/main" id="{51531CC3-6EAD-4A66-8230-493D0DA36DF8}"/>
              </a:ext>
            </a:extLst>
          </p:cNvPr>
          <p:cNvSpPr>
            <a:spLocks noGrp="1"/>
          </p:cNvSpPr>
          <p:nvPr>
            <p:custDataLst>
              <p:tags r:id="rId147"/>
            </p:custDataLst>
          </p:nvPr>
        </p:nvSpPr>
        <p:spPr bwMode="auto">
          <a:xfrm>
            <a:off x="86772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9F001AB-AA60-4139-B91D-B328130CB889}" type="datetime'4''''''''''''''''''''''''''''''''''0'''">
              <a:rPr kumimoji="0" lang="ja-JP" altLang="en-US" sz="1000" b="0" smtClean="0"/>
              <a:pPr/>
              <a:t>40</a:t>
            </a:fld>
            <a:endParaRPr kumimoji="0" lang="ja-JP" altLang="en-US" sz="1000" b="0" dirty="0">
              <a:sym typeface="+mn-lt"/>
            </a:endParaRPr>
          </a:p>
        </p:txBody>
      </p:sp>
      <p:sp>
        <p:nvSpPr>
          <p:cNvPr id="199" name="Text Placeholder 12">
            <a:extLst>
              <a:ext uri="{FF2B5EF4-FFF2-40B4-BE49-F238E27FC236}">
                <a16:creationId xmlns:a16="http://schemas.microsoft.com/office/drawing/2014/main" id="{B58B24F0-A1A7-40E6-BB37-A9F3BDC150CF}"/>
              </a:ext>
            </a:extLst>
          </p:cNvPr>
          <p:cNvSpPr>
            <a:spLocks noGrp="1"/>
          </p:cNvSpPr>
          <p:nvPr>
            <p:custDataLst>
              <p:tags r:id="rId148"/>
            </p:custDataLst>
          </p:nvPr>
        </p:nvSpPr>
        <p:spPr bwMode="auto">
          <a:xfrm>
            <a:off x="90233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71B545F-6579-4654-8E3A-0301F40A8AF9}" type="datetime'''''''''5''''''0'''">
              <a:rPr kumimoji="0" lang="ja-JP" altLang="en-US" sz="1000" b="0" smtClean="0"/>
              <a:pPr/>
              <a:t>50</a:t>
            </a:fld>
            <a:endParaRPr kumimoji="0" lang="ja-JP" altLang="en-US" sz="1000" b="0" dirty="0">
              <a:sym typeface="+mn-lt"/>
            </a:endParaRPr>
          </a:p>
        </p:txBody>
      </p:sp>
      <p:sp>
        <p:nvSpPr>
          <p:cNvPr id="103" name="Text Placeholder 12"/>
          <p:cNvSpPr>
            <a:spLocks noGrp="1"/>
          </p:cNvSpPr>
          <p:nvPr>
            <p:custDataLst>
              <p:tags r:id="rId149"/>
            </p:custDataLst>
          </p:nvPr>
        </p:nvSpPr>
        <p:spPr bwMode="auto">
          <a:xfrm>
            <a:off x="188913" y="44672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116" name="Text Placeholder 12"/>
          <p:cNvSpPr>
            <a:spLocks noGrp="1"/>
          </p:cNvSpPr>
          <p:nvPr>
            <p:custDataLst>
              <p:tags r:id="rId150"/>
            </p:custDataLst>
          </p:nvPr>
        </p:nvSpPr>
        <p:spPr bwMode="auto">
          <a:xfrm>
            <a:off x="48752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7DA9588-E833-465B-ACCD-8278ECC47FE8}" type="datetime'''''''''''''''''1''''''''''''''''2'">
              <a:rPr lang="ja-JP" altLang="en-US" sz="1000" b="0"/>
              <a:pPr algn="ctr">
                <a:spcBef>
                  <a:spcPct val="0"/>
                </a:spcBef>
                <a:spcAft>
                  <a:spcPct val="0"/>
                </a:spcAft>
              </a:pPr>
              <a:t>12</a:t>
            </a:fld>
            <a:endParaRPr kumimoji="0" lang="ja-JP" altLang="en-US" sz="1000" b="0" dirty="0">
              <a:sym typeface="+mn-lt"/>
            </a:endParaRPr>
          </a:p>
        </p:txBody>
      </p:sp>
      <p:sp>
        <p:nvSpPr>
          <p:cNvPr id="218" name="テキスト プレースホルダ 9">
            <a:extLst>
              <a:ext uri="{FF2B5EF4-FFF2-40B4-BE49-F238E27FC236}">
                <a16:creationId xmlns:a16="http://schemas.microsoft.com/office/drawing/2014/main" id="{F9264BE3-ABB5-4E10-A721-625D1B80591F}"/>
              </a:ext>
            </a:extLst>
          </p:cNvPr>
          <p:cNvSpPr>
            <a:spLocks noGrp="1"/>
          </p:cNvSpPr>
          <p:nvPr>
            <p:custDataLst>
              <p:tags r:id="rId151"/>
            </p:custDataLst>
          </p:nvPr>
        </p:nvSpPr>
        <p:spPr bwMode="gray">
          <a:xfrm>
            <a:off x="8959850" y="4960938"/>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6D4D280-5D83-47C3-A7AB-9131341188BF}" type="datetime'''''''''''''''''''3''''''4.''''''''''''''3'''">
              <a:rPr lang="ja-JP" altLang="en-US" sz="1000" smtClean="0">
                <a:effectLst/>
                <a:sym typeface="+mn-lt"/>
              </a:rPr>
              <a:pPr marL="0" indent="0" algn="ctr">
                <a:spcBef>
                  <a:spcPct val="0"/>
                </a:spcBef>
                <a:buNone/>
              </a:pPr>
              <a:t>34.3</a:t>
            </a:fld>
            <a:endParaRPr lang="ja-JP" altLang="en-US" sz="1000" dirty="0">
              <a:sym typeface="+mn-lt"/>
            </a:endParaRPr>
          </a:p>
        </p:txBody>
      </p:sp>
      <p:sp>
        <p:nvSpPr>
          <p:cNvPr id="133" name="Text Placeholder 12"/>
          <p:cNvSpPr>
            <a:spLocks noGrp="1"/>
          </p:cNvSpPr>
          <p:nvPr>
            <p:custDataLst>
              <p:tags r:id="rId152"/>
            </p:custDataLst>
          </p:nvPr>
        </p:nvSpPr>
        <p:spPr bwMode="gray">
          <a:xfrm>
            <a:off x="663575" y="53324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D82A2D7-5EB0-46A7-BCC1-99EB0DB73E9F}" type="datetime'''''''''''7''''''''''''''''''''''''''4''''''''''.''''''6'''''">
              <a:rPr lang="ja-JP" altLang="en-US" sz="1000" b="0" smtClean="0">
                <a:effectLst/>
              </a:rPr>
              <a:pPr/>
              <a:t>74.6</a:t>
            </a:fld>
            <a:endParaRPr kumimoji="0" lang="ja-JP" altLang="en-US" sz="1000" b="0" dirty="0">
              <a:sym typeface="+mn-lt"/>
            </a:endParaRPr>
          </a:p>
        </p:txBody>
      </p:sp>
      <p:sp>
        <p:nvSpPr>
          <p:cNvPr id="219" name="テキスト プレースホルダ 9">
            <a:extLst>
              <a:ext uri="{FF2B5EF4-FFF2-40B4-BE49-F238E27FC236}">
                <a16:creationId xmlns:a16="http://schemas.microsoft.com/office/drawing/2014/main" id="{65013779-4DA5-4A14-9A15-131FE0AC9304}"/>
              </a:ext>
            </a:extLst>
          </p:cNvPr>
          <p:cNvSpPr>
            <a:spLocks noGrp="1"/>
          </p:cNvSpPr>
          <p:nvPr>
            <p:custDataLst>
              <p:tags r:id="rId153"/>
            </p:custDataLst>
          </p:nvPr>
        </p:nvSpPr>
        <p:spPr bwMode="gray">
          <a:xfrm>
            <a:off x="8959850" y="5595938"/>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0F9F4D-3AFF-4A16-AA68-157FF57E57B9}" type="datetime'''''5''''''''''''''''''6.''''''''''''''''''''''''''''''2'''''">
              <a:rPr lang="ja-JP" altLang="en-US" sz="1000" smtClean="0">
                <a:effectLst/>
                <a:sym typeface="+mn-lt"/>
              </a:rPr>
              <a:pPr marL="0" indent="0" algn="ctr">
                <a:spcBef>
                  <a:spcPct val="0"/>
                </a:spcBef>
                <a:buNone/>
              </a:pPr>
              <a:t>56.2</a:t>
            </a:fld>
            <a:endParaRPr lang="ja-JP" altLang="en-US" sz="1000" dirty="0">
              <a:sym typeface="+mn-lt"/>
            </a:endParaRPr>
          </a:p>
        </p:txBody>
      </p:sp>
      <p:sp>
        <p:nvSpPr>
          <p:cNvPr id="155" name="Text Placeholder 12"/>
          <p:cNvSpPr>
            <a:spLocks noGrp="1"/>
          </p:cNvSpPr>
          <p:nvPr>
            <p:custDataLst>
              <p:tags r:id="rId154"/>
            </p:custDataLst>
          </p:nvPr>
        </p:nvSpPr>
        <p:spPr bwMode="gray">
          <a:xfrm>
            <a:off x="1009650" y="59912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D6CA1EA-B3F9-4676-9612-81A1FCA28969}" type="datetime'''''''''1''''''8.''''''9'''''''''''''''''''''''''''''''''">
              <a:rPr lang="ja-JP" altLang="en-US" sz="1000" b="0" smtClean="0">
                <a:solidFill>
                  <a:schemeClr val="bg1"/>
                </a:solidFill>
                <a:effectLst/>
              </a:rPr>
              <a:pPr/>
              <a:t>18.9</a:t>
            </a:fld>
            <a:endParaRPr kumimoji="0" lang="ja-JP" altLang="en-US" sz="1000" b="0" dirty="0">
              <a:solidFill>
                <a:schemeClr val="bg1"/>
              </a:solidFill>
              <a:sym typeface="+mn-lt"/>
            </a:endParaRPr>
          </a:p>
        </p:txBody>
      </p:sp>
      <p:sp>
        <p:nvSpPr>
          <p:cNvPr id="135" name="Text Placeholder 12"/>
          <p:cNvSpPr>
            <a:spLocks noGrp="1"/>
          </p:cNvSpPr>
          <p:nvPr>
            <p:custDataLst>
              <p:tags r:id="rId155"/>
            </p:custDataLst>
          </p:nvPr>
        </p:nvSpPr>
        <p:spPr bwMode="gray">
          <a:xfrm>
            <a:off x="1355725" y="53371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D5A923C-3667-4251-9839-6F814C422C88}" type="datetime'''''''7''''4.''''''''''''''''''''''5'''''''''''">
              <a:rPr lang="ja-JP" altLang="en-US" sz="1000" b="0" smtClean="0">
                <a:effectLst/>
              </a:rPr>
              <a:pPr/>
              <a:t>74.5</a:t>
            </a:fld>
            <a:endParaRPr kumimoji="0" lang="ja-JP" altLang="en-US" sz="1000" b="0" dirty="0">
              <a:sym typeface="+mn-lt"/>
            </a:endParaRPr>
          </a:p>
        </p:txBody>
      </p:sp>
      <p:sp>
        <p:nvSpPr>
          <p:cNvPr id="131" name="Text Placeholder 12"/>
          <p:cNvSpPr>
            <a:spLocks noGrp="1"/>
          </p:cNvSpPr>
          <p:nvPr>
            <p:custDataLst>
              <p:tags r:id="rId156"/>
            </p:custDataLst>
          </p:nvPr>
        </p:nvSpPr>
        <p:spPr bwMode="gray">
          <a:xfrm>
            <a:off x="7923213" y="4819650"/>
            <a:ext cx="279400" cy="152400"/>
          </a:xfrm>
          <a:prstGeom prst="rect">
            <a:avLst/>
          </a:prstGeom>
          <a:solidFill>
            <a:srgbClr val="C0E6F4"/>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8A402BF-BDD7-449D-9301-813F381CD299}" type="datetime'''''''''''''''''''''''1''4''''''''''.''''''''''''''''1'''''">
              <a:rPr lang="ja-JP" altLang="en-US" sz="1000" b="0" smtClean="0">
                <a:effectLst/>
              </a:rPr>
              <a:pPr/>
              <a:t>14.1</a:t>
            </a:fld>
            <a:endParaRPr kumimoji="0" lang="ja-JP" altLang="en-US" sz="1000" b="0" dirty="0">
              <a:sym typeface="+mn-lt"/>
            </a:endParaRPr>
          </a:p>
        </p:txBody>
      </p:sp>
      <p:sp>
        <p:nvSpPr>
          <p:cNvPr id="113" name="Text Placeholder 12"/>
          <p:cNvSpPr>
            <a:spLocks noGrp="1"/>
          </p:cNvSpPr>
          <p:nvPr>
            <p:custDataLst>
              <p:tags r:id="rId157"/>
            </p:custDataLst>
          </p:nvPr>
        </p:nvSpPr>
        <p:spPr bwMode="auto">
          <a:xfrm>
            <a:off x="38385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BDD7D5B-2F6E-4200-9368-C743345B5B29}" type="datetime'''0''''''''''''''''''''''''''''''''''''''''''9'''''''''">
              <a:rPr lang="ja-JP" altLang="en-US" sz="1000" b="0"/>
              <a:pPr algn="ctr">
                <a:spcBef>
                  <a:spcPct val="0"/>
                </a:spcBef>
                <a:spcAft>
                  <a:spcPct val="0"/>
                </a:spcAft>
              </a:pPr>
              <a:t>09</a:t>
            </a:fld>
            <a:endParaRPr kumimoji="0" lang="ja-JP" altLang="en-US" sz="1000" b="0" dirty="0">
              <a:sym typeface="+mn-lt"/>
            </a:endParaRPr>
          </a:p>
        </p:txBody>
      </p:sp>
      <p:sp>
        <p:nvSpPr>
          <p:cNvPr id="147" name="Text Placeholder 12"/>
          <p:cNvSpPr>
            <a:spLocks noGrp="1"/>
          </p:cNvSpPr>
          <p:nvPr>
            <p:custDataLst>
              <p:tags r:id="rId158"/>
            </p:custDataLst>
          </p:nvPr>
        </p:nvSpPr>
        <p:spPr bwMode="gray">
          <a:xfrm>
            <a:off x="5503863" y="53895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6FA89D4-FA3B-4D16-9DDE-59D1F9F7FD27}" type="datetime'7''''''''''''''''''''8''''''''''''.''''''4'''''''''''''''''''">
              <a:rPr lang="ja-JP" altLang="en-US" sz="1000" b="0" smtClean="0">
                <a:effectLst/>
              </a:rPr>
              <a:pPr/>
              <a:t>78.4</a:t>
            </a:fld>
            <a:endParaRPr kumimoji="0" lang="ja-JP" altLang="en-US" sz="1000" b="0" dirty="0">
              <a:sym typeface="+mn-lt"/>
            </a:endParaRPr>
          </a:p>
        </p:txBody>
      </p:sp>
      <p:sp>
        <p:nvSpPr>
          <p:cNvPr id="122" name="Text Placeholder 12"/>
          <p:cNvSpPr>
            <a:spLocks noGrp="1"/>
          </p:cNvSpPr>
          <p:nvPr>
            <p:custDataLst>
              <p:tags r:id="rId159"/>
            </p:custDataLst>
          </p:nvPr>
        </p:nvSpPr>
        <p:spPr bwMode="auto">
          <a:xfrm>
            <a:off x="76406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B37A71F-31FC-4E1A-ACD7-FB4551B1B023}" type="datetime'''''''''2''''''''''''''''''''''''''''''''''''0'''">
              <a:rPr lang="ja-JP" altLang="en-US" sz="1000" b="0" smtClean="0"/>
              <a:pPr/>
              <a:t>20</a:t>
            </a:fld>
            <a:endParaRPr kumimoji="0" lang="ja-JP" altLang="en-US" sz="1000" b="0" dirty="0">
              <a:sym typeface="+mn-lt"/>
            </a:endParaRPr>
          </a:p>
        </p:txBody>
      </p:sp>
      <p:sp>
        <p:nvSpPr>
          <p:cNvPr id="130" name="Text Placeholder 12"/>
          <p:cNvSpPr>
            <a:spLocks noGrp="1"/>
          </p:cNvSpPr>
          <p:nvPr>
            <p:custDataLst>
              <p:tags r:id="rId160"/>
            </p:custDataLst>
          </p:nvPr>
        </p:nvSpPr>
        <p:spPr bwMode="gray">
          <a:xfrm>
            <a:off x="7577138" y="4813300"/>
            <a:ext cx="279400" cy="152400"/>
          </a:xfrm>
          <a:prstGeom prst="rect">
            <a:avLst/>
          </a:prstGeom>
          <a:solidFill>
            <a:srgbClr val="C0E6F4"/>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FDBC09D-9F23-4C00-8DB8-674E284D5546}" type="datetime'''''''1''''''3''''''.''''''2'''''''''''''''''''''''''''''''">
              <a:rPr lang="ja-JP" altLang="en-US" sz="1000" b="0" smtClean="0">
                <a:effectLst/>
              </a:rPr>
              <a:pPr/>
              <a:t>13.2</a:t>
            </a:fld>
            <a:endParaRPr kumimoji="0" lang="ja-JP" altLang="en-US" sz="1000" b="0" dirty="0">
              <a:sym typeface="+mn-lt"/>
            </a:endParaRPr>
          </a:p>
        </p:txBody>
      </p:sp>
      <p:sp>
        <p:nvSpPr>
          <p:cNvPr id="104" name="Text Placeholder 12"/>
          <p:cNvSpPr>
            <a:spLocks noGrp="1"/>
          </p:cNvSpPr>
          <p:nvPr>
            <p:custDataLst>
              <p:tags r:id="rId161"/>
            </p:custDataLst>
          </p:nvPr>
        </p:nvSpPr>
        <p:spPr bwMode="auto">
          <a:xfrm>
            <a:off x="657225" y="6286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E0A5E5-6972-41B6-A4F5-85E676E0B2B7}" type="datetime'''''''2''''''''''''0''''''''''0''''''''''''''''''''0'''''''">
              <a:rPr lang="ja-JP" altLang="en-US" sz="1000" b="0"/>
              <a:pPr algn="ctr">
                <a:spcBef>
                  <a:spcPct val="0"/>
                </a:spcBef>
                <a:spcAft>
                  <a:spcPct val="0"/>
                </a:spcAft>
              </a:pPr>
              <a:t>2000</a:t>
            </a:fld>
            <a:endParaRPr kumimoji="0" lang="ja-JP" altLang="en-US" sz="1000" b="0" dirty="0">
              <a:sym typeface="+mn-lt"/>
            </a:endParaRPr>
          </a:p>
        </p:txBody>
      </p:sp>
      <p:sp>
        <p:nvSpPr>
          <p:cNvPr id="109" name="Text Placeholder 12"/>
          <p:cNvSpPr>
            <a:spLocks noGrp="1"/>
          </p:cNvSpPr>
          <p:nvPr>
            <p:custDataLst>
              <p:tags r:id="rId162"/>
            </p:custDataLst>
          </p:nvPr>
        </p:nvSpPr>
        <p:spPr bwMode="auto">
          <a:xfrm>
            <a:off x="24558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104C758-AB6D-4557-AA63-95F9BED9C432}" type="datetime'''''''''''''''''''''''''''''''''''''''05'''''''''''''''''''''">
              <a:rPr lang="ja-JP" altLang="en-US" sz="1000" b="0"/>
              <a:pPr algn="ctr">
                <a:spcBef>
                  <a:spcPct val="0"/>
                </a:spcBef>
                <a:spcAft>
                  <a:spcPct val="0"/>
                </a:spcAft>
              </a:pPr>
              <a:t>05</a:t>
            </a:fld>
            <a:endParaRPr kumimoji="0" lang="ja-JP" altLang="en-US" sz="1000" b="0" dirty="0">
              <a:sym typeface="+mn-lt"/>
            </a:endParaRPr>
          </a:p>
        </p:txBody>
      </p:sp>
      <p:sp>
        <p:nvSpPr>
          <p:cNvPr id="134" name="Text Placeholder 12"/>
          <p:cNvSpPr>
            <a:spLocks noGrp="1"/>
          </p:cNvSpPr>
          <p:nvPr>
            <p:custDataLst>
              <p:tags r:id="rId163"/>
            </p:custDataLst>
          </p:nvPr>
        </p:nvSpPr>
        <p:spPr bwMode="gray">
          <a:xfrm>
            <a:off x="1009650" y="53355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A773BF0-E721-40AA-B620-24DEB963FBE9}" type="datetime'''''''''''7''''''''''''4''''''''''''.''''''''6'''''''">
              <a:rPr lang="ja-JP" altLang="en-US" sz="1000" b="0" smtClean="0">
                <a:effectLst/>
              </a:rPr>
              <a:pPr/>
              <a:t>74.6</a:t>
            </a:fld>
            <a:endParaRPr kumimoji="0" lang="ja-JP" altLang="en-US" sz="1000" b="0" dirty="0">
              <a:sym typeface="+mn-lt"/>
            </a:endParaRPr>
          </a:p>
        </p:txBody>
      </p:sp>
      <p:sp>
        <p:nvSpPr>
          <p:cNvPr id="105" name="Text Placeholder 12"/>
          <p:cNvSpPr>
            <a:spLocks noGrp="1"/>
          </p:cNvSpPr>
          <p:nvPr>
            <p:custDataLst>
              <p:tags r:id="rId164"/>
            </p:custDataLst>
          </p:nvPr>
        </p:nvSpPr>
        <p:spPr bwMode="auto">
          <a:xfrm>
            <a:off x="10731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8AD2300-962D-4654-9122-1E9F1D3442E3}" type="datetime'''''''''''''''''''''''''''''''''''''''''''0''''''''''1'''">
              <a:rPr lang="ja-JP" altLang="en-US" sz="1000" b="0"/>
              <a:pPr algn="ctr">
                <a:spcBef>
                  <a:spcPct val="0"/>
                </a:spcBef>
                <a:spcAft>
                  <a:spcPct val="0"/>
                </a:spcAft>
              </a:pPr>
              <a:t>01</a:t>
            </a:fld>
            <a:endParaRPr kumimoji="0" lang="ja-JP" altLang="en-US" sz="1000" b="0" dirty="0">
              <a:sym typeface="+mn-lt"/>
            </a:endParaRPr>
          </a:p>
        </p:txBody>
      </p:sp>
      <p:sp>
        <p:nvSpPr>
          <p:cNvPr id="162" name="Text Placeholder 12"/>
          <p:cNvSpPr>
            <a:spLocks noGrp="1"/>
          </p:cNvSpPr>
          <p:nvPr>
            <p:custDataLst>
              <p:tags r:id="rId165"/>
            </p:custDataLst>
          </p:nvPr>
        </p:nvSpPr>
        <p:spPr bwMode="gray">
          <a:xfrm>
            <a:off x="3429000" y="60134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C8D6C20-B5DA-4E20-818B-E1576BD57D1F}" type="datetime'1''''''''''''5''''.''7'''''''''''''''''">
              <a:rPr lang="ja-JP" altLang="en-US" sz="1000" b="0" smtClean="0">
                <a:solidFill>
                  <a:schemeClr val="bg1"/>
                </a:solidFill>
                <a:effectLst/>
              </a:rPr>
              <a:pPr/>
              <a:t>15.7</a:t>
            </a:fld>
            <a:endParaRPr kumimoji="0" lang="ja-JP" altLang="en-US" sz="1000" b="0" dirty="0">
              <a:solidFill>
                <a:schemeClr val="bg1"/>
              </a:solidFill>
              <a:sym typeface="+mn-lt"/>
            </a:endParaRPr>
          </a:p>
        </p:txBody>
      </p:sp>
      <p:sp>
        <p:nvSpPr>
          <p:cNvPr id="136" name="Text Placeholder 12"/>
          <p:cNvSpPr>
            <a:spLocks noGrp="1"/>
          </p:cNvSpPr>
          <p:nvPr>
            <p:custDataLst>
              <p:tags r:id="rId166"/>
            </p:custDataLst>
          </p:nvPr>
        </p:nvSpPr>
        <p:spPr bwMode="gray">
          <a:xfrm>
            <a:off x="1700213" y="53403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36F1B07-148C-4B31-82B9-327D98736068}" type="datetime'''''''7''''4''.''''6'''''''''''''''''''''''''''''">
              <a:rPr lang="ja-JP" altLang="en-US" sz="1000" b="0" smtClean="0">
                <a:effectLst/>
              </a:rPr>
              <a:pPr/>
              <a:t>74.6</a:t>
            </a:fld>
            <a:endParaRPr kumimoji="0" lang="ja-JP" altLang="en-US" sz="1000" b="0" dirty="0">
              <a:sym typeface="+mn-lt"/>
            </a:endParaRPr>
          </a:p>
        </p:txBody>
      </p:sp>
      <p:sp>
        <p:nvSpPr>
          <p:cNvPr id="161" name="Text Placeholder 12"/>
          <p:cNvSpPr>
            <a:spLocks noGrp="1"/>
          </p:cNvSpPr>
          <p:nvPr>
            <p:custDataLst>
              <p:tags r:id="rId167"/>
            </p:custDataLst>
          </p:nvPr>
        </p:nvSpPr>
        <p:spPr bwMode="gray">
          <a:xfrm>
            <a:off x="3082925" y="60086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526742A-FDEE-4F3A-9903-7006439E7913}" type="datetime'16.''''4'''''''''''''''''''''''''''''''''''''''''''">
              <a:rPr lang="ja-JP" altLang="en-US" sz="1000" b="0" smtClean="0">
                <a:solidFill>
                  <a:schemeClr val="bg1"/>
                </a:solidFill>
                <a:effectLst/>
              </a:rPr>
              <a:pPr/>
              <a:t>16.4</a:t>
            </a:fld>
            <a:endParaRPr kumimoji="0" lang="ja-JP" altLang="en-US" sz="1000" b="0" dirty="0">
              <a:solidFill>
                <a:schemeClr val="bg1"/>
              </a:solidFill>
              <a:sym typeface="+mn-lt"/>
            </a:endParaRPr>
          </a:p>
        </p:txBody>
      </p:sp>
      <p:sp>
        <p:nvSpPr>
          <p:cNvPr id="106" name="Text Placeholder 12"/>
          <p:cNvSpPr>
            <a:spLocks noGrp="1"/>
          </p:cNvSpPr>
          <p:nvPr>
            <p:custDataLst>
              <p:tags r:id="rId168"/>
            </p:custDataLst>
          </p:nvPr>
        </p:nvSpPr>
        <p:spPr bwMode="auto">
          <a:xfrm>
            <a:off x="14192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29EAE60-BA06-420A-BE1D-14FCB389662C}" type="datetime'''''''''''''0''''''''''''''''''''2'''''''''''''">
              <a:rPr lang="ja-JP" altLang="en-US" sz="1000" b="0"/>
              <a:pPr algn="ctr">
                <a:spcBef>
                  <a:spcPct val="0"/>
                </a:spcBef>
                <a:spcAft>
                  <a:spcPct val="0"/>
                </a:spcAft>
              </a:pPr>
              <a:t>02</a:t>
            </a:fld>
            <a:endParaRPr kumimoji="0" lang="ja-JP" altLang="en-US" sz="1000" b="0" dirty="0">
              <a:sym typeface="+mn-lt"/>
            </a:endParaRPr>
          </a:p>
        </p:txBody>
      </p:sp>
      <p:sp>
        <p:nvSpPr>
          <p:cNvPr id="157" name="Text Placeholder 12"/>
          <p:cNvSpPr>
            <a:spLocks noGrp="1"/>
          </p:cNvSpPr>
          <p:nvPr>
            <p:custDataLst>
              <p:tags r:id="rId169"/>
            </p:custDataLst>
          </p:nvPr>
        </p:nvSpPr>
        <p:spPr bwMode="gray">
          <a:xfrm>
            <a:off x="1700213" y="59944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4739EAF-EA3C-486D-9AE4-CB14C325321F}" type="datetime'''''''''''''''''''''''''''''''18''.''5'''''''''''''">
              <a:rPr lang="ja-JP" altLang="en-US" sz="1000" b="0" smtClean="0">
                <a:solidFill>
                  <a:schemeClr val="bg1"/>
                </a:solidFill>
                <a:effectLst/>
              </a:rPr>
              <a:pPr/>
              <a:t>18.5</a:t>
            </a:fld>
            <a:endParaRPr kumimoji="0" lang="ja-JP" altLang="en-US" sz="1000" b="0" dirty="0">
              <a:solidFill>
                <a:schemeClr val="bg1"/>
              </a:solidFill>
              <a:sym typeface="+mn-lt"/>
            </a:endParaRPr>
          </a:p>
        </p:txBody>
      </p:sp>
      <p:sp>
        <p:nvSpPr>
          <p:cNvPr id="137" name="Text Placeholder 12"/>
          <p:cNvSpPr>
            <a:spLocks noGrp="1"/>
          </p:cNvSpPr>
          <p:nvPr>
            <p:custDataLst>
              <p:tags r:id="rId170"/>
            </p:custDataLst>
          </p:nvPr>
        </p:nvSpPr>
        <p:spPr bwMode="gray">
          <a:xfrm>
            <a:off x="2046288" y="53451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8BB8D7B-AAD3-4DA9-8CED-5B404874F097}" type="datetime'75''''.''''''''0'''''''''''''''''''''''''''''''''''''">
              <a:rPr lang="ja-JP" altLang="en-US" sz="1000" b="0" smtClean="0">
                <a:effectLst/>
              </a:rPr>
              <a:pPr/>
              <a:t>75.0</a:t>
            </a:fld>
            <a:endParaRPr kumimoji="0" lang="ja-JP" altLang="en-US" sz="1000" b="0" dirty="0">
              <a:sym typeface="+mn-lt"/>
            </a:endParaRPr>
          </a:p>
        </p:txBody>
      </p:sp>
      <p:sp>
        <p:nvSpPr>
          <p:cNvPr id="107" name="Text Placeholder 12"/>
          <p:cNvSpPr>
            <a:spLocks noGrp="1"/>
          </p:cNvSpPr>
          <p:nvPr>
            <p:custDataLst>
              <p:tags r:id="rId171"/>
            </p:custDataLst>
          </p:nvPr>
        </p:nvSpPr>
        <p:spPr bwMode="auto">
          <a:xfrm>
            <a:off x="1763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C2B2B5A-F81A-4F16-B25B-312A1FDFC040}" type="datetime'''''''''''''0''''''''''''''''''''''''''''3'''''''''''''">
              <a:rPr lang="ja-JP" altLang="en-US" sz="1000" b="0"/>
              <a:pPr algn="ctr">
                <a:spcBef>
                  <a:spcPct val="0"/>
                </a:spcBef>
                <a:spcAft>
                  <a:spcPct val="0"/>
                </a:spcAft>
              </a:pPr>
              <a:t>03</a:t>
            </a:fld>
            <a:endParaRPr kumimoji="0" lang="ja-JP" altLang="en-US" sz="1000" b="0" dirty="0">
              <a:sym typeface="+mn-lt"/>
            </a:endParaRPr>
          </a:p>
        </p:txBody>
      </p:sp>
      <p:sp>
        <p:nvSpPr>
          <p:cNvPr id="158" name="Text Placeholder 12"/>
          <p:cNvSpPr>
            <a:spLocks noGrp="1"/>
          </p:cNvSpPr>
          <p:nvPr>
            <p:custDataLst>
              <p:tags r:id="rId172"/>
            </p:custDataLst>
          </p:nvPr>
        </p:nvSpPr>
        <p:spPr bwMode="gray">
          <a:xfrm>
            <a:off x="2046288" y="59975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8AA830A-0547-4B8B-978D-68A5BAAA6837}" type="datetime'''''''''1''''''''''''''8''''''''''''.''''''''0'''''''''">
              <a:rPr lang="ja-JP" altLang="en-US" sz="1000" b="0" smtClean="0">
                <a:solidFill>
                  <a:schemeClr val="bg1"/>
                </a:solidFill>
                <a:effectLst/>
              </a:rPr>
              <a:pPr/>
              <a:t>18.0</a:t>
            </a:fld>
            <a:endParaRPr kumimoji="0" lang="ja-JP" altLang="en-US" sz="1000" b="0" dirty="0">
              <a:solidFill>
                <a:schemeClr val="bg1"/>
              </a:solidFill>
              <a:sym typeface="+mn-lt"/>
            </a:endParaRPr>
          </a:p>
        </p:txBody>
      </p:sp>
      <p:sp>
        <p:nvSpPr>
          <p:cNvPr id="108" name="Text Placeholder 12"/>
          <p:cNvSpPr>
            <a:spLocks noGrp="1"/>
          </p:cNvSpPr>
          <p:nvPr>
            <p:custDataLst>
              <p:tags r:id="rId173"/>
            </p:custDataLst>
          </p:nvPr>
        </p:nvSpPr>
        <p:spPr bwMode="auto">
          <a:xfrm>
            <a:off x="21097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8716FA4-1A2A-4C3F-8A96-EE85760FF4BD}" type="datetime'''0''''''''''''''''4'''''''''''''''''''''''''">
              <a:rPr lang="ja-JP" altLang="en-US" sz="1000" b="0"/>
              <a:pPr algn="ctr">
                <a:spcBef>
                  <a:spcPct val="0"/>
                </a:spcBef>
                <a:spcAft>
                  <a:spcPct val="0"/>
                </a:spcAft>
              </a:pPr>
              <a:t>04</a:t>
            </a:fld>
            <a:endParaRPr kumimoji="0" lang="ja-JP" altLang="en-US" sz="1000" b="0" dirty="0">
              <a:sym typeface="+mn-lt"/>
            </a:endParaRPr>
          </a:p>
        </p:txBody>
      </p:sp>
      <p:sp>
        <p:nvSpPr>
          <p:cNvPr id="142" name="Text Placeholder 12"/>
          <p:cNvSpPr>
            <a:spLocks noGrp="1"/>
          </p:cNvSpPr>
          <p:nvPr>
            <p:custDataLst>
              <p:tags r:id="rId174"/>
            </p:custDataLst>
          </p:nvPr>
        </p:nvSpPr>
        <p:spPr bwMode="gray">
          <a:xfrm>
            <a:off x="3775075" y="53673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B0789FB-EE76-4F9B-B819-06B161230357}" type="datetime'''''''''''''78''.''''1'''''''''''''''''''''''''''''''">
              <a:rPr lang="ja-JP" altLang="en-US" sz="1000" b="0" smtClean="0">
                <a:effectLst/>
              </a:rPr>
              <a:pPr/>
              <a:t>78.1</a:t>
            </a:fld>
            <a:endParaRPr kumimoji="0" lang="ja-JP" altLang="en-US" sz="1000" b="0" dirty="0">
              <a:sym typeface="+mn-lt"/>
            </a:endParaRPr>
          </a:p>
        </p:txBody>
      </p:sp>
      <p:sp>
        <p:nvSpPr>
          <p:cNvPr id="138" name="Text Placeholder 12"/>
          <p:cNvSpPr>
            <a:spLocks noGrp="1"/>
          </p:cNvSpPr>
          <p:nvPr>
            <p:custDataLst>
              <p:tags r:id="rId175"/>
            </p:custDataLst>
          </p:nvPr>
        </p:nvSpPr>
        <p:spPr bwMode="gray">
          <a:xfrm>
            <a:off x="2392363" y="53498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B8F5D77-5E02-4015-A5B4-74621F29E6A8}" type="datetime'''''7''5''''''''''''''''''.''''''''''''''''''''''''''6'''''''">
              <a:rPr lang="ja-JP" altLang="en-US" sz="1000" b="0" smtClean="0">
                <a:effectLst/>
              </a:rPr>
              <a:pPr/>
              <a:t>75.6</a:t>
            </a:fld>
            <a:endParaRPr kumimoji="0" lang="ja-JP" altLang="en-US" sz="1000" b="0" dirty="0">
              <a:sym typeface="+mn-lt"/>
            </a:endParaRPr>
          </a:p>
        </p:txBody>
      </p:sp>
      <p:sp>
        <p:nvSpPr>
          <p:cNvPr id="159" name="Text Placeholder 12"/>
          <p:cNvSpPr>
            <a:spLocks noGrp="1"/>
          </p:cNvSpPr>
          <p:nvPr>
            <p:custDataLst>
              <p:tags r:id="rId176"/>
            </p:custDataLst>
          </p:nvPr>
        </p:nvSpPr>
        <p:spPr bwMode="gray">
          <a:xfrm>
            <a:off x="2392363" y="60023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480D6B0-FC76-4C01-B0A3-B531F12F4722}" type="datetime'''''''1''''''7.''''''''''4'''''''">
              <a:rPr lang="ja-JP" altLang="en-US" sz="1000" b="0" smtClean="0">
                <a:solidFill>
                  <a:schemeClr val="bg1"/>
                </a:solidFill>
                <a:effectLst/>
              </a:rPr>
              <a:pPr/>
              <a:t>17.4</a:t>
            </a:fld>
            <a:endParaRPr kumimoji="0" lang="ja-JP" altLang="en-US" sz="1000" b="0" dirty="0">
              <a:solidFill>
                <a:schemeClr val="bg1"/>
              </a:solidFill>
              <a:sym typeface="+mn-lt"/>
            </a:endParaRPr>
          </a:p>
        </p:txBody>
      </p:sp>
      <p:sp>
        <p:nvSpPr>
          <p:cNvPr id="139" name="Text Placeholder 12"/>
          <p:cNvSpPr>
            <a:spLocks noGrp="1"/>
          </p:cNvSpPr>
          <p:nvPr>
            <p:custDataLst>
              <p:tags r:id="rId177"/>
            </p:custDataLst>
          </p:nvPr>
        </p:nvSpPr>
        <p:spPr bwMode="gray">
          <a:xfrm>
            <a:off x="2738438" y="53530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FBDA34A-D74B-4F03-809A-631D1E6328D1}" type="datetime'''''''''7''''''6''''''''.''''''''''''''''''''''''1'''''''">
              <a:rPr lang="ja-JP" altLang="en-US" sz="1000" b="0" smtClean="0">
                <a:effectLst/>
              </a:rPr>
              <a:pPr/>
              <a:t>76.1</a:t>
            </a:fld>
            <a:endParaRPr kumimoji="0" lang="ja-JP" altLang="en-US" sz="1000" b="0" dirty="0">
              <a:sym typeface="+mn-lt"/>
            </a:endParaRPr>
          </a:p>
        </p:txBody>
      </p:sp>
      <p:sp>
        <p:nvSpPr>
          <p:cNvPr id="160" name="Text Placeholder 12"/>
          <p:cNvSpPr>
            <a:spLocks noGrp="1"/>
          </p:cNvSpPr>
          <p:nvPr>
            <p:custDataLst>
              <p:tags r:id="rId178"/>
            </p:custDataLst>
          </p:nvPr>
        </p:nvSpPr>
        <p:spPr bwMode="gray">
          <a:xfrm>
            <a:off x="2738438" y="60055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5A2D973-A3C2-45C7-A07A-D92882A9AA17}" type="datetime'1''''''''6''.''''''''''''''''''''9'''''">
              <a:rPr lang="ja-JP" altLang="en-US" sz="1000" b="0" smtClean="0">
                <a:solidFill>
                  <a:schemeClr val="bg1"/>
                </a:solidFill>
                <a:effectLst/>
              </a:rPr>
              <a:pPr/>
              <a:t>16.9</a:t>
            </a:fld>
            <a:endParaRPr kumimoji="0" lang="ja-JP" altLang="en-US" sz="1000" b="0" dirty="0">
              <a:solidFill>
                <a:schemeClr val="bg1"/>
              </a:solidFill>
              <a:sym typeface="+mn-lt"/>
            </a:endParaRPr>
          </a:p>
        </p:txBody>
      </p:sp>
      <p:sp>
        <p:nvSpPr>
          <p:cNvPr id="110" name="Text Placeholder 12"/>
          <p:cNvSpPr>
            <a:spLocks noGrp="1"/>
          </p:cNvSpPr>
          <p:nvPr>
            <p:custDataLst>
              <p:tags r:id="rId179"/>
            </p:custDataLst>
          </p:nvPr>
        </p:nvSpPr>
        <p:spPr bwMode="auto">
          <a:xfrm>
            <a:off x="28019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CC3A514-AD48-4BA1-84A7-13FE707322D3}" type="datetime'''''''0''''''''''''6'''''''''''''">
              <a:rPr lang="ja-JP" altLang="en-US" sz="1000" b="0"/>
              <a:pPr algn="ctr">
                <a:spcBef>
                  <a:spcPct val="0"/>
                </a:spcBef>
                <a:spcAft>
                  <a:spcPct val="0"/>
                </a:spcAft>
              </a:pPr>
              <a:t>06</a:t>
            </a:fld>
            <a:endParaRPr kumimoji="0" lang="ja-JP" altLang="en-US" sz="1000" b="0" dirty="0">
              <a:sym typeface="+mn-lt"/>
            </a:endParaRPr>
          </a:p>
        </p:txBody>
      </p:sp>
      <p:sp>
        <p:nvSpPr>
          <p:cNvPr id="148" name="Text Placeholder 12"/>
          <p:cNvSpPr>
            <a:spLocks noGrp="1"/>
          </p:cNvSpPr>
          <p:nvPr>
            <p:custDataLst>
              <p:tags r:id="rId180"/>
            </p:custDataLst>
          </p:nvPr>
        </p:nvSpPr>
        <p:spPr bwMode="gray">
          <a:xfrm>
            <a:off x="5848350" y="53959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B4EE953-036D-44FA-BA7D-C7D996107516}" type="datetime'''''7''''''''''8''''.4'''''''''''''''''''''''''''''''">
              <a:rPr lang="ja-JP" altLang="en-US" sz="1000" b="0" smtClean="0">
                <a:effectLst/>
              </a:rPr>
              <a:pPr/>
              <a:t>78.4</a:t>
            </a:fld>
            <a:endParaRPr kumimoji="0" lang="ja-JP" altLang="en-US" sz="1000" b="0" dirty="0">
              <a:sym typeface="+mn-lt"/>
            </a:endParaRPr>
          </a:p>
        </p:txBody>
      </p:sp>
      <p:sp>
        <p:nvSpPr>
          <p:cNvPr id="114" name="Text Placeholder 12"/>
          <p:cNvSpPr>
            <a:spLocks noGrp="1"/>
          </p:cNvSpPr>
          <p:nvPr>
            <p:custDataLst>
              <p:tags r:id="rId181"/>
            </p:custDataLst>
          </p:nvPr>
        </p:nvSpPr>
        <p:spPr bwMode="auto">
          <a:xfrm>
            <a:off x="41846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4D7184-D3BD-4531-9589-0096F9542DF7}" type="datetime'''''''''''''''''1''''''''''''''''''''''''''''''''''0'">
              <a:rPr lang="ja-JP" altLang="en-US" sz="1000" b="0"/>
              <a:pPr algn="ctr">
                <a:spcBef>
                  <a:spcPct val="0"/>
                </a:spcBef>
                <a:spcAft>
                  <a:spcPct val="0"/>
                </a:spcAft>
              </a:pPr>
              <a:t>10</a:t>
            </a:fld>
            <a:endParaRPr kumimoji="0" lang="ja-JP" altLang="en-US" sz="1000" b="0" dirty="0">
              <a:sym typeface="+mn-lt"/>
            </a:endParaRPr>
          </a:p>
        </p:txBody>
      </p:sp>
      <p:sp>
        <p:nvSpPr>
          <p:cNvPr id="140" name="Text Placeholder 12"/>
          <p:cNvSpPr>
            <a:spLocks noGrp="1"/>
          </p:cNvSpPr>
          <p:nvPr>
            <p:custDataLst>
              <p:tags r:id="rId182"/>
            </p:custDataLst>
          </p:nvPr>
        </p:nvSpPr>
        <p:spPr bwMode="gray">
          <a:xfrm>
            <a:off x="3082925" y="53562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5212806-9B20-4CFF-8582-243630EE762C}" type="datetime'''''''''7''''6''''.''''''''''6'''''''''''''''''''''">
              <a:rPr lang="ja-JP" altLang="en-US" sz="1000" b="0" smtClean="0">
                <a:effectLst/>
              </a:rPr>
              <a:pPr/>
              <a:t>76.6</a:t>
            </a:fld>
            <a:endParaRPr kumimoji="0" lang="ja-JP" altLang="en-US" sz="1000" b="0" dirty="0">
              <a:sym typeface="+mn-lt"/>
            </a:endParaRPr>
          </a:p>
        </p:txBody>
      </p:sp>
      <p:sp>
        <p:nvSpPr>
          <p:cNvPr id="111" name="Text Placeholder 12"/>
          <p:cNvSpPr>
            <a:spLocks noGrp="1"/>
          </p:cNvSpPr>
          <p:nvPr>
            <p:custDataLst>
              <p:tags r:id="rId183"/>
            </p:custDataLst>
          </p:nvPr>
        </p:nvSpPr>
        <p:spPr bwMode="auto">
          <a:xfrm>
            <a:off x="31464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F94CD9F-0EFE-4F4D-B6DE-11B6C00B9B77}" type="datetime'0''''''''''''''''''''''''''''''''''''''''''''''''7'''''''''''">
              <a:rPr lang="ja-JP" altLang="en-US" sz="1000" b="0"/>
              <a:pPr algn="ctr">
                <a:spcBef>
                  <a:spcPct val="0"/>
                </a:spcBef>
                <a:spcAft>
                  <a:spcPct val="0"/>
                </a:spcAft>
              </a:pPr>
              <a:t>07</a:t>
            </a:fld>
            <a:endParaRPr kumimoji="0" lang="ja-JP" altLang="en-US" sz="1000" b="0" dirty="0">
              <a:sym typeface="+mn-lt"/>
            </a:endParaRPr>
          </a:p>
        </p:txBody>
      </p:sp>
      <p:sp>
        <p:nvSpPr>
          <p:cNvPr id="141" name="Text Placeholder 12"/>
          <p:cNvSpPr>
            <a:spLocks noGrp="1"/>
          </p:cNvSpPr>
          <p:nvPr>
            <p:custDataLst>
              <p:tags r:id="rId184"/>
            </p:custDataLst>
          </p:nvPr>
        </p:nvSpPr>
        <p:spPr bwMode="gray">
          <a:xfrm>
            <a:off x="3429000" y="53609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BA50F4D-18AB-4520-865D-055488FF27CC}" type="datetime'''''''''''''''''''7''''''''''''''''7''''''''''''.''3'''">
              <a:rPr lang="ja-JP" altLang="en-US" sz="1000" b="0" smtClean="0">
                <a:effectLst/>
              </a:rPr>
              <a:pPr/>
              <a:t>77.3</a:t>
            </a:fld>
            <a:endParaRPr kumimoji="0" lang="ja-JP" altLang="en-US" sz="1000" b="0" dirty="0">
              <a:sym typeface="+mn-lt"/>
            </a:endParaRPr>
          </a:p>
        </p:txBody>
      </p:sp>
      <p:sp>
        <p:nvSpPr>
          <p:cNvPr id="112" name="Text Placeholder 12"/>
          <p:cNvSpPr>
            <a:spLocks noGrp="1"/>
          </p:cNvSpPr>
          <p:nvPr>
            <p:custDataLst>
              <p:tags r:id="rId185"/>
            </p:custDataLst>
          </p:nvPr>
        </p:nvSpPr>
        <p:spPr bwMode="auto">
          <a:xfrm>
            <a:off x="34925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5312F32-54D4-4E9B-94AB-84FE1E27B2D7}" type="datetime'''''''''''''''''''0''''''''8'''''''''''''''''''''''''''''''''">
              <a:rPr lang="ja-JP" altLang="en-US" sz="1000" b="0"/>
              <a:pPr algn="ctr">
                <a:spcBef>
                  <a:spcPct val="0"/>
                </a:spcBef>
                <a:spcAft>
                  <a:spcPct val="0"/>
                </a:spcAft>
              </a:pPr>
              <a:t>08</a:t>
            </a:fld>
            <a:endParaRPr kumimoji="0" lang="ja-JP" altLang="en-US" sz="1000" b="0" dirty="0">
              <a:sym typeface="+mn-lt"/>
            </a:endParaRPr>
          </a:p>
        </p:txBody>
      </p:sp>
      <p:sp>
        <p:nvSpPr>
          <p:cNvPr id="168" name="Text Placeholder 12"/>
          <p:cNvSpPr>
            <a:spLocks noGrp="1"/>
          </p:cNvSpPr>
          <p:nvPr>
            <p:custDataLst>
              <p:tags r:id="rId186"/>
            </p:custDataLst>
          </p:nvPr>
        </p:nvSpPr>
        <p:spPr bwMode="gray">
          <a:xfrm>
            <a:off x="5503863" y="60325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5C794AE-C4CB-4E83-872E-2438B0292F84}" type="datetime'''''''''''''''''1''3''''''''.''''''''''''''''''''''''''1'''''">
              <a:rPr lang="ja-JP" altLang="en-US" sz="1000" b="0" smtClean="0">
                <a:solidFill>
                  <a:schemeClr val="bg1"/>
                </a:solidFill>
                <a:effectLst/>
              </a:rPr>
              <a:pPr/>
              <a:t>13.1</a:t>
            </a:fld>
            <a:endParaRPr kumimoji="0" lang="ja-JP" altLang="en-US" sz="1000" b="0" dirty="0">
              <a:solidFill>
                <a:schemeClr val="bg1"/>
              </a:solidFill>
              <a:sym typeface="+mn-lt"/>
            </a:endParaRPr>
          </a:p>
        </p:txBody>
      </p:sp>
      <p:sp>
        <p:nvSpPr>
          <p:cNvPr id="166" name="Text Placeholder 12"/>
          <p:cNvSpPr>
            <a:spLocks noGrp="1"/>
          </p:cNvSpPr>
          <p:nvPr>
            <p:custDataLst>
              <p:tags r:id="rId187"/>
            </p:custDataLst>
          </p:nvPr>
        </p:nvSpPr>
        <p:spPr bwMode="gray">
          <a:xfrm>
            <a:off x="4811713" y="60277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8369295-3EA1-419A-8C32-DFAD04BB2C20}" type="datetime'''''''''''''''1''''''''''''''''''3''''''''''''.''8'''''''">
              <a:rPr lang="ja-JP" altLang="en-US" sz="1000" b="0" smtClean="0">
                <a:solidFill>
                  <a:schemeClr val="bg1"/>
                </a:solidFill>
                <a:effectLst/>
              </a:rPr>
              <a:pPr/>
              <a:t>13.8</a:t>
            </a:fld>
            <a:endParaRPr kumimoji="0" lang="ja-JP" altLang="en-US" sz="1000" b="0" dirty="0">
              <a:solidFill>
                <a:schemeClr val="bg1"/>
              </a:solidFill>
              <a:sym typeface="+mn-lt"/>
            </a:endParaRPr>
          </a:p>
        </p:txBody>
      </p:sp>
      <p:sp>
        <p:nvSpPr>
          <p:cNvPr id="117" name="Text Placeholder 12"/>
          <p:cNvSpPr>
            <a:spLocks noGrp="1"/>
          </p:cNvSpPr>
          <p:nvPr>
            <p:custDataLst>
              <p:tags r:id="rId188"/>
            </p:custDataLst>
          </p:nvPr>
        </p:nvSpPr>
        <p:spPr bwMode="auto">
          <a:xfrm>
            <a:off x="52212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9698AC8-38A4-4A09-A092-6AD3196646FB}" type="datetime'''''''''''''''''''''''''''''''''''''''''1''''''''''''''''3'''">
              <a:rPr lang="ja-JP" altLang="en-US" sz="1000" b="0"/>
              <a:pPr algn="ctr">
                <a:spcBef>
                  <a:spcPct val="0"/>
                </a:spcBef>
                <a:spcAft>
                  <a:spcPct val="0"/>
                </a:spcAft>
              </a:pPr>
              <a:t>13</a:t>
            </a:fld>
            <a:endParaRPr kumimoji="0" lang="ja-JP" altLang="en-US" sz="1000" b="0" dirty="0">
              <a:sym typeface="+mn-lt"/>
            </a:endParaRPr>
          </a:p>
        </p:txBody>
      </p:sp>
      <p:sp>
        <p:nvSpPr>
          <p:cNvPr id="145" name="Text Placeholder 12"/>
          <p:cNvSpPr>
            <a:spLocks noGrp="1"/>
          </p:cNvSpPr>
          <p:nvPr>
            <p:custDataLst>
              <p:tags r:id="rId189"/>
            </p:custDataLst>
          </p:nvPr>
        </p:nvSpPr>
        <p:spPr bwMode="gray">
          <a:xfrm>
            <a:off x="4811713" y="53800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EECD367-3DC1-4B2C-A67A-CBAE5191AC6D}" type="datetime'''''7''8''''''''''''''''''''''''''.''''''''''''''''''3'''">
              <a:rPr lang="ja-JP" altLang="en-US" sz="1000" b="0" smtClean="0">
                <a:effectLst/>
              </a:rPr>
              <a:pPr/>
              <a:t>78.3</a:t>
            </a:fld>
            <a:endParaRPr kumimoji="0" lang="ja-JP" altLang="en-US" sz="1000" b="0" dirty="0">
              <a:sym typeface="+mn-lt"/>
            </a:endParaRPr>
          </a:p>
        </p:txBody>
      </p:sp>
      <p:sp>
        <p:nvSpPr>
          <p:cNvPr id="163" name="Text Placeholder 12"/>
          <p:cNvSpPr>
            <a:spLocks noGrp="1"/>
          </p:cNvSpPr>
          <p:nvPr>
            <p:custDataLst>
              <p:tags r:id="rId190"/>
            </p:custDataLst>
          </p:nvPr>
        </p:nvSpPr>
        <p:spPr bwMode="gray">
          <a:xfrm>
            <a:off x="3775075" y="60198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7563A41-C7A5-4C79-BD98-37471538525B}" type="datetime'''''''''''''''1''4''.''''''''''9'''''''''">
              <a:rPr lang="ja-JP" altLang="en-US" sz="1000" b="0" smtClean="0">
                <a:solidFill>
                  <a:schemeClr val="bg1"/>
                </a:solidFill>
                <a:effectLst/>
              </a:rPr>
              <a:pPr/>
              <a:t>14.9</a:t>
            </a:fld>
            <a:endParaRPr kumimoji="0" lang="ja-JP" altLang="en-US" sz="1000" b="0" dirty="0">
              <a:solidFill>
                <a:schemeClr val="bg1"/>
              </a:solidFill>
              <a:sym typeface="+mn-lt"/>
            </a:endParaRPr>
          </a:p>
        </p:txBody>
      </p:sp>
      <p:sp>
        <p:nvSpPr>
          <p:cNvPr id="143" name="Text Placeholder 12"/>
          <p:cNvSpPr>
            <a:spLocks noGrp="1"/>
          </p:cNvSpPr>
          <p:nvPr>
            <p:custDataLst>
              <p:tags r:id="rId191"/>
            </p:custDataLst>
          </p:nvPr>
        </p:nvSpPr>
        <p:spPr bwMode="gray">
          <a:xfrm>
            <a:off x="4121150" y="53721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C12F6B5-7979-4DCA-9555-DB63D73495C7}" type="datetime'''''''''''7''''''''''8''''''''''''.''''''''6'''''''">
              <a:rPr lang="ja-JP" altLang="en-US" sz="1000" b="0" smtClean="0">
                <a:effectLst/>
              </a:rPr>
              <a:pPr/>
              <a:t>78.6</a:t>
            </a:fld>
            <a:endParaRPr kumimoji="0" lang="ja-JP" altLang="en-US" sz="1000" b="0" dirty="0">
              <a:sym typeface="+mn-lt"/>
            </a:endParaRPr>
          </a:p>
        </p:txBody>
      </p:sp>
      <p:sp>
        <p:nvSpPr>
          <p:cNvPr id="164" name="Text Placeholder 12"/>
          <p:cNvSpPr>
            <a:spLocks noGrp="1"/>
          </p:cNvSpPr>
          <p:nvPr>
            <p:custDataLst>
              <p:tags r:id="rId192"/>
            </p:custDataLst>
          </p:nvPr>
        </p:nvSpPr>
        <p:spPr bwMode="gray">
          <a:xfrm>
            <a:off x="4121150" y="60245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7F1D32C-0E19-4FD1-9414-D6F741E17B29}" type="datetime'1''''4''''''''''''''''.3'''''''''''''''">
              <a:rPr lang="ja-JP" altLang="en-US" sz="1000" b="0" smtClean="0">
                <a:solidFill>
                  <a:schemeClr val="bg1"/>
                </a:solidFill>
                <a:effectLst/>
              </a:rPr>
              <a:pPr/>
              <a:t>14.3</a:t>
            </a:fld>
            <a:endParaRPr kumimoji="0" lang="ja-JP" altLang="en-US" sz="1000" b="0" dirty="0">
              <a:solidFill>
                <a:schemeClr val="bg1"/>
              </a:solidFill>
              <a:sym typeface="+mn-lt"/>
            </a:endParaRPr>
          </a:p>
        </p:txBody>
      </p:sp>
      <p:sp>
        <p:nvSpPr>
          <p:cNvPr id="121" name="Text Placeholder 12"/>
          <p:cNvSpPr>
            <a:spLocks noGrp="1"/>
          </p:cNvSpPr>
          <p:nvPr>
            <p:custDataLst>
              <p:tags r:id="rId193"/>
            </p:custDataLst>
          </p:nvPr>
        </p:nvSpPr>
        <p:spPr bwMode="auto">
          <a:xfrm>
            <a:off x="72945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B23660C-D144-4C7C-8452-D07B80B845D0}" type="datetime'''''''''''''''''''''''''''1''''''''''''9'''">
              <a:rPr lang="ja-JP" altLang="en-US" sz="1000" b="0" smtClean="0"/>
              <a:pPr/>
              <a:t>19</a:t>
            </a:fld>
            <a:endParaRPr kumimoji="0" lang="ja-JP" altLang="en-US" sz="1000" b="0" dirty="0">
              <a:sym typeface="+mn-lt"/>
            </a:endParaRPr>
          </a:p>
        </p:txBody>
      </p:sp>
      <p:sp>
        <p:nvSpPr>
          <p:cNvPr id="144" name="Text Placeholder 12"/>
          <p:cNvSpPr>
            <a:spLocks noGrp="1"/>
          </p:cNvSpPr>
          <p:nvPr>
            <p:custDataLst>
              <p:tags r:id="rId194"/>
            </p:custDataLst>
          </p:nvPr>
        </p:nvSpPr>
        <p:spPr bwMode="gray">
          <a:xfrm>
            <a:off x="4465638" y="53768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C29698E-C5B9-40B1-8B84-AFBBED4200E4}" type="datetime'''''''''''''''7''''''8''''''''''''.''''5'''">
              <a:rPr lang="ja-JP" altLang="en-US" sz="1000" b="0" smtClean="0">
                <a:effectLst/>
              </a:rPr>
              <a:pPr/>
              <a:t>78.5</a:t>
            </a:fld>
            <a:endParaRPr kumimoji="0" lang="ja-JP" altLang="en-US" sz="1000" b="0" dirty="0">
              <a:sym typeface="+mn-lt"/>
            </a:endParaRPr>
          </a:p>
        </p:txBody>
      </p:sp>
      <p:sp>
        <p:nvSpPr>
          <p:cNvPr id="165" name="Text Placeholder 12"/>
          <p:cNvSpPr>
            <a:spLocks noGrp="1"/>
          </p:cNvSpPr>
          <p:nvPr>
            <p:custDataLst>
              <p:tags r:id="rId195"/>
            </p:custDataLst>
          </p:nvPr>
        </p:nvSpPr>
        <p:spPr bwMode="gray">
          <a:xfrm>
            <a:off x="4465638" y="60261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8EA5D19-7C7A-4F20-8589-B78D551E2F0D}" type="datetime'''''''''1''''''''''''4''''''.''''''0'''''''''">
              <a:rPr lang="ja-JP" altLang="en-US" sz="1000" b="0" smtClean="0">
                <a:solidFill>
                  <a:schemeClr val="bg1"/>
                </a:solidFill>
                <a:effectLst/>
              </a:rPr>
              <a:pPr/>
              <a:t>14.0</a:t>
            </a:fld>
            <a:endParaRPr kumimoji="0" lang="ja-JP" altLang="en-US" sz="1000" b="0" dirty="0">
              <a:solidFill>
                <a:schemeClr val="bg1"/>
              </a:solidFill>
              <a:sym typeface="+mn-lt"/>
            </a:endParaRPr>
          </a:p>
        </p:txBody>
      </p:sp>
      <p:sp>
        <p:nvSpPr>
          <p:cNvPr id="205" name="Text Placeholder 12"/>
          <p:cNvSpPr>
            <a:spLocks noGrp="1"/>
          </p:cNvSpPr>
          <p:nvPr>
            <p:custDataLst>
              <p:tags r:id="rId196"/>
            </p:custDataLst>
          </p:nvPr>
        </p:nvSpPr>
        <p:spPr bwMode="auto">
          <a:xfrm>
            <a:off x="66040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A06E24B-9679-45E5-9623-96202DC6837F}" type="datetime'''''1''''''''''''''''''''7'''''''''''''''''''">
              <a:rPr lang="ja-JP" altLang="en-US" sz="1000" b="0" smtClean="0"/>
              <a:pPr algn="ctr">
                <a:spcBef>
                  <a:spcPct val="0"/>
                </a:spcBef>
                <a:spcAft>
                  <a:spcPct val="0"/>
                </a:spcAft>
              </a:pPr>
              <a:t>17</a:t>
            </a:fld>
            <a:endParaRPr kumimoji="0" lang="ja-JP" altLang="en-US" sz="1000" b="0" dirty="0">
              <a:sym typeface="+mn-lt"/>
            </a:endParaRPr>
          </a:p>
        </p:txBody>
      </p:sp>
      <p:sp>
        <p:nvSpPr>
          <p:cNvPr id="115" name="Text Placeholder 12"/>
          <p:cNvSpPr>
            <a:spLocks noGrp="1"/>
          </p:cNvSpPr>
          <p:nvPr>
            <p:custDataLst>
              <p:tags r:id="rId197"/>
            </p:custDataLst>
          </p:nvPr>
        </p:nvSpPr>
        <p:spPr bwMode="auto">
          <a:xfrm>
            <a:off x="45291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07CE8E2-3CFC-4DA7-A1AD-EF0BC7CB44C5}" type="datetime'''''''''1''''''''''''''''''''''''''''''''''''''1'''''''''">
              <a:rPr lang="ja-JP" altLang="en-US" sz="1000" b="0"/>
              <a:pPr algn="ctr">
                <a:spcBef>
                  <a:spcPct val="0"/>
                </a:spcBef>
                <a:spcAft>
                  <a:spcPct val="0"/>
                </a:spcAft>
              </a:pPr>
              <a:t>11</a:t>
            </a:fld>
            <a:endParaRPr kumimoji="0" lang="ja-JP" altLang="en-US" sz="1000" b="0" dirty="0">
              <a:sym typeface="+mn-lt"/>
            </a:endParaRPr>
          </a:p>
        </p:txBody>
      </p:sp>
      <p:sp>
        <p:nvSpPr>
          <p:cNvPr id="146" name="Text Placeholder 12"/>
          <p:cNvSpPr>
            <a:spLocks noGrp="1"/>
          </p:cNvSpPr>
          <p:nvPr>
            <p:custDataLst>
              <p:tags r:id="rId198"/>
            </p:custDataLst>
          </p:nvPr>
        </p:nvSpPr>
        <p:spPr bwMode="gray">
          <a:xfrm>
            <a:off x="5157788" y="53848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D5B33BD-57B2-4617-B4C5-17D553D9C0B4}" type="datetime'''''''''''''''''''''''78''''''''''''''''''''''.''''''''3'">
              <a:rPr lang="ja-JP" altLang="en-US" sz="1000" b="0" smtClean="0">
                <a:effectLst/>
              </a:rPr>
              <a:pPr/>
              <a:t>78.3</a:t>
            </a:fld>
            <a:endParaRPr kumimoji="0" lang="ja-JP" altLang="en-US" sz="1000" b="0" dirty="0">
              <a:sym typeface="+mn-lt"/>
            </a:endParaRPr>
          </a:p>
        </p:txBody>
      </p:sp>
      <p:sp>
        <p:nvSpPr>
          <p:cNvPr id="167" name="Text Placeholder 12"/>
          <p:cNvSpPr>
            <a:spLocks noGrp="1"/>
          </p:cNvSpPr>
          <p:nvPr>
            <p:custDataLst>
              <p:tags r:id="rId199"/>
            </p:custDataLst>
          </p:nvPr>
        </p:nvSpPr>
        <p:spPr bwMode="gray">
          <a:xfrm>
            <a:off x="5157788" y="60293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B17B5B4-E0CB-4163-900F-386A11A97CA6}" type="datetime'''''''''''''''1''''''''3''''''''.5'">
              <a:rPr lang="ja-JP" altLang="en-US" sz="1000" b="0" smtClean="0">
                <a:solidFill>
                  <a:schemeClr val="bg1"/>
                </a:solidFill>
                <a:effectLst/>
              </a:rPr>
              <a:pPr/>
              <a:t>13.5</a:t>
            </a:fld>
            <a:endParaRPr kumimoji="0" lang="ja-JP" altLang="en-US" sz="1000" b="0" dirty="0">
              <a:solidFill>
                <a:schemeClr val="bg1"/>
              </a:solidFill>
              <a:sym typeface="+mn-lt"/>
            </a:endParaRPr>
          </a:p>
        </p:txBody>
      </p:sp>
      <p:sp>
        <p:nvSpPr>
          <p:cNvPr id="118" name="Text Placeholder 12"/>
          <p:cNvSpPr>
            <a:spLocks noGrp="1"/>
          </p:cNvSpPr>
          <p:nvPr>
            <p:custDataLst>
              <p:tags r:id="rId200"/>
            </p:custDataLst>
          </p:nvPr>
        </p:nvSpPr>
        <p:spPr bwMode="auto">
          <a:xfrm>
            <a:off x="55673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189CAFD-4474-4EA7-9F6D-0A1DC54822BB}" type="datetime'''''''''''''''''''''''''''''''''''''1''''''''4'''''''''''''''">
              <a:rPr lang="ja-JP" altLang="en-US" sz="1000" b="0"/>
              <a:pPr algn="ctr">
                <a:spcBef>
                  <a:spcPct val="0"/>
                </a:spcBef>
                <a:spcAft>
                  <a:spcPct val="0"/>
                </a:spcAft>
              </a:pPr>
              <a:t>14</a:t>
            </a:fld>
            <a:endParaRPr kumimoji="0" lang="ja-JP" altLang="en-US" sz="1000" b="0" dirty="0">
              <a:sym typeface="+mn-lt"/>
            </a:endParaRPr>
          </a:p>
        </p:txBody>
      </p:sp>
      <p:sp>
        <p:nvSpPr>
          <p:cNvPr id="169" name="Text Placeholder 12"/>
          <p:cNvSpPr>
            <a:spLocks noGrp="1"/>
          </p:cNvSpPr>
          <p:nvPr>
            <p:custDataLst>
              <p:tags r:id="rId201"/>
            </p:custDataLst>
          </p:nvPr>
        </p:nvSpPr>
        <p:spPr bwMode="gray">
          <a:xfrm>
            <a:off x="5848350" y="60356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DDFF909-6D43-4901-B1DE-CD074261103A}" type="datetime'''1''''2''''''''''.''''7'''''''''''''''''''''''''''">
              <a:rPr lang="ja-JP" altLang="en-US" sz="1000" b="0" smtClean="0">
                <a:solidFill>
                  <a:schemeClr val="bg1"/>
                </a:solidFill>
                <a:effectLst/>
              </a:rPr>
              <a:pPr/>
              <a:t>12.7</a:t>
            </a:fld>
            <a:endParaRPr kumimoji="0" lang="ja-JP" altLang="en-US" sz="1000" b="0" dirty="0">
              <a:solidFill>
                <a:schemeClr val="bg1"/>
              </a:solidFill>
              <a:sym typeface="+mn-lt"/>
            </a:endParaRPr>
          </a:p>
        </p:txBody>
      </p:sp>
      <p:sp>
        <p:nvSpPr>
          <p:cNvPr id="119" name="Text Placeholder 12"/>
          <p:cNvSpPr>
            <a:spLocks noGrp="1"/>
          </p:cNvSpPr>
          <p:nvPr>
            <p:custDataLst>
              <p:tags r:id="rId202"/>
            </p:custDataLst>
          </p:nvPr>
        </p:nvSpPr>
        <p:spPr bwMode="auto">
          <a:xfrm>
            <a:off x="59118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E22820E-F5DA-4AE0-B906-5F48A9FE4173}" type="datetime'1''''''''''''''''''''''''''''''''''''''''''''5'''''">
              <a:rPr lang="ja-JP" altLang="en-US" sz="1000" b="0"/>
              <a:pPr algn="ctr">
                <a:spcBef>
                  <a:spcPct val="0"/>
                </a:spcBef>
                <a:spcAft>
                  <a:spcPct val="0"/>
                </a:spcAft>
              </a:pPr>
              <a:t>15</a:t>
            </a:fld>
            <a:endParaRPr kumimoji="0" lang="ja-JP" altLang="en-US" sz="1000" b="0" dirty="0">
              <a:sym typeface="+mn-lt"/>
            </a:endParaRPr>
          </a:p>
        </p:txBody>
      </p:sp>
      <p:sp>
        <p:nvSpPr>
          <p:cNvPr id="170" name="Text Placeholder 12"/>
          <p:cNvSpPr>
            <a:spLocks noGrp="1"/>
          </p:cNvSpPr>
          <p:nvPr>
            <p:custDataLst>
              <p:tags r:id="rId203"/>
            </p:custDataLst>
          </p:nvPr>
        </p:nvSpPr>
        <p:spPr bwMode="gray">
          <a:xfrm>
            <a:off x="6194425" y="60372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AB105BF-0AF8-40B4-8D48-94247E7E0879}" type="datetime'''''''''12.''''''''''''''''''''4'''''''''''''''''''''">
              <a:rPr lang="ja-JP" altLang="en-US" sz="1000" b="0" smtClean="0">
                <a:solidFill>
                  <a:schemeClr val="bg1"/>
                </a:solidFill>
                <a:effectLst/>
              </a:rPr>
              <a:pPr/>
              <a:t>12.4</a:t>
            </a:fld>
            <a:endParaRPr kumimoji="0" lang="ja-JP" altLang="en-US" sz="1000" b="0" dirty="0">
              <a:solidFill>
                <a:schemeClr val="bg1"/>
              </a:solidFill>
              <a:sym typeface="+mn-lt"/>
            </a:endParaRPr>
          </a:p>
        </p:txBody>
      </p:sp>
      <p:sp>
        <p:nvSpPr>
          <p:cNvPr id="149" name="Text Placeholder 12"/>
          <p:cNvSpPr>
            <a:spLocks noGrp="1"/>
          </p:cNvSpPr>
          <p:nvPr>
            <p:custDataLst>
              <p:tags r:id="rId204"/>
            </p:custDataLst>
          </p:nvPr>
        </p:nvSpPr>
        <p:spPr bwMode="gray">
          <a:xfrm>
            <a:off x="6194425" y="54022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6751DD1-272E-41F9-9322-6DD86FA68DAA}" type="datetime'''''''''''''''''7''''''''''''''''''''8.''''''''''''''''0'''''">
              <a:rPr lang="ja-JP" altLang="en-US" sz="1000" b="0" smtClean="0">
                <a:effectLst/>
              </a:rPr>
              <a:pPr/>
              <a:t>78.0</a:t>
            </a:fld>
            <a:endParaRPr kumimoji="0" lang="ja-JP" altLang="en-US" sz="1000" b="0" dirty="0">
              <a:sym typeface="+mn-lt"/>
            </a:endParaRPr>
          </a:p>
        </p:txBody>
      </p:sp>
      <p:sp>
        <p:nvSpPr>
          <p:cNvPr id="120" name="Text Placeholder 12"/>
          <p:cNvSpPr>
            <a:spLocks noGrp="1"/>
          </p:cNvSpPr>
          <p:nvPr>
            <p:custDataLst>
              <p:tags r:id="rId205"/>
            </p:custDataLst>
          </p:nvPr>
        </p:nvSpPr>
        <p:spPr bwMode="auto">
          <a:xfrm>
            <a:off x="62579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74D5B59-A911-4290-B4CA-3337FD5D6CE2}" type="datetime'''''''''1''''''''6'''''''''''''''">
              <a:rPr lang="ja-JP" altLang="en-US" sz="1000" b="0"/>
              <a:pPr algn="ctr">
                <a:spcBef>
                  <a:spcPct val="0"/>
                </a:spcBef>
                <a:spcAft>
                  <a:spcPct val="0"/>
                </a:spcAft>
              </a:pPr>
              <a:t>16</a:t>
            </a:fld>
            <a:endParaRPr kumimoji="0" lang="ja-JP" altLang="en-US" sz="1000" b="0" dirty="0">
              <a:sym typeface="+mn-lt"/>
            </a:endParaRPr>
          </a:p>
        </p:txBody>
      </p:sp>
      <p:sp>
        <p:nvSpPr>
          <p:cNvPr id="209" name="テキスト プレースホルダ 9"/>
          <p:cNvSpPr>
            <a:spLocks noGrp="1"/>
          </p:cNvSpPr>
          <p:nvPr>
            <p:custDataLst>
              <p:tags r:id="rId206"/>
            </p:custDataLst>
          </p:nvPr>
        </p:nvSpPr>
        <p:spPr bwMode="gray">
          <a:xfrm>
            <a:off x="6540500" y="5408613"/>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BC3CE1C-827B-4E04-95BA-8B53EDE08078}" type="datetime'''''''7''''''''''''''''7''''''''''''''''''''.''''''3'">
              <a:rPr lang="ja-JP" altLang="en-US" sz="1000" smtClean="0">
                <a:effectLst/>
              </a:rPr>
              <a:pPr/>
              <a:t>77.3</a:t>
            </a:fld>
            <a:endParaRPr kumimoji="0" lang="ja-JP" altLang="en-US" sz="1000" dirty="0">
              <a:sym typeface="+mn-lt"/>
            </a:endParaRPr>
          </a:p>
        </p:txBody>
      </p:sp>
      <p:sp>
        <p:nvSpPr>
          <p:cNvPr id="212" name="テキスト プレースホルダ 9"/>
          <p:cNvSpPr>
            <a:spLocks noGrp="1"/>
          </p:cNvSpPr>
          <p:nvPr>
            <p:custDataLst>
              <p:tags r:id="rId207"/>
            </p:custDataLst>
          </p:nvPr>
        </p:nvSpPr>
        <p:spPr bwMode="gray">
          <a:xfrm>
            <a:off x="6540500" y="6037263"/>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835F610-666F-40DB-9F52-00EEA1868DD9}" type="datetime'''''1''''''''''2''''''.3'''''''''''''''''''''''''''''''''''">
              <a:rPr lang="ja-JP" altLang="en-US" sz="1000" smtClean="0">
                <a:solidFill>
                  <a:schemeClr val="bg1"/>
                </a:solidFill>
                <a:effectLst/>
              </a:rPr>
              <a:pPr/>
              <a:t>12.3</a:t>
            </a:fld>
            <a:endParaRPr kumimoji="0" lang="ja-JP" altLang="en-US" sz="1000" dirty="0">
              <a:solidFill>
                <a:schemeClr val="bg1"/>
              </a:solidFill>
              <a:sym typeface="+mn-lt"/>
            </a:endParaRPr>
          </a:p>
        </p:txBody>
      </p:sp>
      <p:sp>
        <p:nvSpPr>
          <p:cNvPr id="124" name="Text Placeholder 12"/>
          <p:cNvSpPr>
            <a:spLocks noGrp="1"/>
          </p:cNvSpPr>
          <p:nvPr>
            <p:custDataLst>
              <p:tags r:id="rId208"/>
            </p:custDataLst>
          </p:nvPr>
        </p:nvSpPr>
        <p:spPr bwMode="auto">
          <a:xfrm>
            <a:off x="83327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FDBE6E2-8222-4BD6-8F78-051D45DA7F7F}" type="datetime'''''''''''''''''''''3''''''''0'''''''">
              <a:rPr lang="ja-JP" altLang="en-US" sz="1000" b="0" smtClean="0"/>
              <a:pPr/>
              <a:t>30</a:t>
            </a:fld>
            <a:endParaRPr kumimoji="0" lang="ja-JP" altLang="en-US" sz="1000" b="0" dirty="0">
              <a:sym typeface="+mn-lt"/>
            </a:endParaRPr>
          </a:p>
        </p:txBody>
      </p:sp>
      <p:sp>
        <p:nvSpPr>
          <p:cNvPr id="213" name="テキスト プレースホルダ 9"/>
          <p:cNvSpPr>
            <a:spLocks noGrp="1"/>
          </p:cNvSpPr>
          <p:nvPr>
            <p:custDataLst>
              <p:tags r:id="rId209"/>
            </p:custDataLst>
          </p:nvPr>
        </p:nvSpPr>
        <p:spPr bwMode="gray">
          <a:xfrm>
            <a:off x="6886575" y="5414963"/>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0D3E93B-9D6E-4405-8DC5-2DFE97CC02C3}" type="datetime'''''''''''''''''7''6''''''.5'''''''''''''''''''''''''">
              <a:rPr lang="ja-JP" altLang="en-US" sz="1000" smtClean="0">
                <a:effectLst/>
              </a:rPr>
              <a:pPr/>
              <a:t>76.5</a:t>
            </a:fld>
            <a:endParaRPr kumimoji="0" lang="ja-JP" altLang="en-US" sz="1000" dirty="0">
              <a:sym typeface="+mn-lt"/>
            </a:endParaRPr>
          </a:p>
        </p:txBody>
      </p:sp>
      <p:sp>
        <p:nvSpPr>
          <p:cNvPr id="211" name="テキスト プレースホルダ 9"/>
          <p:cNvSpPr>
            <a:spLocks noGrp="1"/>
          </p:cNvSpPr>
          <p:nvPr>
            <p:custDataLst>
              <p:tags r:id="rId210"/>
            </p:custDataLst>
          </p:nvPr>
        </p:nvSpPr>
        <p:spPr bwMode="gray">
          <a:xfrm>
            <a:off x="6886575" y="6038850"/>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854FA1-8113-44E0-B796-A748FFC28B50}" type="datetime'''''1''''''''''''''2''''''''''''''.''''''''''2'''''''''''''">
              <a:rPr lang="ja-JP" altLang="en-US" sz="1000" smtClean="0">
                <a:solidFill>
                  <a:schemeClr val="bg1"/>
                </a:solidFill>
                <a:effectLst/>
              </a:rPr>
              <a:pPr/>
              <a:t>12.2</a:t>
            </a:fld>
            <a:endParaRPr kumimoji="0" lang="ja-JP" altLang="en-US" sz="1000" dirty="0">
              <a:solidFill>
                <a:schemeClr val="bg1"/>
              </a:solidFill>
              <a:sym typeface="+mn-lt"/>
            </a:endParaRPr>
          </a:p>
        </p:txBody>
      </p:sp>
      <p:sp>
        <p:nvSpPr>
          <p:cNvPr id="207" name="Text Placeholder 12"/>
          <p:cNvSpPr>
            <a:spLocks noGrp="1"/>
          </p:cNvSpPr>
          <p:nvPr>
            <p:custDataLst>
              <p:tags r:id="rId211"/>
            </p:custDataLst>
          </p:nvPr>
        </p:nvSpPr>
        <p:spPr bwMode="auto">
          <a:xfrm>
            <a:off x="69500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EC9A23-195A-489A-A845-607E2D11F7FE}" type="datetime'''''''''''''''''1''''''''8'''''''''''''''''''''''">
              <a:rPr lang="en-US" altLang="en-US" sz="1000" b="0" smtClean="0"/>
              <a:pPr algn="ctr">
                <a:spcBef>
                  <a:spcPct val="0"/>
                </a:spcBef>
                <a:spcAft>
                  <a:spcPct val="0"/>
                </a:spcAft>
              </a:pPr>
              <a:t>18</a:t>
            </a:fld>
            <a:endParaRPr kumimoji="0" lang="ja-JP" altLang="en-US" sz="1000" b="0" dirty="0">
              <a:sym typeface="+mn-lt"/>
            </a:endParaRPr>
          </a:p>
        </p:txBody>
      </p:sp>
      <p:sp>
        <p:nvSpPr>
          <p:cNvPr id="129" name="Text Placeholder 12"/>
          <p:cNvSpPr>
            <a:spLocks noGrp="1"/>
          </p:cNvSpPr>
          <p:nvPr>
            <p:custDataLst>
              <p:tags r:id="rId212"/>
            </p:custDataLst>
          </p:nvPr>
        </p:nvSpPr>
        <p:spPr bwMode="gray">
          <a:xfrm>
            <a:off x="7231063" y="4806950"/>
            <a:ext cx="279400" cy="152400"/>
          </a:xfrm>
          <a:prstGeom prst="rect">
            <a:avLst/>
          </a:prstGeom>
          <a:solidFill>
            <a:srgbClr val="C0E6F4"/>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3C4305A-DCEE-4A0D-A765-30EC9EB2A101}" type="datetime'''''''''1''''''''''''''''''''''2''''.''''''''''''''''''''2'">
              <a:rPr lang="ja-JP" altLang="en-US" sz="1000" b="0" smtClean="0">
                <a:effectLst/>
              </a:rPr>
              <a:pPr/>
              <a:t>12.2</a:t>
            </a:fld>
            <a:endParaRPr kumimoji="0" lang="ja-JP" altLang="en-US" sz="1000" b="0" dirty="0">
              <a:sym typeface="+mn-lt"/>
            </a:endParaRPr>
          </a:p>
        </p:txBody>
      </p:sp>
      <p:sp>
        <p:nvSpPr>
          <p:cNvPr id="150" name="Text Placeholder 12"/>
          <p:cNvSpPr>
            <a:spLocks noGrp="1"/>
          </p:cNvSpPr>
          <p:nvPr>
            <p:custDataLst>
              <p:tags r:id="rId213"/>
            </p:custDataLst>
          </p:nvPr>
        </p:nvSpPr>
        <p:spPr bwMode="gray">
          <a:xfrm>
            <a:off x="7231063" y="54229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C310D8C-FEFB-42E2-B043-5462C1941CAA}" type="datetime'''7''''''''''''''5.''''''''''''''''''''''''''''''6'''''''''">
              <a:rPr lang="ja-JP" altLang="en-US" sz="1000" b="0" smtClean="0">
                <a:effectLst/>
              </a:rPr>
              <a:pPr/>
              <a:t>75.6</a:t>
            </a:fld>
            <a:endParaRPr kumimoji="0" lang="ja-JP" altLang="en-US" sz="1000" b="0" dirty="0">
              <a:sym typeface="+mn-lt"/>
            </a:endParaRPr>
          </a:p>
        </p:txBody>
      </p:sp>
      <p:sp>
        <p:nvSpPr>
          <p:cNvPr id="171" name="Text Placeholder 12"/>
          <p:cNvSpPr>
            <a:spLocks noGrp="1"/>
          </p:cNvSpPr>
          <p:nvPr>
            <p:custDataLst>
              <p:tags r:id="rId214"/>
            </p:custDataLst>
          </p:nvPr>
        </p:nvSpPr>
        <p:spPr bwMode="gray">
          <a:xfrm>
            <a:off x="7231063" y="60388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D084019-0D12-4874-B475-6C903341B1B9}" type="datetime'''''''''''''''''''''''''''1''''''''''''''''''''''2''''.''2'">
              <a:rPr lang="ja-JP" altLang="en-US" sz="1000" b="0" smtClean="0">
                <a:solidFill>
                  <a:schemeClr val="bg1"/>
                </a:solidFill>
                <a:effectLst/>
              </a:rPr>
              <a:pPr/>
              <a:t>12.2</a:t>
            </a:fld>
            <a:endParaRPr kumimoji="0" lang="ja-JP" altLang="en-US" sz="1000" b="0" dirty="0">
              <a:solidFill>
                <a:schemeClr val="bg1"/>
              </a:solidFill>
              <a:sym typeface="+mn-lt"/>
            </a:endParaRPr>
          </a:p>
        </p:txBody>
      </p:sp>
      <p:sp>
        <p:nvSpPr>
          <p:cNvPr id="151" name="Text Placeholder 12"/>
          <p:cNvSpPr>
            <a:spLocks noGrp="1"/>
          </p:cNvSpPr>
          <p:nvPr>
            <p:custDataLst>
              <p:tags r:id="rId215"/>
            </p:custDataLst>
          </p:nvPr>
        </p:nvSpPr>
        <p:spPr bwMode="gray">
          <a:xfrm>
            <a:off x="7577138" y="54292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AE2A7AA-F13D-4002-B570-37752F6C9934}" type="datetime'''''7''''''''''''4''''''''''''.''''''''7'">
              <a:rPr lang="ja-JP" altLang="en-US" sz="1000" b="0" smtClean="0">
                <a:effectLst/>
              </a:rPr>
              <a:pPr/>
              <a:t>74.7</a:t>
            </a:fld>
            <a:endParaRPr kumimoji="0" lang="ja-JP" altLang="en-US" sz="1000" b="0" dirty="0">
              <a:sym typeface="+mn-lt"/>
            </a:endParaRPr>
          </a:p>
        </p:txBody>
      </p:sp>
      <p:sp>
        <p:nvSpPr>
          <p:cNvPr id="172" name="Text Placeholder 12"/>
          <p:cNvSpPr>
            <a:spLocks noGrp="1"/>
          </p:cNvSpPr>
          <p:nvPr>
            <p:custDataLst>
              <p:tags r:id="rId216"/>
            </p:custDataLst>
          </p:nvPr>
        </p:nvSpPr>
        <p:spPr bwMode="gray">
          <a:xfrm>
            <a:off x="7577138" y="60388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2A734E4-7FAC-4839-BC66-3AB2B2454D77}" type="datetime'''''''1''''''''''''''''2''''''''''.''''''''''2'''''''''''''''">
              <a:rPr lang="ja-JP" altLang="en-US" sz="1000" b="0" smtClean="0">
                <a:solidFill>
                  <a:schemeClr val="bg1"/>
                </a:solidFill>
                <a:effectLst/>
              </a:rPr>
              <a:pPr/>
              <a:t>12.2</a:t>
            </a:fld>
            <a:endParaRPr kumimoji="0" lang="ja-JP" altLang="en-US" sz="1000" b="0" dirty="0">
              <a:solidFill>
                <a:schemeClr val="bg1"/>
              </a:solidFill>
              <a:sym typeface="+mn-lt"/>
            </a:endParaRPr>
          </a:p>
        </p:txBody>
      </p:sp>
      <p:sp>
        <p:nvSpPr>
          <p:cNvPr id="156" name="Text Placeholder 12"/>
          <p:cNvSpPr>
            <a:spLocks noGrp="1"/>
          </p:cNvSpPr>
          <p:nvPr>
            <p:custDataLst>
              <p:tags r:id="rId217"/>
            </p:custDataLst>
          </p:nvPr>
        </p:nvSpPr>
        <p:spPr bwMode="gray">
          <a:xfrm>
            <a:off x="1355725" y="59928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DE0E8F0-D71A-487D-BA34-56050D9A9F00}" type="datetime'''''''''''''1''''''''''''''''''8.8'''''''''''''''''''">
              <a:rPr lang="ja-JP" altLang="en-US" sz="1000" b="0" smtClean="0">
                <a:solidFill>
                  <a:schemeClr val="bg1"/>
                </a:solidFill>
                <a:effectLst/>
              </a:rPr>
              <a:pPr/>
              <a:t>18.8</a:t>
            </a:fld>
            <a:endParaRPr kumimoji="0" lang="ja-JP" altLang="en-US" sz="1000" b="0" dirty="0">
              <a:solidFill>
                <a:schemeClr val="bg1"/>
              </a:solidFill>
              <a:sym typeface="+mn-lt"/>
            </a:endParaRPr>
          </a:p>
        </p:txBody>
      </p:sp>
      <p:sp>
        <p:nvSpPr>
          <p:cNvPr id="152" name="Text Placeholder 12"/>
          <p:cNvSpPr>
            <a:spLocks noGrp="1"/>
          </p:cNvSpPr>
          <p:nvPr>
            <p:custDataLst>
              <p:tags r:id="rId218"/>
            </p:custDataLst>
          </p:nvPr>
        </p:nvSpPr>
        <p:spPr bwMode="gray">
          <a:xfrm>
            <a:off x="7923213" y="54371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388100E-729F-491B-B869-465B070F677D}" type="datetime'''''''''''''7''''''''3''''''''''''.''''9'''''''''''''''''">
              <a:rPr lang="ja-JP" altLang="en-US" sz="1000" b="0" smtClean="0">
                <a:effectLst/>
              </a:rPr>
              <a:pPr/>
              <a:t>73.9</a:t>
            </a:fld>
            <a:endParaRPr kumimoji="0" lang="ja-JP" altLang="en-US" sz="1000" b="0" dirty="0">
              <a:sym typeface="+mn-lt"/>
            </a:endParaRPr>
          </a:p>
        </p:txBody>
      </p:sp>
      <p:sp>
        <p:nvSpPr>
          <p:cNvPr id="320" name="テキスト プレースホルダ 9">
            <a:extLst>
              <a:ext uri="{FF2B5EF4-FFF2-40B4-BE49-F238E27FC236}">
                <a16:creationId xmlns:a16="http://schemas.microsoft.com/office/drawing/2014/main" id="{FE260616-8365-43E8-B53B-A943D617D0D8}"/>
              </a:ext>
            </a:extLst>
          </p:cNvPr>
          <p:cNvSpPr>
            <a:spLocks noGrp="1"/>
          </p:cNvSpPr>
          <p:nvPr>
            <p:custDataLst>
              <p:tags r:id="rId219"/>
            </p:custDataLst>
          </p:nvPr>
        </p:nvSpPr>
        <p:spPr bwMode="gray">
          <a:xfrm>
            <a:off x="8613775" y="6053138"/>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9F65F59-DF08-4396-A725-DF30016C9CD1}" type="datetime'''1''''''''''''0''''''''''.''''''''''''''''''''0'''">
              <a:rPr lang="ja-JP" altLang="en-US" sz="1000" smtClean="0">
                <a:solidFill>
                  <a:schemeClr val="bg1"/>
                </a:solidFill>
                <a:effectLst/>
                <a:sym typeface="+mn-lt"/>
              </a:rPr>
              <a:pPr marL="0" indent="0" algn="ctr">
                <a:spcBef>
                  <a:spcPct val="0"/>
                </a:spcBef>
                <a:buNone/>
              </a:pPr>
              <a:t>10.0</a:t>
            </a:fld>
            <a:endParaRPr lang="ja-JP" altLang="en-US" sz="1000" dirty="0">
              <a:solidFill>
                <a:schemeClr val="bg1"/>
              </a:solidFill>
              <a:sym typeface="+mn-lt"/>
            </a:endParaRPr>
          </a:p>
        </p:txBody>
      </p:sp>
      <p:sp>
        <p:nvSpPr>
          <p:cNvPr id="313" name="テキスト プレースホルダ 9">
            <a:extLst>
              <a:ext uri="{FF2B5EF4-FFF2-40B4-BE49-F238E27FC236}">
                <a16:creationId xmlns:a16="http://schemas.microsoft.com/office/drawing/2014/main" id="{BA66B69D-6B10-42F1-B692-E4E77120CE66}"/>
              </a:ext>
            </a:extLst>
          </p:cNvPr>
          <p:cNvSpPr>
            <a:spLocks noGrp="1"/>
          </p:cNvSpPr>
          <p:nvPr>
            <p:custDataLst>
              <p:tags r:id="rId220"/>
            </p:custDataLst>
          </p:nvPr>
        </p:nvSpPr>
        <p:spPr bwMode="gray">
          <a:xfrm>
            <a:off x="8269288" y="550386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7117CAF-002F-453D-9C92-F5D9407CCF46}" type="datetime'''''''''''''''''''''6''''''''''''''6''.''''''''''''0'''''''''">
              <a:rPr lang="ja-JP" altLang="en-US" sz="1000" smtClean="0">
                <a:effectLst/>
                <a:sym typeface="+mn-lt"/>
              </a:rPr>
              <a:pPr marL="0" indent="0" algn="ctr">
                <a:spcBef>
                  <a:spcPct val="0"/>
                </a:spcBef>
                <a:buNone/>
              </a:pPr>
              <a:t>66.0</a:t>
            </a:fld>
            <a:endParaRPr lang="ja-JP" altLang="en-US" sz="1000" dirty="0">
              <a:sym typeface="+mn-lt"/>
            </a:endParaRPr>
          </a:p>
        </p:txBody>
      </p:sp>
      <p:sp>
        <p:nvSpPr>
          <p:cNvPr id="316" name="テキスト プレースホルダ 9">
            <a:extLst>
              <a:ext uri="{FF2B5EF4-FFF2-40B4-BE49-F238E27FC236}">
                <a16:creationId xmlns:a16="http://schemas.microsoft.com/office/drawing/2014/main" id="{BCE4E5F5-FDBC-4D2E-BCF5-DF02E2C9554B}"/>
              </a:ext>
            </a:extLst>
          </p:cNvPr>
          <p:cNvSpPr>
            <a:spLocks noGrp="1"/>
          </p:cNvSpPr>
          <p:nvPr>
            <p:custDataLst>
              <p:tags r:id="rId221"/>
            </p:custDataLst>
          </p:nvPr>
        </p:nvSpPr>
        <p:spPr bwMode="gray">
          <a:xfrm>
            <a:off x="8613775" y="556101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CF8872-564D-4698-87B3-2646E1F14F57}" type="datetime'''''''''''''''''''''6''''''''''''''0.''''''2'''''''''''''''''">
              <a:rPr lang="ja-JP" altLang="en-US" sz="1000" smtClean="0">
                <a:effectLst/>
                <a:sym typeface="+mn-lt"/>
              </a:rPr>
              <a:pPr marL="0" indent="0" algn="ctr">
                <a:spcBef>
                  <a:spcPct val="0"/>
                </a:spcBef>
                <a:buNone/>
              </a:pPr>
              <a:t>60.2</a:t>
            </a:fld>
            <a:endParaRPr lang="ja-JP" altLang="en-US" sz="1000" dirty="0">
              <a:sym typeface="+mn-lt"/>
            </a:endParaRPr>
          </a:p>
        </p:txBody>
      </p:sp>
      <p:sp>
        <p:nvSpPr>
          <p:cNvPr id="319" name="テキスト プレースホルダ 9">
            <a:extLst>
              <a:ext uri="{FF2B5EF4-FFF2-40B4-BE49-F238E27FC236}">
                <a16:creationId xmlns:a16="http://schemas.microsoft.com/office/drawing/2014/main" id="{86BAEA56-9B45-4FA0-953D-FC2B5545E33B}"/>
              </a:ext>
            </a:extLst>
          </p:cNvPr>
          <p:cNvSpPr>
            <a:spLocks noGrp="1"/>
          </p:cNvSpPr>
          <p:nvPr>
            <p:custDataLst>
              <p:tags r:id="rId222"/>
            </p:custDataLst>
          </p:nvPr>
        </p:nvSpPr>
        <p:spPr bwMode="gray">
          <a:xfrm>
            <a:off x="8613775" y="4929188"/>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C0FBDB5-AD07-432D-B165-6283098A4E36}" type="datetime'''''2''''9''''''''''''''''''''''''''''''''''''''''''.''''''8'">
              <a:rPr lang="ja-JP" altLang="en-US" sz="1000" smtClean="0">
                <a:effectLst/>
                <a:sym typeface="+mn-lt"/>
              </a:rPr>
              <a:pPr marL="0" indent="0" algn="ctr">
                <a:spcBef>
                  <a:spcPct val="0"/>
                </a:spcBef>
                <a:buNone/>
              </a:pPr>
              <a:t>29.8</a:t>
            </a:fld>
            <a:endParaRPr lang="ja-JP" altLang="en-US" sz="1000" dirty="0">
              <a:sym typeface="+mn-lt"/>
            </a:endParaRPr>
          </a:p>
        </p:txBody>
      </p:sp>
      <p:sp>
        <p:nvSpPr>
          <p:cNvPr id="323" name="テキスト プレースホルダ 9">
            <a:extLst>
              <a:ext uri="{FF2B5EF4-FFF2-40B4-BE49-F238E27FC236}">
                <a16:creationId xmlns:a16="http://schemas.microsoft.com/office/drawing/2014/main" id="{61E866FC-B48C-4F59-BE26-D52D53B77919}"/>
              </a:ext>
            </a:extLst>
          </p:cNvPr>
          <p:cNvSpPr>
            <a:spLocks noGrp="1"/>
          </p:cNvSpPr>
          <p:nvPr>
            <p:custDataLst>
              <p:tags r:id="rId223"/>
            </p:custDataLst>
          </p:nvPr>
        </p:nvSpPr>
        <p:spPr bwMode="gray">
          <a:xfrm>
            <a:off x="8269288" y="4879975"/>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7B2ADB3-8DE7-4D30-BE11-4D4BD63901CD}" type="datetime'''''''''''''2''2''''''''''.''''''8'''''''''''''''''''''">
              <a:rPr lang="ja-JP" altLang="en-US" sz="1000" smtClean="0">
                <a:effectLst/>
                <a:sym typeface="+mn-lt"/>
              </a:rPr>
              <a:pPr marL="0" indent="0" algn="ctr">
                <a:spcBef>
                  <a:spcPct val="0"/>
                </a:spcBef>
                <a:buNone/>
              </a:pPr>
              <a:t>22.8</a:t>
            </a:fld>
            <a:endParaRPr lang="ja-JP" altLang="en-US" sz="1000" dirty="0">
              <a:sym typeface="+mn-lt"/>
            </a:endParaRPr>
          </a:p>
        </p:txBody>
      </p:sp>
      <p:sp>
        <p:nvSpPr>
          <p:cNvPr id="324" name="テキスト プレースホルダ 9">
            <a:extLst>
              <a:ext uri="{FF2B5EF4-FFF2-40B4-BE49-F238E27FC236}">
                <a16:creationId xmlns:a16="http://schemas.microsoft.com/office/drawing/2014/main" id="{B7194AEE-54FE-4EB3-9E5E-5205EF2F271D}"/>
              </a:ext>
            </a:extLst>
          </p:cNvPr>
          <p:cNvSpPr>
            <a:spLocks noGrp="1"/>
          </p:cNvSpPr>
          <p:nvPr>
            <p:custDataLst>
              <p:tags r:id="rId224"/>
            </p:custDataLst>
          </p:nvPr>
        </p:nvSpPr>
        <p:spPr bwMode="gray">
          <a:xfrm>
            <a:off x="8269288" y="6045200"/>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424AC72-F33D-48B6-9497-C501840A2D62}" type="datetime'''''''''1''''''''1''''.''''''2'''''''''''''">
              <a:rPr lang="ja-JP" altLang="en-US" sz="1000" smtClean="0">
                <a:solidFill>
                  <a:schemeClr val="bg1"/>
                </a:solidFill>
                <a:effectLst/>
                <a:sym typeface="+mn-lt"/>
              </a:rPr>
              <a:pPr marL="0" indent="0" algn="ctr">
                <a:spcBef>
                  <a:spcPct val="0"/>
                </a:spcBef>
                <a:buNone/>
              </a:pPr>
              <a:t>11.2</a:t>
            </a:fld>
            <a:endParaRPr lang="ja-JP" altLang="en-US" sz="1000" dirty="0">
              <a:solidFill>
                <a:schemeClr val="bg1"/>
              </a:solidFill>
              <a:sym typeface="+mn-lt"/>
            </a:endParaRPr>
          </a:p>
        </p:txBody>
      </p:sp>
      <p:sp>
        <p:nvSpPr>
          <p:cNvPr id="154" name="Text Placeholder 12"/>
          <p:cNvSpPr>
            <a:spLocks noGrp="1"/>
          </p:cNvSpPr>
          <p:nvPr>
            <p:custDataLst>
              <p:tags r:id="rId225"/>
            </p:custDataLst>
          </p:nvPr>
        </p:nvSpPr>
        <p:spPr bwMode="gray">
          <a:xfrm>
            <a:off x="663575" y="59896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B5C5A21-8812-4745-8614-18D0356AB4B9}" type="datetime'1''''''9''.''''''''''''''''1'''''''''''''''''''''">
              <a:rPr lang="ja-JP" altLang="en-US" sz="1000" b="0" smtClean="0">
                <a:solidFill>
                  <a:schemeClr val="bg1"/>
                </a:solidFill>
                <a:effectLst/>
              </a:rPr>
              <a:pPr/>
              <a:t>19.1</a:t>
            </a:fld>
            <a:endParaRPr kumimoji="0" lang="ja-JP" altLang="en-US" sz="1000" b="0" dirty="0">
              <a:solidFill>
                <a:schemeClr val="bg1"/>
              </a:solidFill>
              <a:sym typeface="+mn-lt"/>
            </a:endParaRPr>
          </a:p>
        </p:txBody>
      </p:sp>
    </p:spTree>
    <p:extLst>
      <p:ext uri="{BB962C8B-B14F-4D97-AF65-F5344CB8AC3E}">
        <p14:creationId xmlns:p14="http://schemas.microsoft.com/office/powerpoint/2010/main" val="139840166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latin typeface="HGP創英角ｺﾞｼｯｸUB" panose="020B0A00000000000000" pitchFamily="34" charset="-128"/>
              </a:rPr>
              <a:t>日本との関わり</a:t>
            </a:r>
            <a:endParaRPr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93633283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F330B40-92A2-45F2-A6E0-151536FB217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4"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0F330B40-92A2-45F2-A6E0-151536FB21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交関係（</a:t>
            </a:r>
            <a:r>
              <a:rPr lang="en-US" altLang="ja-JP" dirty="0"/>
              <a:t>1/2</a:t>
            </a:r>
            <a:r>
              <a:rPr lang="ja-JP" altLang="en-US" dirty="0"/>
              <a:t>）</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の主な往訪者は下記の通り。</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　</a:t>
            </a:r>
            <a:r>
              <a:rPr lang="en-US" altLang="ja-JP" sz="800" dirty="0"/>
              <a:t>https://www.mofa.go.jp/mofaj/area/singapore/data.html#section6</a:t>
            </a:r>
            <a:endParaRPr lang="ja-JP" altLang="en-US" sz="800" dirty="0"/>
          </a:p>
        </p:txBody>
      </p:sp>
      <p:sp>
        <p:nvSpPr>
          <p:cNvPr id="13" name="片側の 2 つの角を丸めた四角形 12"/>
          <p:cNvSpPr/>
          <p:nvPr/>
        </p:nvSpPr>
        <p:spPr>
          <a:xfrm>
            <a:off x="920552" y="1993221"/>
            <a:ext cx="4392488" cy="330721"/>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シンガポール</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片側の 2 つの角を丸めた四角形 13"/>
          <p:cNvSpPr/>
          <p:nvPr/>
        </p:nvSpPr>
        <p:spPr>
          <a:xfrm>
            <a:off x="5313040" y="1993221"/>
            <a:ext cx="4392488" cy="330721"/>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3365253559"/>
              </p:ext>
            </p:extLst>
          </p:nvPr>
        </p:nvGraphicFramePr>
        <p:xfrm>
          <a:off x="200472" y="2323944"/>
          <a:ext cx="9504000" cy="4000497"/>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4392000">
                  <a:extLst>
                    <a:ext uri="{9D8B030D-6E8A-4147-A177-3AD203B41FA5}">
                      <a16:colId xmlns:a16="http://schemas.microsoft.com/office/drawing/2014/main" val="20001"/>
                    </a:ext>
                  </a:extLst>
                </a:gridCol>
                <a:gridCol w="4392000">
                  <a:extLst>
                    <a:ext uri="{9D8B030D-6E8A-4147-A177-3AD203B41FA5}">
                      <a16:colId xmlns:a16="http://schemas.microsoft.com/office/drawing/2014/main" val="20002"/>
                    </a:ext>
                  </a:extLst>
                </a:gridCol>
              </a:tblGrid>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ャンムガム外相兼法相、ウン・エンヘン国防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ゴー・チョクトン名誉上級相、リー首相、グレース・フー首相府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岸田外務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CN"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甘利経済再生担当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endParaRPr kumimoji="1" lang="en-US" altLang="zh-CN"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ー首相、ルイ・タックユー運輸相、グレース・フー首相府相、シャンムガム外相兼法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CN"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山本一太内閣府特命担当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CN"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稲田朋美内閣府特命担当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CN"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下村文部科学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endParaRPr kumimoji="1" lang="en-US" altLang="zh-CN"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ャンムガム外相兼法相、ゴー・チョクトン名誉上級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谷防衛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麻生副総理兼財務大臣</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31341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ビアン・バラクリシュナン外相、ゴー・チョクトン名誉上級相、リー首相、グルース・フー文化・地域・青年相、トニー・タン大統領、リム・スイセイ人材開発相、シム・アン上級国務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森山裕農林水産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CN"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石井啓一国土交通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岸田外務大臣</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99571">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ジョセフィン・テオ上級国務相、ヘン・スィーキェット財務相、ゴー・チョクトン名誉上級相、ガン・キムヨン保健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森山裕農林水産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298713">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ーマン・シャンムガラトナム副首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モハマド・マリキ・ビン・オスマン上級国務相、デスモンド・リー社会・家庭振興相兼第二国家開発相、ウン・エンヘン国防相、テオ・チーヒン副首相、ヘン・スィーキェット財務相、チャン・チュンシン貿易産業相、ビビアン・バラクリシュナン外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2583124866"/>
                  </a:ext>
                </a:extLst>
              </a:tr>
              <a:tr h="199142">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チャン・チュンシン貿易産業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マサゴス・ズルキフリ環境・水資源相、ウン・エンヘン国防相、ヘン・スイキャット副首相兼財務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リー・シェンロン首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20</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阪サミット出席）、ビビアン・バラクリシュナン外相（</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20</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阪サミット出席）</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481512375"/>
                  </a:ext>
                </a:extLst>
              </a:tr>
              <a:tr h="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茂木外務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CN"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河野行政改革担当大臣</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231421243"/>
                  </a:ext>
                </a:extLst>
              </a:tr>
            </a:tbl>
          </a:graphicData>
        </a:graphic>
      </p:graphicFrame>
      <p:grpSp>
        <p:nvGrpSpPr>
          <p:cNvPr id="18" name="グループ化 17"/>
          <p:cNvGrpSpPr/>
          <p:nvPr/>
        </p:nvGrpSpPr>
        <p:grpSpPr>
          <a:xfrm>
            <a:off x="204505" y="1504288"/>
            <a:ext cx="9505056" cy="288032"/>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264023638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E72F4B3-B9D4-4D12-B77F-9081B1D29F6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8"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BE72F4B3-B9D4-4D12-B77F-9081B1D29F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交関係（</a:t>
            </a:r>
            <a:r>
              <a:rPr lang="en-US" altLang="ja-JP" dirty="0"/>
              <a:t>2/2</a:t>
            </a:r>
            <a:r>
              <a:rPr lang="ja-JP" altLang="en-US" dirty="0"/>
              <a:t>）</a:t>
            </a:r>
          </a:p>
        </p:txBody>
      </p:sp>
      <p:sp>
        <p:nvSpPr>
          <p:cNvPr id="11" name="テキスト ボックス 10"/>
          <p:cNvSpPr txBox="1"/>
          <p:nvPr/>
        </p:nvSpPr>
        <p:spPr>
          <a:xfrm>
            <a:off x="200472" y="1124744"/>
            <a:ext cx="9505056" cy="144219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９月、 岸田文雄内閣総理大臣は、故安倍晋三国葬儀に参列するため訪日中のリー・シェンロン・シンガポール共和国首相と首脳会談を行い、 東シナ海・南シナ海情勢、経済的威圧、核・ミサイル問題や拉致問題を含む北朝鮮への対応等について連携していくことを一致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の他、同年５月にも岸田文雄内閣総理大臣とリー・シェンロン・シンガポール共和国首相の首脳会談が行われ、二国間関係の推進、 地域情勢及び国際場裡における協力等について議論が行われた他、 デジタル分野の協力覚書及びスタートアップ支援の協力覚書の交換式が実施された。</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r>
              <a:rPr lang="en-US" altLang="ja-JP" sz="800" dirty="0"/>
              <a:t> https://www.mofa.go.jp/mofaj/area/singapore/visit/index.html</a:t>
            </a:r>
            <a:r>
              <a:rPr lang="ja-JP" altLang="en-US" sz="800" dirty="0"/>
              <a:t>）</a:t>
            </a:r>
          </a:p>
        </p:txBody>
      </p:sp>
      <p:grpSp>
        <p:nvGrpSpPr>
          <p:cNvPr id="12" name="グループ化 11"/>
          <p:cNvGrpSpPr/>
          <p:nvPr/>
        </p:nvGrpSpPr>
        <p:grpSpPr>
          <a:xfrm>
            <a:off x="560512" y="2647798"/>
            <a:ext cx="6624736" cy="288032"/>
            <a:chOff x="200472" y="1772816"/>
            <a:chExt cx="9505056" cy="288032"/>
          </a:xfrm>
        </p:grpSpPr>
        <p:cxnSp>
          <p:nvCxnSpPr>
            <p:cNvPr id="15" name="直線コネクタ 14"/>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近年の首脳会談</a:t>
              </a:r>
            </a:p>
          </p:txBody>
        </p:sp>
      </p:grpSp>
      <p:graphicFrame>
        <p:nvGraphicFramePr>
          <p:cNvPr id="20" name="表 19"/>
          <p:cNvGraphicFramePr>
            <a:graphicFrameLocks noGrp="1"/>
          </p:cNvGraphicFramePr>
          <p:nvPr/>
        </p:nvGraphicFramePr>
        <p:xfrm>
          <a:off x="560512" y="2983300"/>
          <a:ext cx="8784976" cy="2919060"/>
        </p:xfrm>
        <a:graphic>
          <a:graphicData uri="http://schemas.openxmlformats.org/drawingml/2006/table">
            <a:tbl>
              <a:tblPr firstRow="1" bandRow="1">
                <a:tableStyleId>{5C22544A-7EE6-4342-B048-85BDC9FD1C3A}</a:tableStyleId>
              </a:tblPr>
              <a:tblGrid>
                <a:gridCol w="572870">
                  <a:extLst>
                    <a:ext uri="{9D8B030D-6E8A-4147-A177-3AD203B41FA5}">
                      <a16:colId xmlns:a16="http://schemas.microsoft.com/office/drawing/2014/main" val="20000"/>
                    </a:ext>
                  </a:extLst>
                </a:gridCol>
                <a:gridCol w="1718608">
                  <a:extLst>
                    <a:ext uri="{9D8B030D-6E8A-4147-A177-3AD203B41FA5}">
                      <a16:colId xmlns:a16="http://schemas.microsoft.com/office/drawing/2014/main" val="20001"/>
                    </a:ext>
                  </a:extLst>
                </a:gridCol>
                <a:gridCol w="2196000">
                  <a:extLst>
                    <a:ext uri="{9D8B030D-6E8A-4147-A177-3AD203B41FA5}">
                      <a16:colId xmlns:a16="http://schemas.microsoft.com/office/drawing/2014/main" val="20002"/>
                    </a:ext>
                  </a:extLst>
                </a:gridCol>
                <a:gridCol w="4297498">
                  <a:extLst>
                    <a:ext uri="{9D8B030D-6E8A-4147-A177-3AD203B41FA5}">
                      <a16:colId xmlns:a16="http://schemas.microsoft.com/office/drawing/2014/main" val="20003"/>
                    </a:ext>
                  </a:extLst>
                </a:gridCol>
              </a:tblGrid>
              <a:tr h="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程</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会談相手</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場所</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リー・シェンロン・シンガポール首相</a:t>
                      </a:r>
                      <a:endPar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ドイツ（</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20</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5"/>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リー・シェンロン・シンガポール首相</a:t>
                      </a:r>
                      <a:endPar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ンガポール（</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27792954"/>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リー・シェンロン・シンガポール首相</a:t>
                      </a:r>
                      <a:endPar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ルギー（</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SEM</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29945344"/>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リー・シェンロン・シンガポール首相</a:t>
                      </a:r>
                      <a:endPar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2209991619"/>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fontAlgn="ctr">
                        <a:spcAft>
                          <a:spcPts val="400"/>
                        </a:spcAf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リー・シェンロン・シンガポール首相</a:t>
                      </a:r>
                      <a:endPar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電話会談</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865677474"/>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1">
                        <a:lnSpc>
                          <a:spcPct val="100000"/>
                        </a:lnSpc>
                        <a:spcBef>
                          <a:spcPts val="0"/>
                        </a:spcBef>
                        <a:spcAft>
                          <a:spcPts val="40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リー・シェンロン・シンガポール首相</a:t>
                      </a:r>
                      <a:endPar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電話会談</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2827060406"/>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1">
                        <a:lnSpc>
                          <a:spcPct val="100000"/>
                        </a:lnSpc>
                        <a:spcBef>
                          <a:spcPts val="0"/>
                        </a:spcBef>
                        <a:spcAft>
                          <a:spcPts val="40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リー・シェンロン・シンガポール首相</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電話会談</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734532924"/>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1">
                        <a:lnSpc>
                          <a:spcPct val="100000"/>
                        </a:lnSpc>
                        <a:spcBef>
                          <a:spcPts val="0"/>
                        </a:spcBef>
                        <a:spcAft>
                          <a:spcPts val="40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リー・シェンロン・シンガポール首相</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官邸</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6"/>
                  </a:ext>
                </a:extLst>
              </a:tr>
              <a:tr h="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7</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a:t>
                      </a:r>
                      <a:endPar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lvl="0" indent="0" algn="l" defTabSz="914400" rtl="0" eaLnBrk="1" fontAlgn="ctr" latinLnBrk="0" hangingPunct="1">
                        <a:lnSpc>
                          <a:spcPct val="100000"/>
                        </a:lnSpc>
                        <a:spcBef>
                          <a:spcPts val="0"/>
                        </a:spcBef>
                        <a:spcAft>
                          <a:spcPts val="40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リー・シェンロン・シンガポール首相</a:t>
                      </a:r>
                      <a:endPar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迎賓館赤坂離宮</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12131126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8E9696D-BA9A-41F3-8E55-CE33A275674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2"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68E9696D-BA9A-41F3-8E55-CE33A27567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r>
              <a:rPr lang="en-US" altLang="ja-JP" dirty="0"/>
              <a:t>1/2</a:t>
            </a:r>
            <a:r>
              <a:rPr lang="ja-JP" altLang="en-US" dirty="0"/>
              <a:t>）</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に、医療国際化に関係する事業として、以下４件が実施されている</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r>
              <a:rPr lang="en-US" altLang="ja-JP" sz="800" dirty="0"/>
              <a:t> https://www.meti.go.jp/policy/mono_info_service/healthcare/iryou/outbound/area/other.html </a:t>
            </a:r>
            <a:r>
              <a:rPr lang="ja-JP" altLang="en-US" sz="800" dirty="0"/>
              <a:t>）</a:t>
            </a:r>
          </a:p>
        </p:txBody>
      </p:sp>
      <p:sp>
        <p:nvSpPr>
          <p:cNvPr id="12" name="Rectangle 6"/>
          <p:cNvSpPr>
            <a:spLocks noChangeArrowheads="1"/>
          </p:cNvSpPr>
          <p:nvPr/>
        </p:nvSpPr>
        <p:spPr bwMode="auto">
          <a:xfrm>
            <a:off x="201526" y="139101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nvGraphicFramePr>
        <p:xfrm>
          <a:off x="198971" y="1791096"/>
          <a:ext cx="9504001" cy="2879385"/>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721685">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3491110">
                  <a:extLst>
                    <a:ext uri="{9D8B030D-6E8A-4147-A177-3AD203B41FA5}">
                      <a16:colId xmlns:a16="http://schemas.microsoft.com/office/drawing/2014/main" val="20004"/>
                    </a:ext>
                  </a:extLst>
                </a:gridCol>
                <a:gridCol w="349111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80758">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21</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福祉用具</a:t>
                      </a:r>
                      <a:endParaRPr kumimoji="1" lang="ja-JP"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フランスベッド株式会社</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フランスベッドが所有する介護ベッド等を貸し出す「越境レンタル 卸」のスキームを構築し、レンタル事業をシンガポールに紹介・試行することで、 福祉用具レンタルの認知・普及を目指す。</a:t>
                      </a:r>
                      <a:endParaRPr lang="en-US" altLang="ja-JP" sz="1000" dirty="0"/>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リテールのレンタルサービスの運営は明成商会シンガポールが行い、</a:t>
                      </a:r>
                      <a:r>
                        <a:rPr lang="en-US" altLang="ja-JP" sz="1000" dirty="0"/>
                        <a:t>Ageing Asia</a:t>
                      </a:r>
                      <a:r>
                        <a:rPr lang="ja-JP" altLang="en-US" sz="1000" dirty="0"/>
                        <a:t>が相談窓口、宣伝活動、</a:t>
                      </a:r>
                      <a:r>
                        <a:rPr lang="en-US" altLang="ja-JP" sz="1000" dirty="0"/>
                        <a:t>TSA Logistic</a:t>
                      </a:r>
                      <a:r>
                        <a:rPr lang="ja-JP" altLang="en-US" sz="1000" dirty="0"/>
                        <a:t>が 洗浄・消毒・メンテナンス作業を行い、そのノウハウは、フランスベッドが提供する。</a:t>
                      </a: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調査、</a:t>
                      </a:r>
                      <a:r>
                        <a:rPr lang="ja-JP" altLang="en-US" sz="1000" dirty="0"/>
                        <a:t>レンタル事業の啓蒙・プロモーション（</a:t>
                      </a:r>
                      <a:r>
                        <a:rPr lang="en-US" altLang="ja-JP" sz="1000" dirty="0"/>
                        <a:t>4</a:t>
                      </a:r>
                      <a:r>
                        <a:rPr lang="ja-JP" altLang="en-US" sz="1000" dirty="0"/>
                        <a:t>件のレンタル事業セミナー及び </a:t>
                      </a:r>
                      <a:r>
                        <a:rPr lang="en-US" altLang="ja-JP" sz="1000" dirty="0"/>
                        <a:t>2</a:t>
                      </a:r>
                      <a:r>
                        <a:rPr lang="ja-JP" altLang="en-US" sz="1000" dirty="0"/>
                        <a:t>件の展示会への出展）、レンタルサービス（レンタル卸スキーム）の試行（１件）、現地政府への働 きかけ等を実施</a:t>
                      </a:r>
                      <a:endParaRPr lang="en-US" altLang="ja-JP" sz="1000" dirty="0"/>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現地パートナーとのビジネススキーム・役割の明確化及び現地パートナーに対する技術移転に向けた</a:t>
                      </a:r>
                      <a:r>
                        <a:rPr lang="en-US" altLang="ja-JP" sz="1000" dirty="0"/>
                        <a:t>WEB</a:t>
                      </a:r>
                      <a:r>
                        <a:rPr lang="ja-JP" altLang="en-US" sz="1000" dirty="0"/>
                        <a:t>研修を実施</a:t>
                      </a:r>
                      <a:endPar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nchorCtr="1">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175732412"/>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5</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介護</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介護サービス輸出促進コンソーシアム</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日本の介護サービスのパッケージ輸出を目指すに当たり、文献調査およびヒアリング調査を実施。</a:t>
                      </a:r>
                      <a:endParaRPr lang="en-US" altLang="ja-JP" sz="1000" dirty="0"/>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シンガポールは、２つの調査対象国のうちの１つ。（もう一方はベトナム）</a:t>
                      </a:r>
                      <a:endParaRPr kumimoji="1" lang="en-US" altLang="ja-JP" sz="1000" kern="1200" dirty="0">
                        <a:solidFill>
                          <a:schemeClr val="dk1"/>
                        </a:solidFill>
                        <a:latin typeface="+mn-lt"/>
                        <a:ea typeface="+mn-ea"/>
                        <a:cs typeface="+mn-cs"/>
                      </a:endParaRP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シンガポールにおいては、高齢化が進んでおり、介護のニーズが顕在化。</a:t>
                      </a:r>
                      <a:endParaRPr lang="en-US" altLang="ja-JP" sz="1000" dirty="0"/>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介護はシンガポール人が好まない職業であるため、ビザ取得に関し</a:t>
                      </a:r>
                      <a:r>
                        <a:rPr lang="en-US" altLang="ja-JP" sz="1000" dirty="0"/>
                        <a:t>t</a:t>
                      </a:r>
                      <a:r>
                        <a:rPr lang="ja-JP" altLang="en-US" sz="1000" dirty="0"/>
                        <a:t>規制緩和される可能性が高いとの意見を確認。</a:t>
                      </a:r>
                      <a:endParaRPr lang="en-US" altLang="ja-JP" sz="1000" dirty="0"/>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現地で介護施設を設立するには、周辺住民の反対から不動産取得が難しいなど、ハードルが高いとの意見も確認。</a:t>
                      </a:r>
                      <a:endParaRPr lang="en-US" altLang="ja-JP" sz="1000" dirty="0"/>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267188413"/>
                  </a:ext>
                </a:extLst>
              </a:tr>
            </a:tbl>
          </a:graphicData>
        </a:graphic>
      </p:graphicFrame>
    </p:spTree>
    <p:extLst>
      <p:ext uri="{BB962C8B-B14F-4D97-AF65-F5344CB8AC3E}">
        <p14:creationId xmlns:p14="http://schemas.microsoft.com/office/powerpoint/2010/main" val="13430772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8E9696D-BA9A-41F3-8E55-CE33A275674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6"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68E9696D-BA9A-41F3-8E55-CE33A27567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r>
              <a:rPr lang="en-US" altLang="ja-JP" dirty="0"/>
              <a:t>2/2</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ホームページ（</a:t>
            </a:r>
            <a:r>
              <a:rPr lang="en-US" altLang="ja-JP" sz="800" dirty="0"/>
              <a:t> https://www.meti.go.jp/policy/mono_info_service/healthcare/iryou/outbound/area/other.html </a:t>
            </a:r>
            <a:r>
              <a:rPr lang="ja-JP" altLang="en-US" sz="800" dirty="0"/>
              <a:t>）</a:t>
            </a:r>
          </a:p>
        </p:txBody>
      </p:sp>
      <p:sp>
        <p:nvSpPr>
          <p:cNvPr id="12" name="Rectangle 6"/>
          <p:cNvSpPr>
            <a:spLocks noChangeArrowheads="1"/>
          </p:cNvSpPr>
          <p:nvPr/>
        </p:nvSpPr>
        <p:spPr bwMode="auto">
          <a:xfrm>
            <a:off x="201526" y="98072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nvGraphicFramePr>
        <p:xfrm>
          <a:off x="198971" y="1380806"/>
          <a:ext cx="9504001" cy="30921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721685">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3491110">
                  <a:extLst>
                    <a:ext uri="{9D8B030D-6E8A-4147-A177-3AD203B41FA5}">
                      <a16:colId xmlns:a16="http://schemas.microsoft.com/office/drawing/2014/main" val="20004"/>
                    </a:ext>
                  </a:extLst>
                </a:gridCol>
                <a:gridCol w="349111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4</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介護</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メディカル・ケア・サービス株式会社</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kern="1200" dirty="0">
                          <a:solidFill>
                            <a:schemeClr val="dk1"/>
                          </a:solidFill>
                          <a:latin typeface="+mn-lt"/>
                          <a:ea typeface="+mn-ea"/>
                          <a:cs typeface="+mn-cs"/>
                        </a:rPr>
                        <a:t>シンガポールを含むアジアの３か国において、認知症介護サービス（グループホーム、小規模多機能型施設、訪問介護）等の海外展開に関する実証調査を行う</a:t>
                      </a:r>
                      <a:endParaRPr kumimoji="1" lang="en-US" altLang="ja-JP" sz="1000" kern="1200" dirty="0">
                        <a:solidFill>
                          <a:schemeClr val="dk1"/>
                        </a:solidFill>
                        <a:latin typeface="+mn-lt"/>
                        <a:ea typeface="+mn-ea"/>
                        <a:cs typeface="+mn-cs"/>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kern="1200" dirty="0">
                          <a:solidFill>
                            <a:schemeClr val="dk1"/>
                          </a:solidFill>
                          <a:latin typeface="+mn-lt"/>
                          <a:ea typeface="+mn-ea"/>
                          <a:cs typeface="+mn-cs"/>
                        </a:rPr>
                        <a:t>市場規模や関連制度の調査の他、実証調査を通じた需要調査を実施する。</a:t>
                      </a:r>
                      <a:endParaRPr kumimoji="1" lang="en-US" altLang="ja-JP" sz="1000" kern="1200" dirty="0">
                        <a:solidFill>
                          <a:schemeClr val="dk1"/>
                        </a:solidFill>
                        <a:latin typeface="+mn-lt"/>
                        <a:ea typeface="+mn-ea"/>
                        <a:cs typeface="+mn-cs"/>
                      </a:endParaRPr>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実証に先駆けておこなった意識調査では、日本の商品・サービスについては、特に「家庭的な環境づくり」について魅力を感じているなど、良好なイメージ を持っていることがわかった。</a:t>
                      </a:r>
                      <a:endParaRPr lang="en-US" altLang="ja-JP" sz="1000" dirty="0"/>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日本式介護の実証調査においては、実際の施術対象者の </a:t>
                      </a:r>
                      <a:r>
                        <a:rPr lang="en-US" altLang="ja-JP" sz="1000" dirty="0"/>
                        <a:t>1 </a:t>
                      </a:r>
                      <a:r>
                        <a:rPr lang="ja-JP" altLang="en-US" sz="1000" dirty="0"/>
                        <a:t>名に夜間 の拘束帯の使用中止、食事量の増加、 睡眠の良質化という具体的効果を得るなど、有用性を明らかにすることができた。</a:t>
                      </a:r>
                      <a:endParaRPr lang="en-US" altLang="ja-JP" sz="1000" dirty="0"/>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2537916513"/>
                  </a:ext>
                </a:extLst>
              </a:tr>
              <a:tr h="1226625">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200" dirty="0">
                          <a:solidFill>
                            <a:schemeClr val="dk1"/>
                          </a:solidFill>
                          <a:latin typeface="+mn-lt"/>
                          <a:ea typeface="+mn-ea"/>
                          <a:cs typeface="+mn-cs"/>
                        </a:rPr>
                        <a:t>2014</a:t>
                      </a:r>
                    </a:p>
                  </a:txBody>
                  <a:tcPr marL="9525" marR="9525"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dk1"/>
                          </a:solidFill>
                          <a:latin typeface="+mn-lt"/>
                          <a:ea typeface="+mn-ea"/>
                          <a:cs typeface="+mn-cs"/>
                        </a:rPr>
                        <a:t>医療</a:t>
                      </a: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日本式パーソナライズド骨変形治癒矯正診療コンソーシアム</a:t>
                      </a:r>
                      <a:endParaRPr kumimoji="1" lang="zh-CN" altLang="en-US" sz="1000" kern="1200" dirty="0">
                        <a:solidFill>
                          <a:schemeClr val="dk1"/>
                        </a:solidFill>
                        <a:latin typeface="+mn-lt"/>
                        <a:ea typeface="+mn-ea"/>
                        <a:cs typeface="+mn-cs"/>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今後、社会・経済発展著しいアジア諸国において、骨折後変形患者人口は増加傾向にあり、日本式パーソナライズド骨変形治癒矯正診療の国際展開を目的として、調査等を実施する。</a:t>
                      </a:r>
                      <a:endParaRPr lang="en-US" altLang="ja-JP" sz="1000" dirty="0"/>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シンガポール及び香港において、骨変形治癒矯正診療に関する市場環境調査の他、現地医師へのセミナー及び手術デモンストレーションを実施する。</a:t>
                      </a:r>
                      <a:endParaRPr lang="en-US" altLang="ja-JP" sz="1000" dirty="0"/>
                    </a:p>
                  </a:txBody>
                  <a:tcPr marL="108000" marR="108000" marT="72000" marB="72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日本式骨変形治癒矯正診療は、シンガポール、香港において既存参入企業がいないこと、相当数の患者が存在すること等から、当初想定していたよりも規模の大きい市場であることを確認した。</a:t>
                      </a:r>
                      <a:endParaRPr lang="en-US" altLang="ja-JP" sz="1000" dirty="0"/>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シンガポールにおいては、シンガポール国立大学病院において、全</a:t>
                      </a:r>
                      <a:r>
                        <a:rPr lang="en-US" altLang="ja-JP" sz="1000" dirty="0"/>
                        <a:t>2 </a:t>
                      </a:r>
                      <a:r>
                        <a:rPr lang="ja-JP" altLang="en-US" sz="1000" dirty="0"/>
                        <a:t>症例の手術デモンストレーション及び第一回セミナーを開催した。</a:t>
                      </a:r>
                      <a:endParaRPr lang="en-US" altLang="ja-JP" sz="1000" dirty="0"/>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endParaRPr lang="en-US" altLang="ja-JP" sz="1000" dirty="0"/>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683078573"/>
                  </a:ext>
                </a:extLst>
              </a:tr>
            </a:tbl>
          </a:graphicData>
        </a:graphic>
      </p:graphicFrame>
    </p:spTree>
    <p:extLst>
      <p:ext uri="{BB962C8B-B14F-4D97-AF65-F5344CB8AC3E}">
        <p14:creationId xmlns:p14="http://schemas.microsoft.com/office/powerpoint/2010/main" val="172267161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7F43BF-F419-40A0-95FF-860BA2988A7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0"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B77F43BF-F419-40A0-95FF-860BA2988A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務省の主な医療国際化関連事業</a:t>
            </a: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務省による医療関連事業は確認できなかった。</a:t>
            </a: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外務省ホームページ</a:t>
            </a:r>
          </a:p>
        </p:txBody>
      </p:sp>
    </p:spTree>
    <p:extLst>
      <p:ext uri="{BB962C8B-B14F-4D97-AF65-F5344CB8AC3E}">
        <p14:creationId xmlns:p14="http://schemas.microsoft.com/office/powerpoint/2010/main" val="386051029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F07C39-3B06-429F-9F23-BDF5E65906B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4"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3DF07C39-3B06-429F-9F23-BDF5E65906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厚生労働省とシンガポール共和国保健省の協力覚書（</a:t>
            </a:r>
            <a:r>
              <a:rPr lang="en-US" altLang="ja-JP" dirty="0"/>
              <a:t>MOC</a:t>
            </a:r>
            <a:r>
              <a:rPr lang="ja-JP" altLang="en-US" dirty="0"/>
              <a:t>）</a:t>
            </a:r>
          </a:p>
        </p:txBody>
      </p:sp>
      <p:sp>
        <p:nvSpPr>
          <p:cNvPr id="15" name="テキスト ボックス 14"/>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塩崎厚生労働大臣は、来日中のシンガポール共和国保健省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Kim Yong G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大臣との間で、医療・保健分野における協力覚書に署名を行いました。</a:t>
            </a:r>
          </a:p>
        </p:txBody>
      </p:sp>
      <p:sp>
        <p:nvSpPr>
          <p:cNvPr id="7" name="フリーフォーム 6"/>
          <p:cNvSpPr/>
          <p:nvPr/>
        </p:nvSpPr>
        <p:spPr>
          <a:xfrm>
            <a:off x="4181624" y="2641345"/>
            <a:ext cx="771090" cy="3595967"/>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Lst>
            <a:ahLst/>
            <a:cxnLst>
              <a:cxn ang="0">
                <a:pos x="connsiteX0" y="connsiteY0"/>
              </a:cxn>
              <a:cxn ang="0">
                <a:pos x="connsiteX1" y="connsiteY1"/>
              </a:cxn>
              <a:cxn ang="0">
                <a:pos x="connsiteX2" y="connsiteY2"/>
              </a:cxn>
              <a:cxn ang="0">
                <a:pos x="connsiteX3" y="connsiteY3"/>
              </a:cxn>
            </a:cxnLst>
            <a:rect l="l" t="t" r="r" b="b"/>
            <a:pathLst>
              <a:path w="771090" h="2466587">
                <a:moveTo>
                  <a:pt x="771090" y="0"/>
                </a:moveTo>
                <a:lnTo>
                  <a:pt x="0" y="338811"/>
                </a:lnTo>
                <a:cubicBezTo>
                  <a:pt x="10727" y="605185"/>
                  <a:pt x="14311" y="985282"/>
                  <a:pt x="25038" y="1251656"/>
                </a:cubicBezTo>
                <a:cubicBezTo>
                  <a:pt x="46517" y="1283451"/>
                  <a:pt x="689214" y="2411663"/>
                  <a:pt x="724403" y="2466587"/>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grpSp>
        <p:nvGrpSpPr>
          <p:cNvPr id="8" name="グループ化 7"/>
          <p:cNvGrpSpPr/>
          <p:nvPr/>
        </p:nvGrpSpPr>
        <p:grpSpPr>
          <a:xfrm>
            <a:off x="344488" y="2158256"/>
            <a:ext cx="9217024"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anose="020B0900000000000000" pitchFamily="50" charset="-128"/>
                </a:rPr>
                <a:t>締結状況</a:t>
              </a:r>
            </a:p>
          </p:txBody>
        </p:sp>
      </p:grpSp>
      <p:sp>
        <p:nvSpPr>
          <p:cNvPr id="11" name="正方形/長方形 10"/>
          <p:cNvSpPr/>
          <p:nvPr/>
        </p:nvSpPr>
        <p:spPr>
          <a:xfrm>
            <a:off x="200472" y="2719953"/>
            <a:ext cx="4355292" cy="461665"/>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t>2021</a:t>
            </a:r>
            <a:r>
              <a:rPr lang="ja-JP" altLang="en-US" sz="1200" dirty="0"/>
              <a:t>年</a:t>
            </a:r>
            <a:r>
              <a:rPr lang="en-US" altLang="ja-JP" sz="1200" dirty="0"/>
              <a:t>7</a:t>
            </a:r>
            <a:r>
              <a:rPr lang="ja-JP" altLang="en-US" sz="1200" dirty="0"/>
              <a:t>月</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塩崎厚生労働大臣</a:t>
            </a:r>
            <a:r>
              <a:rPr lang="ja-JP" altLang="en-US" sz="1200" b="0" i="0" dirty="0">
                <a:solidFill>
                  <a:srgbClr val="333333"/>
                </a:solidFill>
                <a:effectLst/>
              </a:rPr>
              <a:t>と</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Kim Yong Gan</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保健大臣</a:t>
            </a:r>
            <a:r>
              <a:rPr lang="ja-JP" altLang="en-US" sz="1200" dirty="0">
                <a:solidFill>
                  <a:srgbClr val="333333"/>
                </a:solidFill>
              </a:rPr>
              <a:t>が</a:t>
            </a:r>
            <a:r>
              <a:rPr lang="ja-JP" altLang="en-US" sz="1200" dirty="0"/>
              <a:t>署名</a:t>
            </a: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円/楕円 11"/>
          <p:cNvSpPr/>
          <p:nvPr/>
        </p:nvSpPr>
        <p:spPr>
          <a:xfrm>
            <a:off x="488504" y="3725540"/>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3" name="グループ化 12"/>
          <p:cNvGrpSpPr/>
          <p:nvPr/>
        </p:nvGrpSpPr>
        <p:grpSpPr>
          <a:xfrm>
            <a:off x="1692029" y="3991096"/>
            <a:ext cx="1516104" cy="1201785"/>
            <a:chOff x="1692029" y="3406524"/>
            <a:chExt cx="1516104" cy="1201785"/>
          </a:xfrm>
        </p:grpSpPr>
        <p:grpSp>
          <p:nvGrpSpPr>
            <p:cNvPr id="14" name="Group 339"/>
            <p:cNvGrpSpPr>
              <a:grpSpLocks noChangeAspect="1"/>
            </p:cNvGrpSpPr>
            <p:nvPr/>
          </p:nvGrpSpPr>
          <p:grpSpPr bwMode="auto">
            <a:xfrm>
              <a:off x="1729320" y="3440013"/>
              <a:ext cx="1478813" cy="1168296"/>
              <a:chOff x="1968" y="2736"/>
              <a:chExt cx="864" cy="672"/>
            </a:xfrm>
          </p:grpSpPr>
          <p:sp>
            <p:nvSpPr>
              <p:cNvPr id="19"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0"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1"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2"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3"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24"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16" name="グループ化 15"/>
            <p:cNvGrpSpPr/>
            <p:nvPr/>
          </p:nvGrpSpPr>
          <p:grpSpPr>
            <a:xfrm>
              <a:off x="1692029" y="3406524"/>
              <a:ext cx="1392861" cy="382825"/>
              <a:chOff x="1692029" y="3406524"/>
              <a:chExt cx="1392861" cy="382825"/>
            </a:xfrm>
          </p:grpSpPr>
          <p:sp>
            <p:nvSpPr>
              <p:cNvPr id="17" name="正方形/長方形 16"/>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正方形/長方形 17"/>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25" name="グループ化 24"/>
          <p:cNvGrpSpPr/>
          <p:nvPr/>
        </p:nvGrpSpPr>
        <p:grpSpPr>
          <a:xfrm>
            <a:off x="3270565" y="4144958"/>
            <a:ext cx="1034363" cy="992911"/>
            <a:chOff x="3224808" y="3622125"/>
            <a:chExt cx="1034363" cy="992911"/>
          </a:xfrm>
        </p:grpSpPr>
        <p:sp>
          <p:nvSpPr>
            <p:cNvPr id="26" name="円/楕円 25"/>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円/楕円 26"/>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28" name="グループ化 27"/>
          <p:cNvGrpSpPr/>
          <p:nvPr/>
        </p:nvGrpSpPr>
        <p:grpSpPr>
          <a:xfrm>
            <a:off x="632520" y="4144958"/>
            <a:ext cx="1033987" cy="992911"/>
            <a:chOff x="704528" y="3622125"/>
            <a:chExt cx="1033987" cy="992911"/>
          </a:xfrm>
        </p:grpSpPr>
        <p:sp>
          <p:nvSpPr>
            <p:cNvPr id="29" name="円/楕円 28"/>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円/楕円 29"/>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31" name="グループ化 30"/>
          <p:cNvGrpSpPr/>
          <p:nvPr/>
        </p:nvGrpSpPr>
        <p:grpSpPr>
          <a:xfrm>
            <a:off x="3728864" y="2958852"/>
            <a:ext cx="918852" cy="792088"/>
            <a:chOff x="4376936" y="2348880"/>
            <a:chExt cx="991479" cy="854695"/>
          </a:xfrm>
        </p:grpSpPr>
        <p:sp>
          <p:nvSpPr>
            <p:cNvPr id="32"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3"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4"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35" name="グループ化 34"/>
            <p:cNvGrpSpPr/>
            <p:nvPr/>
          </p:nvGrpSpPr>
          <p:grpSpPr>
            <a:xfrm>
              <a:off x="4517548" y="2455845"/>
              <a:ext cx="693478" cy="571401"/>
              <a:chOff x="4508023" y="2462195"/>
              <a:chExt cx="693478" cy="571401"/>
            </a:xfrm>
          </p:grpSpPr>
          <p:grpSp>
            <p:nvGrpSpPr>
              <p:cNvPr id="36" name="グループ化 35"/>
              <p:cNvGrpSpPr/>
              <p:nvPr/>
            </p:nvGrpSpPr>
            <p:grpSpPr>
              <a:xfrm>
                <a:off x="4520723" y="2462195"/>
                <a:ext cx="680778" cy="555526"/>
                <a:chOff x="4586456" y="2455845"/>
                <a:chExt cx="680778" cy="555526"/>
              </a:xfrm>
            </p:grpSpPr>
            <p:sp>
              <p:nvSpPr>
                <p:cNvPr id="48" name="フリーフォーム 47"/>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リーフォーム 48"/>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フリーフォーム 49"/>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フリーフォーム 51"/>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52"/>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フリーフォーム 53"/>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フリーフォーム 54"/>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6" name="フリーフォーム 55"/>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フリーフォーム 56"/>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7" name="グループ化 36"/>
              <p:cNvGrpSpPr/>
              <p:nvPr/>
            </p:nvGrpSpPr>
            <p:grpSpPr>
              <a:xfrm>
                <a:off x="4508023" y="2478070"/>
                <a:ext cx="680778" cy="555526"/>
                <a:chOff x="4586456" y="2455845"/>
                <a:chExt cx="680778" cy="555526"/>
              </a:xfrm>
            </p:grpSpPr>
            <p:sp>
              <p:nvSpPr>
                <p:cNvPr id="38" name="フリーフォーム 37"/>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フリーフォーム 38"/>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39"/>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フリーフォーム 40"/>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フリーフォーム 41"/>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42"/>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フリーフォーム 43"/>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フリーフォーム 44"/>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45"/>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フリーフォーム 46"/>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58" name="正方形/長方形 57"/>
          <p:cNvSpPr/>
          <p:nvPr/>
        </p:nvSpPr>
        <p:spPr>
          <a:xfrm>
            <a:off x="272480" y="3057229"/>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シンガポール共和国保健省との</a:t>
            </a:r>
            <a:b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保健・医療分野における協力に関する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59" name="円/楕円 58"/>
          <p:cNvSpPr/>
          <p:nvPr/>
        </p:nvSpPr>
        <p:spPr>
          <a:xfrm>
            <a:off x="1676636" y="3860930"/>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anose="020B0900000000000000" pitchFamily="50" charset="-128"/>
              </a:rPr>
              <a:t>協力推進</a:t>
            </a:r>
          </a:p>
        </p:txBody>
      </p:sp>
      <p:sp>
        <p:nvSpPr>
          <p:cNvPr id="60" name="円/楕円 59"/>
          <p:cNvSpPr/>
          <p:nvPr/>
        </p:nvSpPr>
        <p:spPr>
          <a:xfrm>
            <a:off x="1676636" y="3860930"/>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anose="020B0900000000000000" pitchFamily="50" charset="-128"/>
              </a:rPr>
              <a:t>協力推進</a:t>
            </a:r>
          </a:p>
        </p:txBody>
      </p:sp>
      <p:sp>
        <p:nvSpPr>
          <p:cNvPr id="61" name="片側の 2 つの角を丸めた四角形 60"/>
          <p:cNvSpPr/>
          <p:nvPr/>
        </p:nvSpPr>
        <p:spPr>
          <a:xfrm>
            <a:off x="4880992" y="2929345"/>
            <a:ext cx="4608512" cy="3307967"/>
          </a:xfrm>
          <a:prstGeom prst="round2SameRect">
            <a:avLst>
              <a:gd name="adj1" fmla="val 0"/>
              <a:gd name="adj2" fmla="val 2834"/>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108000" rIns="252000" bIns="108000" rtlCol="0" anchor="t"/>
          <a:lstStyle/>
          <a:p>
            <a:pPr marL="269875" algn="just">
              <a:lnSpc>
                <a:spcPct val="114000"/>
              </a:lnSpc>
              <a:spcAft>
                <a:spcPts val="400"/>
              </a:spcAft>
              <a:buSzPct val="90000"/>
            </a:pP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１．目的</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両国それぞれの法律や規制 に沿って、互恵及び相互利益の原則に基づき、保健・医療分野において、双方が協力 することを通して、その基盤を確立すること</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SzPct val="90000"/>
            </a:pP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２．協力分野</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①健康的な加齢 ②非感染性疾患</a:t>
            </a:r>
            <a:r>
              <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③保健に関する研究と保健医療分野のロボット工学　④感染症のコントロールと予防　⑤災害への準備と対応　⑥その他双方の決定により定める協力分野</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indent="-228600" algn="just">
              <a:lnSpc>
                <a:spcPct val="114000"/>
              </a:lnSpc>
              <a:spcAft>
                <a:spcPts val="400"/>
              </a:spcAft>
              <a:buSzPct val="90000"/>
              <a:buAutoNum type="arabicParenR"/>
            </a:pP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３．協力様式</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269875" algn="just">
              <a:lnSpc>
                <a:spcPct val="114000"/>
              </a:lnSpc>
              <a:spcAft>
                <a:spcPts val="400"/>
              </a:spcAft>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①経験と情報の共有　②両国の保健専門家の視察の受入れ　③共同研究活動の奨励　④その他の双方の同意により定める協力様式</a:t>
            </a:r>
          </a:p>
        </p:txBody>
      </p:sp>
      <p:sp>
        <p:nvSpPr>
          <p:cNvPr id="66" name="片側の 2 つの角を丸めた四角形 65"/>
          <p:cNvSpPr/>
          <p:nvPr/>
        </p:nvSpPr>
        <p:spPr>
          <a:xfrm>
            <a:off x="4880992" y="2641345"/>
            <a:ext cx="4608512" cy="288000"/>
          </a:xfrm>
          <a:prstGeom prst="round2SameRect">
            <a:avLst/>
          </a:prstGeom>
          <a:solidFill>
            <a:srgbClr val="5F8AC3"/>
          </a:solidFill>
        </p:spPr>
        <p:txBody>
          <a:bodyPr wrap="square" lIns="108000" rtlCol="0" anchor="ctr">
            <a:noAutofit/>
          </a:bodyPr>
          <a:lstStyle/>
          <a:p>
            <a:pPr algn="ctr" defTabSz="955675" fontAlgn="ctr">
              <a:buSzPct val="120000"/>
            </a:pPr>
            <a:r>
              <a:rPr lang="ja-JP" altLang="en-US" sz="1200" b="1" dirty="0">
                <a:solidFill>
                  <a:schemeClr val="bg1"/>
                </a:solidFill>
                <a:latin typeface="ＭＳ Ｐゴシック" panose="020B0600070205080204" pitchFamily="50" charset="-128"/>
                <a:ea typeface="ＭＳ Ｐゴシック" panose="020B0600070205080204" pitchFamily="50" charset="-128"/>
              </a:rPr>
              <a:t>協力覚書（概要）</a:t>
            </a:r>
          </a:p>
        </p:txBody>
      </p:sp>
      <p:sp>
        <p:nvSpPr>
          <p:cNvPr id="70" name="テキスト ボックス 6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厚生労働省ホームページ</a:t>
            </a:r>
          </a:p>
        </p:txBody>
      </p:sp>
    </p:spTree>
    <p:extLst>
      <p:ext uri="{BB962C8B-B14F-4D97-AF65-F5344CB8AC3E}">
        <p14:creationId xmlns:p14="http://schemas.microsoft.com/office/powerpoint/2010/main" val="296176054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7BA931-4DE2-44F3-B2E9-09EA6A69FA6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8"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D37BA931-4DE2-44F3-B2E9-09EA6A69FA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厚生労働省の主な医療国際化関連事業</a:t>
            </a:r>
            <a:endParaRPr lang="ja-JP" altLang="en-US" dirty="0"/>
          </a:p>
        </p:txBody>
      </p:sp>
      <p:sp>
        <p:nvSpPr>
          <p:cNvPr id="7" name="角丸四角形 6"/>
          <p:cNvSpPr/>
          <p:nvPr/>
        </p:nvSpPr>
        <p:spPr>
          <a:xfrm>
            <a:off x="5961112" y="1628068"/>
            <a:ext cx="3240360" cy="792088"/>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92000" tIns="0" rIns="108000" bIns="0" rtlCol="0" anchor="ctr"/>
          <a:lstStyle/>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p>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所） 国立国際医療研究センター（</a:t>
            </a:r>
            <a:r>
              <a:rPr lang="en-US" altLang="ja-JP" sz="800" dirty="0"/>
              <a:t>NCGM</a:t>
            </a:r>
            <a:r>
              <a:rPr lang="ja-JP" altLang="en-US" sz="800" dirty="0"/>
              <a:t>）ホームページ</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から「</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3" name="直線コネクタ 12"/>
          <p:cNvCxnSpPr/>
          <p:nvPr/>
        </p:nvCxnSpPr>
        <p:spPr>
          <a:xfrm>
            <a:off x="702776" y="1556792"/>
            <a:ext cx="0" cy="108012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9" name="円/楕円 18"/>
          <p:cNvSpPr/>
          <p:nvPr/>
        </p:nvSpPr>
        <p:spPr>
          <a:xfrm>
            <a:off x="632520" y="1703264"/>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843791" y="1628068"/>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1" name="角丸四角形 20"/>
          <p:cNvSpPr/>
          <p:nvPr/>
        </p:nvSpPr>
        <p:spPr>
          <a:xfrm>
            <a:off x="1640632" y="1628800"/>
            <a:ext cx="482453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22" name="角丸四角形 21"/>
          <p:cNvSpPr/>
          <p:nvPr/>
        </p:nvSpPr>
        <p:spPr>
          <a:xfrm>
            <a:off x="1712640" y="2093147"/>
            <a:ext cx="432000" cy="432000"/>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23" name="正方形/長方形 22"/>
          <p:cNvSpPr/>
          <p:nvPr/>
        </p:nvSpPr>
        <p:spPr>
          <a:xfrm>
            <a:off x="2072680" y="2093147"/>
            <a:ext cx="2103740" cy="432000"/>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高品質な日本の医薬品、医療機器の国際展開を推進</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p:cNvSpPr/>
          <p:nvPr/>
        </p:nvSpPr>
        <p:spPr>
          <a:xfrm>
            <a:off x="4176420" y="2093123"/>
            <a:ext cx="792088" cy="432048"/>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シンガポールを対象とした事業</a:t>
            </a:r>
          </a:p>
        </p:txBody>
      </p:sp>
      <p:sp>
        <p:nvSpPr>
          <p:cNvPr id="32" name="正方形/長方形 31"/>
          <p:cNvSpPr/>
          <p:nvPr/>
        </p:nvSpPr>
        <p:spPr>
          <a:xfrm>
            <a:off x="5375376" y="2210961"/>
            <a:ext cx="739552" cy="353943"/>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ct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gn="ctr">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5310634" y="2091863"/>
            <a:ext cx="192360"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ja-JP" altLang="en-US" sz="2200" dirty="0">
                <a:latin typeface="Arial" panose="020B0604020202020204" pitchFamily="34" charset="0"/>
                <a:ea typeface="ＭＳ Ｐゴシック" panose="020B0600070205080204" pitchFamily="50" charset="-128"/>
                <a:cs typeface="Arial" panose="020B0604020202020204" pitchFamily="34" charset="0"/>
              </a:rPr>
              <a:t>１</a:t>
            </a:r>
            <a:endParaRPr lang="en-US" altLang="ja-JP" sz="22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8363220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E6FA9A-4330-4706-B865-CF1216DED58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2"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EEE6FA9A-4330-4706-B865-CF1216DED5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文部科学省の主な医療国際化関連事業</a:t>
            </a:r>
          </a:p>
        </p:txBody>
      </p:sp>
      <p:sp>
        <p:nvSpPr>
          <p:cNvPr id="96" name="テキスト ボックス 95"/>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文部科学省による医療関連事業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64261844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A302C3-E7A7-42A3-B8B4-E82514E632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6"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FEA302C3-E7A7-42A3-B8B4-E82514E632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日本との関わり</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ICA</a:t>
            </a:r>
            <a:r>
              <a:rPr lang="ja-JP" altLang="en-US" dirty="0"/>
              <a:t>の主な医療国際化関連事業</a:t>
            </a:r>
          </a:p>
        </p:txBody>
      </p:sp>
      <p:sp>
        <p:nvSpPr>
          <p:cNvPr id="11" name="TextBox 10">
            <a:extLst>
              <a:ext uri="{FF2B5EF4-FFF2-40B4-BE49-F238E27FC236}">
                <a16:creationId xmlns:a16="http://schemas.microsoft.com/office/drawing/2014/main" id="{EFF08522-7B66-43BA-A998-0DA2AF3284C6}"/>
              </a:ext>
            </a:extLst>
          </p:cNvPr>
          <p:cNvSpPr txBox="1"/>
          <p:nvPr/>
        </p:nvSpPr>
        <p:spPr>
          <a:xfrm>
            <a:off x="6368" y="6831678"/>
            <a:ext cx="5018926" cy="338554"/>
          </a:xfrm>
          <a:prstGeom prst="rect">
            <a:avLst/>
          </a:prstGeom>
          <a:noFill/>
        </p:spPr>
        <p:txBody>
          <a:bodyPr wrap="square">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民間連携事業案件事例検索</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800" dirty="0">
                <a:latin typeface="Arial" panose="020B0604020202020204" pitchFamily="34" charset="0"/>
                <a:ea typeface="ＭＳ Ｐゴシック" panose="020B0600070205080204" pitchFamily="50" charset="-128"/>
                <a:cs typeface="Arial" panose="020B0604020202020204" pitchFamily="34" charset="0"/>
              </a:rPr>
              <a:t>https://www2.jica.go.jp/ja/priv_sme_partner/index.php</a:t>
            </a:r>
            <a:endParaRPr 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95">
            <a:extLst>
              <a:ext uri="{FF2B5EF4-FFF2-40B4-BE49-F238E27FC236}">
                <a16:creationId xmlns:a16="http://schemas.microsoft.com/office/drawing/2014/main" id="{5256121F-5F6D-4A54-9DFC-8452755884C5}"/>
              </a:ext>
            </a:extLst>
          </p:cNvPr>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JICA</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による医療関連事業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2904270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4304517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7" imgW="360" imgH="360" progId="TCLayout.ActiveDocument.1">
                  <p:embed/>
                </p:oleObj>
              </mc:Choice>
              <mc:Fallback>
                <p:oleObj name="think-cell Slide" r:id="rId7" imgW="360" imgH="360" progId="TCLayout.ActiveDocument.1">
                  <p:embed/>
                  <p:pic>
                    <p:nvPicPr>
                      <p:cNvPr id="7" name="Object 6"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latin typeface="Arial" panose="020B0604020202020204" pitchFamily="34" charset="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都市化率</a:t>
            </a:r>
          </a:p>
        </p:txBody>
      </p:sp>
      <p:sp>
        <p:nvSpPr>
          <p:cNvPr id="34" name="テキスト ボックス 33"/>
          <p:cNvSpPr txBox="1"/>
          <p:nvPr/>
        </p:nvSpPr>
        <p:spPr>
          <a:xfrm>
            <a:off x="200472" y="1124744"/>
            <a:ext cx="9505056" cy="100649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は都市国家であり、「農村部」に分類される地域がないた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5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都市化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下記に住民が多い地区と、勤務先として人々が通勤する先の地区を示す。</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テキスト ボックス 42"/>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シンガポール国勢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4" name="Object 2" hidden="1">
            <a:extLst>
              <a:ext uri="{FF2B5EF4-FFF2-40B4-BE49-F238E27FC236}">
                <a16:creationId xmlns:a16="http://schemas.microsoft.com/office/drawing/2014/main" id="{81032148-3E3F-4E3F-9F85-089EDBB3673A}"/>
              </a:ext>
            </a:extLst>
          </p:cNvPr>
          <p:cNvGraphicFramePr>
            <a:graphicFrameLocks noChangeAspect="1"/>
          </p:cNvGraphicFramePr>
          <p:nvPr>
            <p:custDataLst>
              <p:tags r:id="rId4"/>
            </p:custDataLst>
            <p:extLst>
              <p:ext uri="{D42A27DB-BD31-4B8C-83A1-F6EECF244321}">
                <p14:modId xmlns:p14="http://schemas.microsoft.com/office/powerpoint/2010/main" val="2963033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Slide" r:id="rId9" imgW="408" imgH="408" progId="TCLayout.ActiveDocument.1">
                  <p:embed/>
                </p:oleObj>
              </mc:Choice>
              <mc:Fallback>
                <p:oleObj name="think-cell Slide" r:id="rId9" imgW="408" imgH="408" progId="TCLayout.ActiveDocument.1">
                  <p:embed/>
                  <p:pic>
                    <p:nvPicPr>
                      <p:cNvPr id="24" name="Object 2" hidden="1">
                        <a:extLst>
                          <a:ext uri="{FF2B5EF4-FFF2-40B4-BE49-F238E27FC236}">
                            <a16:creationId xmlns:a16="http://schemas.microsoft.com/office/drawing/2014/main" id="{81032148-3E3F-4E3F-9F85-089EDBB3673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5" name="Rectangle 1" hidden="1">
            <a:extLst>
              <a:ext uri="{FF2B5EF4-FFF2-40B4-BE49-F238E27FC236}">
                <a16:creationId xmlns:a16="http://schemas.microsoft.com/office/drawing/2014/main" id="{B21B2129-ACBA-4CAC-8856-AEF8B95B94F4}"/>
              </a:ext>
            </a:extLst>
          </p:cNvPr>
          <p:cNvSpPr/>
          <p:nvPr>
            <p:custDataLst>
              <p:tags r:id="rId5"/>
            </p:custDataLst>
          </p:nvPr>
        </p:nvSpPr>
        <p:spPr>
          <a:xfrm>
            <a:off x="152400" y="152400"/>
            <a:ext cx="158750" cy="158750"/>
          </a:xfrm>
          <a:prstGeom prst="rect">
            <a:avLst/>
          </a:prstGeom>
          <a:noFill/>
          <a:ln w="9525">
            <a:solidFill>
              <a:srgbClr val="B3B3B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200" b="1" dirty="0">
              <a:solidFill>
                <a:srgbClr val="000000"/>
              </a:solidFill>
              <a:latin typeface="Georgia" panose="02040502050405020303" pitchFamily="18" charset="0"/>
              <a:ea typeface="+mj-ea"/>
              <a:cs typeface="+mj-cs"/>
              <a:sym typeface="Georgia" panose="02040502050405020303" pitchFamily="18" charset="0"/>
            </a:endParaRPr>
          </a:p>
        </p:txBody>
      </p:sp>
      <p:grpSp>
        <p:nvGrpSpPr>
          <p:cNvPr id="11" name="Group 10">
            <a:extLst>
              <a:ext uri="{FF2B5EF4-FFF2-40B4-BE49-F238E27FC236}">
                <a16:creationId xmlns:a16="http://schemas.microsoft.com/office/drawing/2014/main" id="{0110B2CC-A61D-4A62-83CD-0BA9F3D1DD38}"/>
              </a:ext>
            </a:extLst>
          </p:cNvPr>
          <p:cNvGrpSpPr/>
          <p:nvPr/>
        </p:nvGrpSpPr>
        <p:grpSpPr>
          <a:xfrm>
            <a:off x="1136576" y="2204864"/>
            <a:ext cx="5818288" cy="3787130"/>
            <a:chOff x="1662857" y="1934547"/>
            <a:chExt cx="5818288" cy="3787130"/>
          </a:xfrm>
        </p:grpSpPr>
        <p:grpSp>
          <p:nvGrpSpPr>
            <p:cNvPr id="27" name="Group 26">
              <a:extLst>
                <a:ext uri="{FF2B5EF4-FFF2-40B4-BE49-F238E27FC236}">
                  <a16:creationId xmlns:a16="http://schemas.microsoft.com/office/drawing/2014/main" id="{F3B5AD2B-AB6E-47C9-A02B-3C6B62B48050}"/>
                </a:ext>
              </a:extLst>
            </p:cNvPr>
            <p:cNvGrpSpPr/>
            <p:nvPr/>
          </p:nvGrpSpPr>
          <p:grpSpPr>
            <a:xfrm>
              <a:off x="1662857" y="1934547"/>
              <a:ext cx="5818288" cy="3787130"/>
              <a:chOff x="1662857" y="1934547"/>
              <a:chExt cx="5818288" cy="3787130"/>
            </a:xfrm>
          </p:grpSpPr>
          <p:sp>
            <p:nvSpPr>
              <p:cNvPr id="120" name="Freeform 8">
                <a:extLst>
                  <a:ext uri="{FF2B5EF4-FFF2-40B4-BE49-F238E27FC236}">
                    <a16:creationId xmlns:a16="http://schemas.microsoft.com/office/drawing/2014/main" id="{D46E2436-2B16-476D-83F1-62F68A032F5C}"/>
                  </a:ext>
                </a:extLst>
              </p:cNvPr>
              <p:cNvSpPr>
                <a:spLocks noEditPoints="1"/>
              </p:cNvSpPr>
              <p:nvPr/>
            </p:nvSpPr>
            <p:spPr bwMode="gray">
              <a:xfrm>
                <a:off x="2069991" y="2385664"/>
                <a:ext cx="1294707" cy="1275534"/>
              </a:xfrm>
              <a:custGeom>
                <a:avLst/>
                <a:gdLst>
                  <a:gd name="T0" fmla="*/ 238 w 1148"/>
                  <a:gd name="T1" fmla="*/ 370 h 1131"/>
                  <a:gd name="T2" fmla="*/ 591 w 1148"/>
                  <a:gd name="T3" fmla="*/ 13 h 1131"/>
                  <a:gd name="T4" fmla="*/ 620 w 1148"/>
                  <a:gd name="T5" fmla="*/ 101 h 1131"/>
                  <a:gd name="T6" fmla="*/ 643 w 1148"/>
                  <a:gd name="T7" fmla="*/ 144 h 1131"/>
                  <a:gd name="T8" fmla="*/ 668 w 1148"/>
                  <a:gd name="T9" fmla="*/ 172 h 1131"/>
                  <a:gd name="T10" fmla="*/ 699 w 1148"/>
                  <a:gd name="T11" fmla="*/ 219 h 1131"/>
                  <a:gd name="T12" fmla="*/ 758 w 1148"/>
                  <a:gd name="T13" fmla="*/ 238 h 1131"/>
                  <a:gd name="T14" fmla="*/ 743 w 1148"/>
                  <a:gd name="T15" fmla="*/ 270 h 1131"/>
                  <a:gd name="T16" fmla="*/ 745 w 1148"/>
                  <a:gd name="T17" fmla="*/ 293 h 1131"/>
                  <a:gd name="T18" fmla="*/ 799 w 1148"/>
                  <a:gd name="T19" fmla="*/ 224 h 1131"/>
                  <a:gd name="T20" fmla="*/ 824 w 1148"/>
                  <a:gd name="T21" fmla="*/ 232 h 1131"/>
                  <a:gd name="T22" fmla="*/ 827 w 1148"/>
                  <a:gd name="T23" fmla="*/ 265 h 1131"/>
                  <a:gd name="T24" fmla="*/ 898 w 1148"/>
                  <a:gd name="T25" fmla="*/ 249 h 1131"/>
                  <a:gd name="T26" fmla="*/ 906 w 1148"/>
                  <a:gd name="T27" fmla="*/ 270 h 1131"/>
                  <a:gd name="T28" fmla="*/ 937 w 1148"/>
                  <a:gd name="T29" fmla="*/ 276 h 1131"/>
                  <a:gd name="T30" fmla="*/ 922 w 1148"/>
                  <a:gd name="T31" fmla="*/ 315 h 1131"/>
                  <a:gd name="T32" fmla="*/ 910 w 1148"/>
                  <a:gd name="T33" fmla="*/ 342 h 1131"/>
                  <a:gd name="T34" fmla="*/ 902 w 1148"/>
                  <a:gd name="T35" fmla="*/ 378 h 1131"/>
                  <a:gd name="T36" fmla="*/ 910 w 1148"/>
                  <a:gd name="T37" fmla="*/ 415 h 1131"/>
                  <a:gd name="T38" fmla="*/ 872 w 1148"/>
                  <a:gd name="T39" fmla="*/ 439 h 1131"/>
                  <a:gd name="T40" fmla="*/ 904 w 1148"/>
                  <a:gd name="T41" fmla="*/ 436 h 1131"/>
                  <a:gd name="T42" fmla="*/ 929 w 1148"/>
                  <a:gd name="T43" fmla="*/ 420 h 1131"/>
                  <a:gd name="T44" fmla="*/ 943 w 1148"/>
                  <a:gd name="T45" fmla="*/ 401 h 1131"/>
                  <a:gd name="T46" fmla="*/ 941 w 1148"/>
                  <a:gd name="T47" fmla="*/ 347 h 1131"/>
                  <a:gd name="T48" fmla="*/ 975 w 1148"/>
                  <a:gd name="T49" fmla="*/ 336 h 1131"/>
                  <a:gd name="T50" fmla="*/ 996 w 1148"/>
                  <a:gd name="T51" fmla="*/ 380 h 1131"/>
                  <a:gd name="T52" fmla="*/ 1025 w 1148"/>
                  <a:gd name="T53" fmla="*/ 470 h 1131"/>
                  <a:gd name="T54" fmla="*/ 1035 w 1148"/>
                  <a:gd name="T55" fmla="*/ 415 h 1131"/>
                  <a:gd name="T56" fmla="*/ 1002 w 1148"/>
                  <a:gd name="T57" fmla="*/ 332 h 1131"/>
                  <a:gd name="T58" fmla="*/ 968 w 1148"/>
                  <a:gd name="T59" fmla="*/ 253 h 1131"/>
                  <a:gd name="T60" fmla="*/ 1087 w 1148"/>
                  <a:gd name="T61" fmla="*/ 159 h 1131"/>
                  <a:gd name="T62" fmla="*/ 1125 w 1148"/>
                  <a:gd name="T63" fmla="*/ 295 h 1131"/>
                  <a:gd name="T64" fmla="*/ 1096 w 1148"/>
                  <a:gd name="T65" fmla="*/ 432 h 1131"/>
                  <a:gd name="T66" fmla="*/ 946 w 1148"/>
                  <a:gd name="T67" fmla="*/ 643 h 1131"/>
                  <a:gd name="T68" fmla="*/ 706 w 1148"/>
                  <a:gd name="T69" fmla="*/ 766 h 1131"/>
                  <a:gd name="T70" fmla="*/ 551 w 1148"/>
                  <a:gd name="T71" fmla="*/ 943 h 1131"/>
                  <a:gd name="T72" fmla="*/ 415 w 1148"/>
                  <a:gd name="T73" fmla="*/ 1022 h 1131"/>
                  <a:gd name="T74" fmla="*/ 367 w 1148"/>
                  <a:gd name="T75" fmla="*/ 1110 h 1131"/>
                  <a:gd name="T76" fmla="*/ 261 w 1148"/>
                  <a:gd name="T77" fmla="*/ 1104 h 1131"/>
                  <a:gd name="T78" fmla="*/ 96 w 1148"/>
                  <a:gd name="T79" fmla="*/ 945 h 1131"/>
                  <a:gd name="T80" fmla="*/ 111 w 1148"/>
                  <a:gd name="T81" fmla="*/ 672 h 1131"/>
                  <a:gd name="T82" fmla="*/ 129 w 1148"/>
                  <a:gd name="T83" fmla="*/ 635 h 1131"/>
                  <a:gd name="T84" fmla="*/ 180 w 1148"/>
                  <a:gd name="T85" fmla="*/ 574 h 1131"/>
                  <a:gd name="T86" fmla="*/ 196 w 1148"/>
                  <a:gd name="T87" fmla="*/ 539 h 1131"/>
                  <a:gd name="T88" fmla="*/ 196 w 1148"/>
                  <a:gd name="T89" fmla="*/ 530 h 1131"/>
                  <a:gd name="T90" fmla="*/ 236 w 1148"/>
                  <a:gd name="T91" fmla="*/ 486 h 1131"/>
                  <a:gd name="T92" fmla="*/ 251 w 1148"/>
                  <a:gd name="T93" fmla="*/ 397 h 1131"/>
                  <a:gd name="T94" fmla="*/ 251 w 1148"/>
                  <a:gd name="T95" fmla="*/ 309 h 1131"/>
                  <a:gd name="T96" fmla="*/ 288 w 1148"/>
                  <a:gd name="T97" fmla="*/ 261 h 1131"/>
                  <a:gd name="T98" fmla="*/ 338 w 1148"/>
                  <a:gd name="T99" fmla="*/ 240 h 1131"/>
                  <a:gd name="T100" fmla="*/ 357 w 1148"/>
                  <a:gd name="T101" fmla="*/ 215 h 1131"/>
                  <a:gd name="T102" fmla="*/ 355 w 1148"/>
                  <a:gd name="T103" fmla="*/ 167 h 1131"/>
                  <a:gd name="T104" fmla="*/ 365 w 1148"/>
                  <a:gd name="T105" fmla="*/ 140 h 1131"/>
                  <a:gd name="T106" fmla="*/ 386 w 1148"/>
                  <a:gd name="T107" fmla="*/ 86 h 1131"/>
                  <a:gd name="T108" fmla="*/ 428 w 1148"/>
                  <a:gd name="T109" fmla="*/ 51 h 1131"/>
                  <a:gd name="T110" fmla="*/ 497 w 1148"/>
                  <a:gd name="T111" fmla="*/ 34 h 1131"/>
                  <a:gd name="T112" fmla="*/ 526 w 1148"/>
                  <a:gd name="T113" fmla="*/ 7 h 1131"/>
                  <a:gd name="T114" fmla="*/ 572 w 1148"/>
                  <a:gd name="T115" fmla="*/ 1 h 1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48" h="1131">
                    <a:moveTo>
                      <a:pt x="236" y="395"/>
                    </a:moveTo>
                    <a:lnTo>
                      <a:pt x="228" y="395"/>
                    </a:lnTo>
                    <a:lnTo>
                      <a:pt x="228" y="391"/>
                    </a:lnTo>
                    <a:lnTo>
                      <a:pt x="230" y="390"/>
                    </a:lnTo>
                    <a:lnTo>
                      <a:pt x="232" y="386"/>
                    </a:lnTo>
                    <a:lnTo>
                      <a:pt x="232" y="382"/>
                    </a:lnTo>
                    <a:lnTo>
                      <a:pt x="232" y="374"/>
                    </a:lnTo>
                    <a:lnTo>
                      <a:pt x="238" y="370"/>
                    </a:lnTo>
                    <a:lnTo>
                      <a:pt x="242" y="374"/>
                    </a:lnTo>
                    <a:lnTo>
                      <a:pt x="244" y="378"/>
                    </a:lnTo>
                    <a:lnTo>
                      <a:pt x="244" y="388"/>
                    </a:lnTo>
                    <a:lnTo>
                      <a:pt x="240" y="391"/>
                    </a:lnTo>
                    <a:lnTo>
                      <a:pt x="236" y="395"/>
                    </a:lnTo>
                    <a:close/>
                    <a:moveTo>
                      <a:pt x="580" y="0"/>
                    </a:moveTo>
                    <a:lnTo>
                      <a:pt x="582" y="11"/>
                    </a:lnTo>
                    <a:lnTo>
                      <a:pt x="591" y="13"/>
                    </a:lnTo>
                    <a:lnTo>
                      <a:pt x="599" y="23"/>
                    </a:lnTo>
                    <a:lnTo>
                      <a:pt x="605" y="46"/>
                    </a:lnTo>
                    <a:lnTo>
                      <a:pt x="609" y="63"/>
                    </a:lnTo>
                    <a:lnTo>
                      <a:pt x="622" y="80"/>
                    </a:lnTo>
                    <a:lnTo>
                      <a:pt x="622" y="84"/>
                    </a:lnTo>
                    <a:lnTo>
                      <a:pt x="622" y="86"/>
                    </a:lnTo>
                    <a:lnTo>
                      <a:pt x="620" y="99"/>
                    </a:lnTo>
                    <a:lnTo>
                      <a:pt x="620" y="101"/>
                    </a:lnTo>
                    <a:lnTo>
                      <a:pt x="622" y="101"/>
                    </a:lnTo>
                    <a:lnTo>
                      <a:pt x="632" y="105"/>
                    </a:lnTo>
                    <a:lnTo>
                      <a:pt x="653" y="111"/>
                    </a:lnTo>
                    <a:lnTo>
                      <a:pt x="655" y="113"/>
                    </a:lnTo>
                    <a:lnTo>
                      <a:pt x="651" y="121"/>
                    </a:lnTo>
                    <a:lnTo>
                      <a:pt x="649" y="126"/>
                    </a:lnTo>
                    <a:lnTo>
                      <a:pt x="647" y="136"/>
                    </a:lnTo>
                    <a:lnTo>
                      <a:pt x="643" y="144"/>
                    </a:lnTo>
                    <a:lnTo>
                      <a:pt x="641" y="153"/>
                    </a:lnTo>
                    <a:lnTo>
                      <a:pt x="639" y="161"/>
                    </a:lnTo>
                    <a:lnTo>
                      <a:pt x="645" y="159"/>
                    </a:lnTo>
                    <a:lnTo>
                      <a:pt x="651" y="161"/>
                    </a:lnTo>
                    <a:lnTo>
                      <a:pt x="658" y="163"/>
                    </a:lnTo>
                    <a:lnTo>
                      <a:pt x="664" y="165"/>
                    </a:lnTo>
                    <a:lnTo>
                      <a:pt x="670" y="167"/>
                    </a:lnTo>
                    <a:lnTo>
                      <a:pt x="668" y="172"/>
                    </a:lnTo>
                    <a:lnTo>
                      <a:pt x="664" y="182"/>
                    </a:lnTo>
                    <a:lnTo>
                      <a:pt x="672" y="186"/>
                    </a:lnTo>
                    <a:lnTo>
                      <a:pt x="674" y="188"/>
                    </a:lnTo>
                    <a:lnTo>
                      <a:pt x="676" y="196"/>
                    </a:lnTo>
                    <a:lnTo>
                      <a:pt x="678" y="197"/>
                    </a:lnTo>
                    <a:lnTo>
                      <a:pt x="680" y="199"/>
                    </a:lnTo>
                    <a:lnTo>
                      <a:pt x="695" y="215"/>
                    </a:lnTo>
                    <a:lnTo>
                      <a:pt x="699" y="219"/>
                    </a:lnTo>
                    <a:lnTo>
                      <a:pt x="697" y="240"/>
                    </a:lnTo>
                    <a:lnTo>
                      <a:pt x="691" y="242"/>
                    </a:lnTo>
                    <a:lnTo>
                      <a:pt x="697" y="245"/>
                    </a:lnTo>
                    <a:lnTo>
                      <a:pt x="720" y="236"/>
                    </a:lnTo>
                    <a:lnTo>
                      <a:pt x="733" y="234"/>
                    </a:lnTo>
                    <a:lnTo>
                      <a:pt x="741" y="234"/>
                    </a:lnTo>
                    <a:lnTo>
                      <a:pt x="747" y="236"/>
                    </a:lnTo>
                    <a:lnTo>
                      <a:pt x="758" y="238"/>
                    </a:lnTo>
                    <a:lnTo>
                      <a:pt x="764" y="240"/>
                    </a:lnTo>
                    <a:lnTo>
                      <a:pt x="766" y="247"/>
                    </a:lnTo>
                    <a:lnTo>
                      <a:pt x="772" y="251"/>
                    </a:lnTo>
                    <a:lnTo>
                      <a:pt x="770" y="259"/>
                    </a:lnTo>
                    <a:lnTo>
                      <a:pt x="764" y="259"/>
                    </a:lnTo>
                    <a:lnTo>
                      <a:pt x="756" y="263"/>
                    </a:lnTo>
                    <a:lnTo>
                      <a:pt x="747" y="270"/>
                    </a:lnTo>
                    <a:lnTo>
                      <a:pt x="743" y="270"/>
                    </a:lnTo>
                    <a:lnTo>
                      <a:pt x="735" y="274"/>
                    </a:lnTo>
                    <a:lnTo>
                      <a:pt x="730" y="274"/>
                    </a:lnTo>
                    <a:lnTo>
                      <a:pt x="718" y="276"/>
                    </a:lnTo>
                    <a:lnTo>
                      <a:pt x="718" y="284"/>
                    </a:lnTo>
                    <a:lnTo>
                      <a:pt x="718" y="286"/>
                    </a:lnTo>
                    <a:lnTo>
                      <a:pt x="722" y="288"/>
                    </a:lnTo>
                    <a:lnTo>
                      <a:pt x="733" y="288"/>
                    </a:lnTo>
                    <a:lnTo>
                      <a:pt x="745" y="293"/>
                    </a:lnTo>
                    <a:lnTo>
                      <a:pt x="751" y="303"/>
                    </a:lnTo>
                    <a:lnTo>
                      <a:pt x="766" y="301"/>
                    </a:lnTo>
                    <a:lnTo>
                      <a:pt x="766" y="272"/>
                    </a:lnTo>
                    <a:lnTo>
                      <a:pt x="779" y="257"/>
                    </a:lnTo>
                    <a:lnTo>
                      <a:pt x="787" y="242"/>
                    </a:lnTo>
                    <a:lnTo>
                      <a:pt x="793" y="232"/>
                    </a:lnTo>
                    <a:lnTo>
                      <a:pt x="797" y="228"/>
                    </a:lnTo>
                    <a:lnTo>
                      <a:pt x="799" y="224"/>
                    </a:lnTo>
                    <a:lnTo>
                      <a:pt x="801" y="224"/>
                    </a:lnTo>
                    <a:lnTo>
                      <a:pt x="804" y="224"/>
                    </a:lnTo>
                    <a:lnTo>
                      <a:pt x="806" y="222"/>
                    </a:lnTo>
                    <a:lnTo>
                      <a:pt x="808" y="222"/>
                    </a:lnTo>
                    <a:lnTo>
                      <a:pt x="812" y="220"/>
                    </a:lnTo>
                    <a:lnTo>
                      <a:pt x="812" y="222"/>
                    </a:lnTo>
                    <a:lnTo>
                      <a:pt x="816" y="228"/>
                    </a:lnTo>
                    <a:lnTo>
                      <a:pt x="824" y="232"/>
                    </a:lnTo>
                    <a:lnTo>
                      <a:pt x="827" y="236"/>
                    </a:lnTo>
                    <a:lnTo>
                      <a:pt x="829" y="240"/>
                    </a:lnTo>
                    <a:lnTo>
                      <a:pt x="829" y="244"/>
                    </a:lnTo>
                    <a:lnTo>
                      <a:pt x="827" y="247"/>
                    </a:lnTo>
                    <a:lnTo>
                      <a:pt x="827" y="253"/>
                    </a:lnTo>
                    <a:lnTo>
                      <a:pt x="827" y="259"/>
                    </a:lnTo>
                    <a:lnTo>
                      <a:pt x="827" y="263"/>
                    </a:lnTo>
                    <a:lnTo>
                      <a:pt x="827" y="265"/>
                    </a:lnTo>
                    <a:lnTo>
                      <a:pt x="831" y="267"/>
                    </a:lnTo>
                    <a:lnTo>
                      <a:pt x="839" y="269"/>
                    </a:lnTo>
                    <a:lnTo>
                      <a:pt x="847" y="263"/>
                    </a:lnTo>
                    <a:lnTo>
                      <a:pt x="860" y="257"/>
                    </a:lnTo>
                    <a:lnTo>
                      <a:pt x="870" y="255"/>
                    </a:lnTo>
                    <a:lnTo>
                      <a:pt x="889" y="253"/>
                    </a:lnTo>
                    <a:lnTo>
                      <a:pt x="893" y="249"/>
                    </a:lnTo>
                    <a:lnTo>
                      <a:pt x="898" y="249"/>
                    </a:lnTo>
                    <a:lnTo>
                      <a:pt x="902" y="251"/>
                    </a:lnTo>
                    <a:lnTo>
                      <a:pt x="902" y="259"/>
                    </a:lnTo>
                    <a:lnTo>
                      <a:pt x="900" y="267"/>
                    </a:lnTo>
                    <a:lnTo>
                      <a:pt x="900" y="272"/>
                    </a:lnTo>
                    <a:lnTo>
                      <a:pt x="897" y="278"/>
                    </a:lnTo>
                    <a:lnTo>
                      <a:pt x="898" y="280"/>
                    </a:lnTo>
                    <a:lnTo>
                      <a:pt x="900" y="280"/>
                    </a:lnTo>
                    <a:lnTo>
                      <a:pt x="906" y="270"/>
                    </a:lnTo>
                    <a:lnTo>
                      <a:pt x="912" y="263"/>
                    </a:lnTo>
                    <a:lnTo>
                      <a:pt x="914" y="259"/>
                    </a:lnTo>
                    <a:lnTo>
                      <a:pt x="920" y="257"/>
                    </a:lnTo>
                    <a:lnTo>
                      <a:pt x="922" y="257"/>
                    </a:lnTo>
                    <a:lnTo>
                      <a:pt x="929" y="257"/>
                    </a:lnTo>
                    <a:lnTo>
                      <a:pt x="933" y="263"/>
                    </a:lnTo>
                    <a:lnTo>
                      <a:pt x="937" y="272"/>
                    </a:lnTo>
                    <a:lnTo>
                      <a:pt x="937" y="276"/>
                    </a:lnTo>
                    <a:lnTo>
                      <a:pt x="935" y="282"/>
                    </a:lnTo>
                    <a:lnTo>
                      <a:pt x="935" y="288"/>
                    </a:lnTo>
                    <a:lnTo>
                      <a:pt x="937" y="292"/>
                    </a:lnTo>
                    <a:lnTo>
                      <a:pt x="937" y="295"/>
                    </a:lnTo>
                    <a:lnTo>
                      <a:pt x="933" y="301"/>
                    </a:lnTo>
                    <a:lnTo>
                      <a:pt x="931" y="307"/>
                    </a:lnTo>
                    <a:lnTo>
                      <a:pt x="925" y="313"/>
                    </a:lnTo>
                    <a:lnTo>
                      <a:pt x="922" y="315"/>
                    </a:lnTo>
                    <a:lnTo>
                      <a:pt x="920" y="318"/>
                    </a:lnTo>
                    <a:lnTo>
                      <a:pt x="922" y="322"/>
                    </a:lnTo>
                    <a:lnTo>
                      <a:pt x="922" y="326"/>
                    </a:lnTo>
                    <a:lnTo>
                      <a:pt x="922" y="332"/>
                    </a:lnTo>
                    <a:lnTo>
                      <a:pt x="920" y="338"/>
                    </a:lnTo>
                    <a:lnTo>
                      <a:pt x="916" y="340"/>
                    </a:lnTo>
                    <a:lnTo>
                      <a:pt x="914" y="342"/>
                    </a:lnTo>
                    <a:lnTo>
                      <a:pt x="910" y="342"/>
                    </a:lnTo>
                    <a:lnTo>
                      <a:pt x="910" y="345"/>
                    </a:lnTo>
                    <a:lnTo>
                      <a:pt x="910" y="347"/>
                    </a:lnTo>
                    <a:lnTo>
                      <a:pt x="916" y="353"/>
                    </a:lnTo>
                    <a:lnTo>
                      <a:pt x="916" y="357"/>
                    </a:lnTo>
                    <a:lnTo>
                      <a:pt x="914" y="361"/>
                    </a:lnTo>
                    <a:lnTo>
                      <a:pt x="908" y="368"/>
                    </a:lnTo>
                    <a:lnTo>
                      <a:pt x="900" y="374"/>
                    </a:lnTo>
                    <a:lnTo>
                      <a:pt x="902" y="378"/>
                    </a:lnTo>
                    <a:lnTo>
                      <a:pt x="904" y="380"/>
                    </a:lnTo>
                    <a:lnTo>
                      <a:pt x="910" y="380"/>
                    </a:lnTo>
                    <a:lnTo>
                      <a:pt x="916" y="384"/>
                    </a:lnTo>
                    <a:lnTo>
                      <a:pt x="916" y="388"/>
                    </a:lnTo>
                    <a:lnTo>
                      <a:pt x="916" y="395"/>
                    </a:lnTo>
                    <a:lnTo>
                      <a:pt x="914" y="403"/>
                    </a:lnTo>
                    <a:lnTo>
                      <a:pt x="912" y="411"/>
                    </a:lnTo>
                    <a:lnTo>
                      <a:pt x="910" y="415"/>
                    </a:lnTo>
                    <a:lnTo>
                      <a:pt x="906" y="416"/>
                    </a:lnTo>
                    <a:lnTo>
                      <a:pt x="898" y="420"/>
                    </a:lnTo>
                    <a:lnTo>
                      <a:pt x="893" y="420"/>
                    </a:lnTo>
                    <a:lnTo>
                      <a:pt x="891" y="420"/>
                    </a:lnTo>
                    <a:lnTo>
                      <a:pt x="889" y="422"/>
                    </a:lnTo>
                    <a:lnTo>
                      <a:pt x="891" y="428"/>
                    </a:lnTo>
                    <a:lnTo>
                      <a:pt x="877" y="438"/>
                    </a:lnTo>
                    <a:lnTo>
                      <a:pt x="872" y="439"/>
                    </a:lnTo>
                    <a:lnTo>
                      <a:pt x="866" y="441"/>
                    </a:lnTo>
                    <a:lnTo>
                      <a:pt x="866" y="449"/>
                    </a:lnTo>
                    <a:lnTo>
                      <a:pt x="870" y="449"/>
                    </a:lnTo>
                    <a:lnTo>
                      <a:pt x="877" y="449"/>
                    </a:lnTo>
                    <a:lnTo>
                      <a:pt x="881" y="447"/>
                    </a:lnTo>
                    <a:lnTo>
                      <a:pt x="893" y="441"/>
                    </a:lnTo>
                    <a:lnTo>
                      <a:pt x="898" y="438"/>
                    </a:lnTo>
                    <a:lnTo>
                      <a:pt x="904" y="436"/>
                    </a:lnTo>
                    <a:lnTo>
                      <a:pt x="906" y="436"/>
                    </a:lnTo>
                    <a:lnTo>
                      <a:pt x="912" y="438"/>
                    </a:lnTo>
                    <a:lnTo>
                      <a:pt x="916" y="438"/>
                    </a:lnTo>
                    <a:lnTo>
                      <a:pt x="918" y="434"/>
                    </a:lnTo>
                    <a:lnTo>
                      <a:pt x="920" y="428"/>
                    </a:lnTo>
                    <a:lnTo>
                      <a:pt x="920" y="424"/>
                    </a:lnTo>
                    <a:lnTo>
                      <a:pt x="923" y="420"/>
                    </a:lnTo>
                    <a:lnTo>
                      <a:pt x="929" y="420"/>
                    </a:lnTo>
                    <a:lnTo>
                      <a:pt x="931" y="418"/>
                    </a:lnTo>
                    <a:lnTo>
                      <a:pt x="933" y="416"/>
                    </a:lnTo>
                    <a:lnTo>
                      <a:pt x="929" y="415"/>
                    </a:lnTo>
                    <a:lnTo>
                      <a:pt x="931" y="411"/>
                    </a:lnTo>
                    <a:lnTo>
                      <a:pt x="939" y="405"/>
                    </a:lnTo>
                    <a:lnTo>
                      <a:pt x="941" y="403"/>
                    </a:lnTo>
                    <a:lnTo>
                      <a:pt x="943" y="403"/>
                    </a:lnTo>
                    <a:lnTo>
                      <a:pt x="943" y="401"/>
                    </a:lnTo>
                    <a:lnTo>
                      <a:pt x="941" y="397"/>
                    </a:lnTo>
                    <a:lnTo>
                      <a:pt x="943" y="391"/>
                    </a:lnTo>
                    <a:lnTo>
                      <a:pt x="943" y="384"/>
                    </a:lnTo>
                    <a:lnTo>
                      <a:pt x="941" y="376"/>
                    </a:lnTo>
                    <a:lnTo>
                      <a:pt x="943" y="372"/>
                    </a:lnTo>
                    <a:lnTo>
                      <a:pt x="941" y="370"/>
                    </a:lnTo>
                    <a:lnTo>
                      <a:pt x="939" y="359"/>
                    </a:lnTo>
                    <a:lnTo>
                      <a:pt x="941" y="347"/>
                    </a:lnTo>
                    <a:lnTo>
                      <a:pt x="945" y="342"/>
                    </a:lnTo>
                    <a:lnTo>
                      <a:pt x="948" y="338"/>
                    </a:lnTo>
                    <a:lnTo>
                      <a:pt x="950" y="328"/>
                    </a:lnTo>
                    <a:lnTo>
                      <a:pt x="956" y="322"/>
                    </a:lnTo>
                    <a:lnTo>
                      <a:pt x="962" y="322"/>
                    </a:lnTo>
                    <a:lnTo>
                      <a:pt x="968" y="322"/>
                    </a:lnTo>
                    <a:lnTo>
                      <a:pt x="970" y="326"/>
                    </a:lnTo>
                    <a:lnTo>
                      <a:pt x="975" y="336"/>
                    </a:lnTo>
                    <a:lnTo>
                      <a:pt x="983" y="343"/>
                    </a:lnTo>
                    <a:lnTo>
                      <a:pt x="985" y="345"/>
                    </a:lnTo>
                    <a:lnTo>
                      <a:pt x="987" y="351"/>
                    </a:lnTo>
                    <a:lnTo>
                      <a:pt x="989" y="355"/>
                    </a:lnTo>
                    <a:lnTo>
                      <a:pt x="991" y="365"/>
                    </a:lnTo>
                    <a:lnTo>
                      <a:pt x="993" y="370"/>
                    </a:lnTo>
                    <a:lnTo>
                      <a:pt x="994" y="376"/>
                    </a:lnTo>
                    <a:lnTo>
                      <a:pt x="996" y="380"/>
                    </a:lnTo>
                    <a:lnTo>
                      <a:pt x="1002" y="388"/>
                    </a:lnTo>
                    <a:lnTo>
                      <a:pt x="1012" y="409"/>
                    </a:lnTo>
                    <a:lnTo>
                      <a:pt x="1014" y="416"/>
                    </a:lnTo>
                    <a:lnTo>
                      <a:pt x="1016" y="447"/>
                    </a:lnTo>
                    <a:lnTo>
                      <a:pt x="1016" y="455"/>
                    </a:lnTo>
                    <a:lnTo>
                      <a:pt x="1016" y="468"/>
                    </a:lnTo>
                    <a:lnTo>
                      <a:pt x="1019" y="470"/>
                    </a:lnTo>
                    <a:lnTo>
                      <a:pt x="1025" y="470"/>
                    </a:lnTo>
                    <a:lnTo>
                      <a:pt x="1027" y="470"/>
                    </a:lnTo>
                    <a:lnTo>
                      <a:pt x="1029" y="464"/>
                    </a:lnTo>
                    <a:lnTo>
                      <a:pt x="1029" y="455"/>
                    </a:lnTo>
                    <a:lnTo>
                      <a:pt x="1033" y="441"/>
                    </a:lnTo>
                    <a:lnTo>
                      <a:pt x="1033" y="436"/>
                    </a:lnTo>
                    <a:lnTo>
                      <a:pt x="1033" y="428"/>
                    </a:lnTo>
                    <a:lnTo>
                      <a:pt x="1033" y="424"/>
                    </a:lnTo>
                    <a:lnTo>
                      <a:pt x="1035" y="415"/>
                    </a:lnTo>
                    <a:lnTo>
                      <a:pt x="1037" y="411"/>
                    </a:lnTo>
                    <a:lnTo>
                      <a:pt x="1042" y="409"/>
                    </a:lnTo>
                    <a:lnTo>
                      <a:pt x="1042" y="407"/>
                    </a:lnTo>
                    <a:lnTo>
                      <a:pt x="1041" y="401"/>
                    </a:lnTo>
                    <a:lnTo>
                      <a:pt x="1018" y="363"/>
                    </a:lnTo>
                    <a:lnTo>
                      <a:pt x="1016" y="359"/>
                    </a:lnTo>
                    <a:lnTo>
                      <a:pt x="1010" y="340"/>
                    </a:lnTo>
                    <a:lnTo>
                      <a:pt x="1002" y="332"/>
                    </a:lnTo>
                    <a:lnTo>
                      <a:pt x="1000" y="326"/>
                    </a:lnTo>
                    <a:lnTo>
                      <a:pt x="994" y="313"/>
                    </a:lnTo>
                    <a:lnTo>
                      <a:pt x="991" y="307"/>
                    </a:lnTo>
                    <a:lnTo>
                      <a:pt x="987" y="301"/>
                    </a:lnTo>
                    <a:lnTo>
                      <a:pt x="985" y="299"/>
                    </a:lnTo>
                    <a:lnTo>
                      <a:pt x="968" y="265"/>
                    </a:lnTo>
                    <a:lnTo>
                      <a:pt x="966" y="257"/>
                    </a:lnTo>
                    <a:lnTo>
                      <a:pt x="968" y="253"/>
                    </a:lnTo>
                    <a:lnTo>
                      <a:pt x="985" y="242"/>
                    </a:lnTo>
                    <a:lnTo>
                      <a:pt x="991" y="238"/>
                    </a:lnTo>
                    <a:lnTo>
                      <a:pt x="998" y="228"/>
                    </a:lnTo>
                    <a:lnTo>
                      <a:pt x="1016" y="203"/>
                    </a:lnTo>
                    <a:lnTo>
                      <a:pt x="1035" y="188"/>
                    </a:lnTo>
                    <a:lnTo>
                      <a:pt x="1060" y="171"/>
                    </a:lnTo>
                    <a:lnTo>
                      <a:pt x="1075" y="165"/>
                    </a:lnTo>
                    <a:lnTo>
                      <a:pt x="1087" y="159"/>
                    </a:lnTo>
                    <a:lnTo>
                      <a:pt x="1092" y="171"/>
                    </a:lnTo>
                    <a:lnTo>
                      <a:pt x="1100" y="192"/>
                    </a:lnTo>
                    <a:lnTo>
                      <a:pt x="1106" y="217"/>
                    </a:lnTo>
                    <a:lnTo>
                      <a:pt x="1100" y="236"/>
                    </a:lnTo>
                    <a:lnTo>
                      <a:pt x="1098" y="249"/>
                    </a:lnTo>
                    <a:lnTo>
                      <a:pt x="1102" y="267"/>
                    </a:lnTo>
                    <a:lnTo>
                      <a:pt x="1112" y="284"/>
                    </a:lnTo>
                    <a:lnTo>
                      <a:pt x="1125" y="295"/>
                    </a:lnTo>
                    <a:lnTo>
                      <a:pt x="1135" y="299"/>
                    </a:lnTo>
                    <a:lnTo>
                      <a:pt x="1148" y="303"/>
                    </a:lnTo>
                    <a:lnTo>
                      <a:pt x="1129" y="324"/>
                    </a:lnTo>
                    <a:lnTo>
                      <a:pt x="1121" y="342"/>
                    </a:lnTo>
                    <a:lnTo>
                      <a:pt x="1117" y="366"/>
                    </a:lnTo>
                    <a:lnTo>
                      <a:pt x="1114" y="397"/>
                    </a:lnTo>
                    <a:lnTo>
                      <a:pt x="1110" y="411"/>
                    </a:lnTo>
                    <a:lnTo>
                      <a:pt x="1096" y="432"/>
                    </a:lnTo>
                    <a:lnTo>
                      <a:pt x="1087" y="451"/>
                    </a:lnTo>
                    <a:lnTo>
                      <a:pt x="1085" y="466"/>
                    </a:lnTo>
                    <a:lnTo>
                      <a:pt x="1087" y="476"/>
                    </a:lnTo>
                    <a:lnTo>
                      <a:pt x="1100" y="505"/>
                    </a:lnTo>
                    <a:lnTo>
                      <a:pt x="1081" y="522"/>
                    </a:lnTo>
                    <a:lnTo>
                      <a:pt x="1006" y="585"/>
                    </a:lnTo>
                    <a:lnTo>
                      <a:pt x="991" y="599"/>
                    </a:lnTo>
                    <a:lnTo>
                      <a:pt x="946" y="643"/>
                    </a:lnTo>
                    <a:lnTo>
                      <a:pt x="912" y="670"/>
                    </a:lnTo>
                    <a:lnTo>
                      <a:pt x="893" y="678"/>
                    </a:lnTo>
                    <a:lnTo>
                      <a:pt x="875" y="685"/>
                    </a:lnTo>
                    <a:lnTo>
                      <a:pt x="760" y="720"/>
                    </a:lnTo>
                    <a:lnTo>
                      <a:pt x="741" y="731"/>
                    </a:lnTo>
                    <a:lnTo>
                      <a:pt x="728" y="747"/>
                    </a:lnTo>
                    <a:lnTo>
                      <a:pt x="718" y="760"/>
                    </a:lnTo>
                    <a:lnTo>
                      <a:pt x="706" y="766"/>
                    </a:lnTo>
                    <a:lnTo>
                      <a:pt x="695" y="770"/>
                    </a:lnTo>
                    <a:lnTo>
                      <a:pt x="682" y="785"/>
                    </a:lnTo>
                    <a:lnTo>
                      <a:pt x="674" y="795"/>
                    </a:lnTo>
                    <a:lnTo>
                      <a:pt x="634" y="847"/>
                    </a:lnTo>
                    <a:lnTo>
                      <a:pt x="618" y="858"/>
                    </a:lnTo>
                    <a:lnTo>
                      <a:pt x="591" y="897"/>
                    </a:lnTo>
                    <a:lnTo>
                      <a:pt x="580" y="914"/>
                    </a:lnTo>
                    <a:lnTo>
                      <a:pt x="551" y="943"/>
                    </a:lnTo>
                    <a:lnTo>
                      <a:pt x="539" y="952"/>
                    </a:lnTo>
                    <a:lnTo>
                      <a:pt x="484" y="995"/>
                    </a:lnTo>
                    <a:lnTo>
                      <a:pt x="465" y="1010"/>
                    </a:lnTo>
                    <a:lnTo>
                      <a:pt x="457" y="1012"/>
                    </a:lnTo>
                    <a:lnTo>
                      <a:pt x="443" y="1016"/>
                    </a:lnTo>
                    <a:lnTo>
                      <a:pt x="428" y="1016"/>
                    </a:lnTo>
                    <a:lnTo>
                      <a:pt x="420" y="1018"/>
                    </a:lnTo>
                    <a:lnTo>
                      <a:pt x="415" y="1022"/>
                    </a:lnTo>
                    <a:lnTo>
                      <a:pt x="411" y="1025"/>
                    </a:lnTo>
                    <a:lnTo>
                      <a:pt x="409" y="1033"/>
                    </a:lnTo>
                    <a:lnTo>
                      <a:pt x="405" y="1047"/>
                    </a:lnTo>
                    <a:lnTo>
                      <a:pt x="392" y="1093"/>
                    </a:lnTo>
                    <a:lnTo>
                      <a:pt x="388" y="1100"/>
                    </a:lnTo>
                    <a:lnTo>
                      <a:pt x="382" y="1106"/>
                    </a:lnTo>
                    <a:lnTo>
                      <a:pt x="372" y="1110"/>
                    </a:lnTo>
                    <a:lnTo>
                      <a:pt x="367" y="1110"/>
                    </a:lnTo>
                    <a:lnTo>
                      <a:pt x="361" y="1110"/>
                    </a:lnTo>
                    <a:lnTo>
                      <a:pt x="349" y="1114"/>
                    </a:lnTo>
                    <a:lnTo>
                      <a:pt x="328" y="1123"/>
                    </a:lnTo>
                    <a:lnTo>
                      <a:pt x="317" y="1131"/>
                    </a:lnTo>
                    <a:lnTo>
                      <a:pt x="303" y="1112"/>
                    </a:lnTo>
                    <a:lnTo>
                      <a:pt x="292" y="1110"/>
                    </a:lnTo>
                    <a:lnTo>
                      <a:pt x="286" y="1114"/>
                    </a:lnTo>
                    <a:lnTo>
                      <a:pt x="261" y="1104"/>
                    </a:lnTo>
                    <a:lnTo>
                      <a:pt x="194" y="1075"/>
                    </a:lnTo>
                    <a:lnTo>
                      <a:pt x="190" y="1062"/>
                    </a:lnTo>
                    <a:lnTo>
                      <a:pt x="161" y="1037"/>
                    </a:lnTo>
                    <a:lnTo>
                      <a:pt x="142" y="1006"/>
                    </a:lnTo>
                    <a:lnTo>
                      <a:pt x="140" y="975"/>
                    </a:lnTo>
                    <a:lnTo>
                      <a:pt x="134" y="964"/>
                    </a:lnTo>
                    <a:lnTo>
                      <a:pt x="123" y="952"/>
                    </a:lnTo>
                    <a:lnTo>
                      <a:pt x="96" y="945"/>
                    </a:lnTo>
                    <a:lnTo>
                      <a:pt x="75" y="922"/>
                    </a:lnTo>
                    <a:lnTo>
                      <a:pt x="0" y="868"/>
                    </a:lnTo>
                    <a:lnTo>
                      <a:pt x="15" y="822"/>
                    </a:lnTo>
                    <a:lnTo>
                      <a:pt x="23" y="812"/>
                    </a:lnTo>
                    <a:lnTo>
                      <a:pt x="38" y="804"/>
                    </a:lnTo>
                    <a:lnTo>
                      <a:pt x="50" y="787"/>
                    </a:lnTo>
                    <a:lnTo>
                      <a:pt x="107" y="680"/>
                    </a:lnTo>
                    <a:lnTo>
                      <a:pt x="111" y="672"/>
                    </a:lnTo>
                    <a:lnTo>
                      <a:pt x="109" y="668"/>
                    </a:lnTo>
                    <a:lnTo>
                      <a:pt x="107" y="664"/>
                    </a:lnTo>
                    <a:lnTo>
                      <a:pt x="107" y="660"/>
                    </a:lnTo>
                    <a:lnTo>
                      <a:pt x="107" y="657"/>
                    </a:lnTo>
                    <a:lnTo>
                      <a:pt x="111" y="651"/>
                    </a:lnTo>
                    <a:lnTo>
                      <a:pt x="115" y="647"/>
                    </a:lnTo>
                    <a:lnTo>
                      <a:pt x="125" y="639"/>
                    </a:lnTo>
                    <a:lnTo>
                      <a:pt x="129" y="635"/>
                    </a:lnTo>
                    <a:lnTo>
                      <a:pt x="132" y="635"/>
                    </a:lnTo>
                    <a:lnTo>
                      <a:pt x="136" y="637"/>
                    </a:lnTo>
                    <a:lnTo>
                      <a:pt x="142" y="635"/>
                    </a:lnTo>
                    <a:lnTo>
                      <a:pt x="144" y="634"/>
                    </a:lnTo>
                    <a:lnTo>
                      <a:pt x="152" y="635"/>
                    </a:lnTo>
                    <a:lnTo>
                      <a:pt x="159" y="622"/>
                    </a:lnTo>
                    <a:lnTo>
                      <a:pt x="163" y="609"/>
                    </a:lnTo>
                    <a:lnTo>
                      <a:pt x="180" y="574"/>
                    </a:lnTo>
                    <a:lnTo>
                      <a:pt x="184" y="568"/>
                    </a:lnTo>
                    <a:lnTo>
                      <a:pt x="194" y="551"/>
                    </a:lnTo>
                    <a:lnTo>
                      <a:pt x="194" y="547"/>
                    </a:lnTo>
                    <a:lnTo>
                      <a:pt x="190" y="543"/>
                    </a:lnTo>
                    <a:lnTo>
                      <a:pt x="190" y="539"/>
                    </a:lnTo>
                    <a:lnTo>
                      <a:pt x="192" y="539"/>
                    </a:lnTo>
                    <a:lnTo>
                      <a:pt x="194" y="539"/>
                    </a:lnTo>
                    <a:lnTo>
                      <a:pt x="196" y="539"/>
                    </a:lnTo>
                    <a:lnTo>
                      <a:pt x="198" y="539"/>
                    </a:lnTo>
                    <a:lnTo>
                      <a:pt x="200" y="539"/>
                    </a:lnTo>
                    <a:lnTo>
                      <a:pt x="200" y="537"/>
                    </a:lnTo>
                    <a:lnTo>
                      <a:pt x="200" y="536"/>
                    </a:lnTo>
                    <a:lnTo>
                      <a:pt x="198" y="534"/>
                    </a:lnTo>
                    <a:lnTo>
                      <a:pt x="196" y="534"/>
                    </a:lnTo>
                    <a:lnTo>
                      <a:pt x="196" y="532"/>
                    </a:lnTo>
                    <a:lnTo>
                      <a:pt x="196" y="530"/>
                    </a:lnTo>
                    <a:lnTo>
                      <a:pt x="200" y="524"/>
                    </a:lnTo>
                    <a:lnTo>
                      <a:pt x="202" y="522"/>
                    </a:lnTo>
                    <a:lnTo>
                      <a:pt x="213" y="511"/>
                    </a:lnTo>
                    <a:lnTo>
                      <a:pt x="221" y="503"/>
                    </a:lnTo>
                    <a:lnTo>
                      <a:pt x="223" y="495"/>
                    </a:lnTo>
                    <a:lnTo>
                      <a:pt x="226" y="489"/>
                    </a:lnTo>
                    <a:lnTo>
                      <a:pt x="230" y="486"/>
                    </a:lnTo>
                    <a:lnTo>
                      <a:pt x="236" y="486"/>
                    </a:lnTo>
                    <a:lnTo>
                      <a:pt x="238" y="484"/>
                    </a:lnTo>
                    <a:lnTo>
                      <a:pt x="238" y="478"/>
                    </a:lnTo>
                    <a:lnTo>
                      <a:pt x="236" y="474"/>
                    </a:lnTo>
                    <a:lnTo>
                      <a:pt x="246" y="451"/>
                    </a:lnTo>
                    <a:lnTo>
                      <a:pt x="251" y="438"/>
                    </a:lnTo>
                    <a:lnTo>
                      <a:pt x="250" y="428"/>
                    </a:lnTo>
                    <a:lnTo>
                      <a:pt x="248" y="422"/>
                    </a:lnTo>
                    <a:lnTo>
                      <a:pt x="251" y="397"/>
                    </a:lnTo>
                    <a:lnTo>
                      <a:pt x="253" y="390"/>
                    </a:lnTo>
                    <a:lnTo>
                      <a:pt x="250" y="384"/>
                    </a:lnTo>
                    <a:lnTo>
                      <a:pt x="248" y="376"/>
                    </a:lnTo>
                    <a:lnTo>
                      <a:pt x="248" y="372"/>
                    </a:lnTo>
                    <a:lnTo>
                      <a:pt x="253" y="345"/>
                    </a:lnTo>
                    <a:lnTo>
                      <a:pt x="259" y="338"/>
                    </a:lnTo>
                    <a:lnTo>
                      <a:pt x="253" y="322"/>
                    </a:lnTo>
                    <a:lnTo>
                      <a:pt x="251" y="309"/>
                    </a:lnTo>
                    <a:lnTo>
                      <a:pt x="250" y="301"/>
                    </a:lnTo>
                    <a:lnTo>
                      <a:pt x="253" y="297"/>
                    </a:lnTo>
                    <a:lnTo>
                      <a:pt x="265" y="293"/>
                    </a:lnTo>
                    <a:lnTo>
                      <a:pt x="273" y="286"/>
                    </a:lnTo>
                    <a:lnTo>
                      <a:pt x="274" y="280"/>
                    </a:lnTo>
                    <a:lnTo>
                      <a:pt x="276" y="269"/>
                    </a:lnTo>
                    <a:lnTo>
                      <a:pt x="278" y="265"/>
                    </a:lnTo>
                    <a:lnTo>
                      <a:pt x="288" y="261"/>
                    </a:lnTo>
                    <a:lnTo>
                      <a:pt x="299" y="263"/>
                    </a:lnTo>
                    <a:lnTo>
                      <a:pt x="305" y="265"/>
                    </a:lnTo>
                    <a:lnTo>
                      <a:pt x="307" y="259"/>
                    </a:lnTo>
                    <a:lnTo>
                      <a:pt x="315" y="257"/>
                    </a:lnTo>
                    <a:lnTo>
                      <a:pt x="322" y="255"/>
                    </a:lnTo>
                    <a:lnTo>
                      <a:pt x="328" y="247"/>
                    </a:lnTo>
                    <a:lnTo>
                      <a:pt x="332" y="244"/>
                    </a:lnTo>
                    <a:lnTo>
                      <a:pt x="338" y="240"/>
                    </a:lnTo>
                    <a:lnTo>
                      <a:pt x="338" y="238"/>
                    </a:lnTo>
                    <a:lnTo>
                      <a:pt x="332" y="232"/>
                    </a:lnTo>
                    <a:lnTo>
                      <a:pt x="332" y="226"/>
                    </a:lnTo>
                    <a:lnTo>
                      <a:pt x="334" y="220"/>
                    </a:lnTo>
                    <a:lnTo>
                      <a:pt x="338" y="217"/>
                    </a:lnTo>
                    <a:lnTo>
                      <a:pt x="342" y="215"/>
                    </a:lnTo>
                    <a:lnTo>
                      <a:pt x="355" y="215"/>
                    </a:lnTo>
                    <a:lnTo>
                      <a:pt x="357" y="215"/>
                    </a:lnTo>
                    <a:lnTo>
                      <a:pt x="357" y="211"/>
                    </a:lnTo>
                    <a:lnTo>
                      <a:pt x="349" y="207"/>
                    </a:lnTo>
                    <a:lnTo>
                      <a:pt x="347" y="205"/>
                    </a:lnTo>
                    <a:lnTo>
                      <a:pt x="347" y="197"/>
                    </a:lnTo>
                    <a:lnTo>
                      <a:pt x="349" y="192"/>
                    </a:lnTo>
                    <a:lnTo>
                      <a:pt x="351" y="176"/>
                    </a:lnTo>
                    <a:lnTo>
                      <a:pt x="353" y="171"/>
                    </a:lnTo>
                    <a:lnTo>
                      <a:pt x="355" y="167"/>
                    </a:lnTo>
                    <a:lnTo>
                      <a:pt x="357" y="165"/>
                    </a:lnTo>
                    <a:lnTo>
                      <a:pt x="359" y="161"/>
                    </a:lnTo>
                    <a:lnTo>
                      <a:pt x="355" y="159"/>
                    </a:lnTo>
                    <a:lnTo>
                      <a:pt x="355" y="155"/>
                    </a:lnTo>
                    <a:lnTo>
                      <a:pt x="357" y="153"/>
                    </a:lnTo>
                    <a:lnTo>
                      <a:pt x="367" y="146"/>
                    </a:lnTo>
                    <a:lnTo>
                      <a:pt x="369" y="144"/>
                    </a:lnTo>
                    <a:lnTo>
                      <a:pt x="365" y="140"/>
                    </a:lnTo>
                    <a:lnTo>
                      <a:pt x="365" y="134"/>
                    </a:lnTo>
                    <a:lnTo>
                      <a:pt x="367" y="128"/>
                    </a:lnTo>
                    <a:lnTo>
                      <a:pt x="370" y="113"/>
                    </a:lnTo>
                    <a:lnTo>
                      <a:pt x="374" y="101"/>
                    </a:lnTo>
                    <a:lnTo>
                      <a:pt x="376" y="94"/>
                    </a:lnTo>
                    <a:lnTo>
                      <a:pt x="380" y="90"/>
                    </a:lnTo>
                    <a:lnTo>
                      <a:pt x="382" y="88"/>
                    </a:lnTo>
                    <a:lnTo>
                      <a:pt x="386" y="86"/>
                    </a:lnTo>
                    <a:lnTo>
                      <a:pt x="392" y="86"/>
                    </a:lnTo>
                    <a:lnTo>
                      <a:pt x="397" y="80"/>
                    </a:lnTo>
                    <a:lnTo>
                      <a:pt x="399" y="71"/>
                    </a:lnTo>
                    <a:lnTo>
                      <a:pt x="405" y="61"/>
                    </a:lnTo>
                    <a:lnTo>
                      <a:pt x="413" y="51"/>
                    </a:lnTo>
                    <a:lnTo>
                      <a:pt x="417" y="48"/>
                    </a:lnTo>
                    <a:lnTo>
                      <a:pt x="420" y="48"/>
                    </a:lnTo>
                    <a:lnTo>
                      <a:pt x="428" y="51"/>
                    </a:lnTo>
                    <a:lnTo>
                      <a:pt x="436" y="53"/>
                    </a:lnTo>
                    <a:lnTo>
                      <a:pt x="445" y="50"/>
                    </a:lnTo>
                    <a:lnTo>
                      <a:pt x="463" y="38"/>
                    </a:lnTo>
                    <a:lnTo>
                      <a:pt x="468" y="30"/>
                    </a:lnTo>
                    <a:lnTo>
                      <a:pt x="472" y="28"/>
                    </a:lnTo>
                    <a:lnTo>
                      <a:pt x="476" y="28"/>
                    </a:lnTo>
                    <a:lnTo>
                      <a:pt x="490" y="32"/>
                    </a:lnTo>
                    <a:lnTo>
                      <a:pt x="497" y="34"/>
                    </a:lnTo>
                    <a:lnTo>
                      <a:pt x="499" y="34"/>
                    </a:lnTo>
                    <a:lnTo>
                      <a:pt x="499" y="28"/>
                    </a:lnTo>
                    <a:lnTo>
                      <a:pt x="499" y="25"/>
                    </a:lnTo>
                    <a:lnTo>
                      <a:pt x="503" y="21"/>
                    </a:lnTo>
                    <a:lnTo>
                      <a:pt x="511" y="15"/>
                    </a:lnTo>
                    <a:lnTo>
                      <a:pt x="516" y="13"/>
                    </a:lnTo>
                    <a:lnTo>
                      <a:pt x="524" y="13"/>
                    </a:lnTo>
                    <a:lnTo>
                      <a:pt x="526" y="7"/>
                    </a:lnTo>
                    <a:lnTo>
                      <a:pt x="530" y="5"/>
                    </a:lnTo>
                    <a:lnTo>
                      <a:pt x="538" y="5"/>
                    </a:lnTo>
                    <a:lnTo>
                      <a:pt x="543" y="3"/>
                    </a:lnTo>
                    <a:lnTo>
                      <a:pt x="551" y="5"/>
                    </a:lnTo>
                    <a:lnTo>
                      <a:pt x="555" y="5"/>
                    </a:lnTo>
                    <a:lnTo>
                      <a:pt x="559" y="1"/>
                    </a:lnTo>
                    <a:lnTo>
                      <a:pt x="566" y="1"/>
                    </a:lnTo>
                    <a:lnTo>
                      <a:pt x="572" y="1"/>
                    </a:lnTo>
                    <a:lnTo>
                      <a:pt x="580"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21" name="Freeform 9">
                <a:extLst>
                  <a:ext uri="{FF2B5EF4-FFF2-40B4-BE49-F238E27FC236}">
                    <a16:creationId xmlns:a16="http://schemas.microsoft.com/office/drawing/2014/main" id="{3EC1A775-A902-4F84-B6C8-60C2F17B6BA8}"/>
                  </a:ext>
                </a:extLst>
              </p:cNvPr>
              <p:cNvSpPr>
                <a:spLocks/>
              </p:cNvSpPr>
              <p:nvPr/>
            </p:nvSpPr>
            <p:spPr bwMode="gray">
              <a:xfrm>
                <a:off x="2500808" y="3242787"/>
                <a:ext cx="649609" cy="479312"/>
              </a:xfrm>
              <a:custGeom>
                <a:avLst/>
                <a:gdLst>
                  <a:gd name="T0" fmla="*/ 480 w 576"/>
                  <a:gd name="T1" fmla="*/ 409 h 425"/>
                  <a:gd name="T2" fmla="*/ 486 w 576"/>
                  <a:gd name="T3" fmla="*/ 381 h 425"/>
                  <a:gd name="T4" fmla="*/ 497 w 576"/>
                  <a:gd name="T5" fmla="*/ 352 h 425"/>
                  <a:gd name="T6" fmla="*/ 470 w 576"/>
                  <a:gd name="T7" fmla="*/ 346 h 425"/>
                  <a:gd name="T8" fmla="*/ 361 w 576"/>
                  <a:gd name="T9" fmla="*/ 373 h 425"/>
                  <a:gd name="T10" fmla="*/ 284 w 576"/>
                  <a:gd name="T11" fmla="*/ 379 h 425"/>
                  <a:gd name="T12" fmla="*/ 48 w 576"/>
                  <a:gd name="T13" fmla="*/ 377 h 425"/>
                  <a:gd name="T14" fmla="*/ 38 w 576"/>
                  <a:gd name="T15" fmla="*/ 350 h 425"/>
                  <a:gd name="T16" fmla="*/ 0 w 576"/>
                  <a:gd name="T17" fmla="*/ 346 h 425"/>
                  <a:gd name="T18" fmla="*/ 10 w 576"/>
                  <a:gd name="T19" fmla="*/ 333 h 425"/>
                  <a:gd name="T20" fmla="*/ 27 w 576"/>
                  <a:gd name="T21" fmla="*/ 273 h 425"/>
                  <a:gd name="T22" fmla="*/ 33 w 576"/>
                  <a:gd name="T23" fmla="*/ 262 h 425"/>
                  <a:gd name="T24" fmla="*/ 46 w 576"/>
                  <a:gd name="T25" fmla="*/ 256 h 425"/>
                  <a:gd name="T26" fmla="*/ 75 w 576"/>
                  <a:gd name="T27" fmla="*/ 252 h 425"/>
                  <a:gd name="T28" fmla="*/ 102 w 576"/>
                  <a:gd name="T29" fmla="*/ 235 h 425"/>
                  <a:gd name="T30" fmla="*/ 169 w 576"/>
                  <a:gd name="T31" fmla="*/ 183 h 425"/>
                  <a:gd name="T32" fmla="*/ 209 w 576"/>
                  <a:gd name="T33" fmla="*/ 137 h 425"/>
                  <a:gd name="T34" fmla="*/ 252 w 576"/>
                  <a:gd name="T35" fmla="*/ 87 h 425"/>
                  <a:gd name="T36" fmla="*/ 300 w 576"/>
                  <a:gd name="T37" fmla="*/ 25 h 425"/>
                  <a:gd name="T38" fmla="*/ 324 w 576"/>
                  <a:gd name="T39" fmla="*/ 6 h 425"/>
                  <a:gd name="T40" fmla="*/ 349 w 576"/>
                  <a:gd name="T41" fmla="*/ 2 h 425"/>
                  <a:gd name="T42" fmla="*/ 428 w 576"/>
                  <a:gd name="T43" fmla="*/ 62 h 425"/>
                  <a:gd name="T44" fmla="*/ 459 w 576"/>
                  <a:gd name="T45" fmla="*/ 75 h 425"/>
                  <a:gd name="T46" fmla="*/ 478 w 576"/>
                  <a:gd name="T47" fmla="*/ 79 h 425"/>
                  <a:gd name="T48" fmla="*/ 530 w 576"/>
                  <a:gd name="T49" fmla="*/ 85 h 425"/>
                  <a:gd name="T50" fmla="*/ 566 w 576"/>
                  <a:gd name="T51" fmla="*/ 96 h 425"/>
                  <a:gd name="T52" fmla="*/ 576 w 576"/>
                  <a:gd name="T53" fmla="*/ 187 h 425"/>
                  <a:gd name="T54" fmla="*/ 564 w 576"/>
                  <a:gd name="T55" fmla="*/ 202 h 425"/>
                  <a:gd name="T56" fmla="*/ 538 w 576"/>
                  <a:gd name="T57" fmla="*/ 198 h 425"/>
                  <a:gd name="T58" fmla="*/ 509 w 576"/>
                  <a:gd name="T59" fmla="*/ 200 h 425"/>
                  <a:gd name="T60" fmla="*/ 501 w 576"/>
                  <a:gd name="T61" fmla="*/ 214 h 425"/>
                  <a:gd name="T62" fmla="*/ 499 w 576"/>
                  <a:gd name="T63" fmla="*/ 219 h 425"/>
                  <a:gd name="T64" fmla="*/ 501 w 576"/>
                  <a:gd name="T65" fmla="*/ 229 h 425"/>
                  <a:gd name="T66" fmla="*/ 520 w 576"/>
                  <a:gd name="T67" fmla="*/ 242 h 425"/>
                  <a:gd name="T68" fmla="*/ 540 w 576"/>
                  <a:gd name="T69" fmla="*/ 273 h 425"/>
                  <a:gd name="T70" fmla="*/ 541 w 576"/>
                  <a:gd name="T71" fmla="*/ 333 h 425"/>
                  <a:gd name="T72" fmla="*/ 540 w 576"/>
                  <a:gd name="T73" fmla="*/ 369 h 425"/>
                  <a:gd name="T74" fmla="*/ 547 w 576"/>
                  <a:gd name="T75" fmla="*/ 394 h 425"/>
                  <a:gd name="T76" fmla="*/ 482 w 576"/>
                  <a:gd name="T77" fmla="*/ 425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6" h="425">
                    <a:moveTo>
                      <a:pt x="482" y="425"/>
                    </a:moveTo>
                    <a:lnTo>
                      <a:pt x="480" y="409"/>
                    </a:lnTo>
                    <a:lnTo>
                      <a:pt x="480" y="394"/>
                    </a:lnTo>
                    <a:lnTo>
                      <a:pt x="486" y="381"/>
                    </a:lnTo>
                    <a:lnTo>
                      <a:pt x="497" y="365"/>
                    </a:lnTo>
                    <a:lnTo>
                      <a:pt x="497" y="352"/>
                    </a:lnTo>
                    <a:lnTo>
                      <a:pt x="497" y="336"/>
                    </a:lnTo>
                    <a:lnTo>
                      <a:pt x="470" y="346"/>
                    </a:lnTo>
                    <a:lnTo>
                      <a:pt x="363" y="373"/>
                    </a:lnTo>
                    <a:lnTo>
                      <a:pt x="361" y="373"/>
                    </a:lnTo>
                    <a:lnTo>
                      <a:pt x="344" y="379"/>
                    </a:lnTo>
                    <a:lnTo>
                      <a:pt x="284" y="379"/>
                    </a:lnTo>
                    <a:lnTo>
                      <a:pt x="234" y="377"/>
                    </a:lnTo>
                    <a:lnTo>
                      <a:pt x="48" y="377"/>
                    </a:lnTo>
                    <a:lnTo>
                      <a:pt x="50" y="352"/>
                    </a:lnTo>
                    <a:lnTo>
                      <a:pt x="38" y="350"/>
                    </a:lnTo>
                    <a:lnTo>
                      <a:pt x="19" y="348"/>
                    </a:lnTo>
                    <a:lnTo>
                      <a:pt x="0" y="346"/>
                    </a:lnTo>
                    <a:lnTo>
                      <a:pt x="6" y="340"/>
                    </a:lnTo>
                    <a:lnTo>
                      <a:pt x="10" y="333"/>
                    </a:lnTo>
                    <a:lnTo>
                      <a:pt x="23" y="287"/>
                    </a:lnTo>
                    <a:lnTo>
                      <a:pt x="27" y="273"/>
                    </a:lnTo>
                    <a:lnTo>
                      <a:pt x="29" y="265"/>
                    </a:lnTo>
                    <a:lnTo>
                      <a:pt x="33" y="262"/>
                    </a:lnTo>
                    <a:lnTo>
                      <a:pt x="38" y="258"/>
                    </a:lnTo>
                    <a:lnTo>
                      <a:pt x="46" y="256"/>
                    </a:lnTo>
                    <a:lnTo>
                      <a:pt x="61" y="256"/>
                    </a:lnTo>
                    <a:lnTo>
                      <a:pt x="75" y="252"/>
                    </a:lnTo>
                    <a:lnTo>
                      <a:pt x="83" y="250"/>
                    </a:lnTo>
                    <a:lnTo>
                      <a:pt x="102" y="235"/>
                    </a:lnTo>
                    <a:lnTo>
                      <a:pt x="157" y="192"/>
                    </a:lnTo>
                    <a:lnTo>
                      <a:pt x="169" y="183"/>
                    </a:lnTo>
                    <a:lnTo>
                      <a:pt x="198" y="154"/>
                    </a:lnTo>
                    <a:lnTo>
                      <a:pt x="209" y="137"/>
                    </a:lnTo>
                    <a:lnTo>
                      <a:pt x="236" y="98"/>
                    </a:lnTo>
                    <a:lnTo>
                      <a:pt x="252" y="87"/>
                    </a:lnTo>
                    <a:lnTo>
                      <a:pt x="292" y="35"/>
                    </a:lnTo>
                    <a:lnTo>
                      <a:pt x="300" y="25"/>
                    </a:lnTo>
                    <a:lnTo>
                      <a:pt x="313" y="10"/>
                    </a:lnTo>
                    <a:lnTo>
                      <a:pt x="324" y="6"/>
                    </a:lnTo>
                    <a:lnTo>
                      <a:pt x="336" y="0"/>
                    </a:lnTo>
                    <a:lnTo>
                      <a:pt x="349" y="2"/>
                    </a:lnTo>
                    <a:lnTo>
                      <a:pt x="363" y="6"/>
                    </a:lnTo>
                    <a:lnTo>
                      <a:pt x="428" y="62"/>
                    </a:lnTo>
                    <a:lnTo>
                      <a:pt x="445" y="69"/>
                    </a:lnTo>
                    <a:lnTo>
                      <a:pt x="459" y="75"/>
                    </a:lnTo>
                    <a:lnTo>
                      <a:pt x="470" y="77"/>
                    </a:lnTo>
                    <a:lnTo>
                      <a:pt x="478" y="79"/>
                    </a:lnTo>
                    <a:lnTo>
                      <a:pt x="509" y="81"/>
                    </a:lnTo>
                    <a:lnTo>
                      <a:pt x="530" y="85"/>
                    </a:lnTo>
                    <a:lnTo>
                      <a:pt x="541" y="87"/>
                    </a:lnTo>
                    <a:lnTo>
                      <a:pt x="566" y="96"/>
                    </a:lnTo>
                    <a:lnTo>
                      <a:pt x="576" y="102"/>
                    </a:lnTo>
                    <a:lnTo>
                      <a:pt x="576" y="187"/>
                    </a:lnTo>
                    <a:lnTo>
                      <a:pt x="576" y="202"/>
                    </a:lnTo>
                    <a:lnTo>
                      <a:pt x="564" y="202"/>
                    </a:lnTo>
                    <a:lnTo>
                      <a:pt x="551" y="200"/>
                    </a:lnTo>
                    <a:lnTo>
                      <a:pt x="538" y="198"/>
                    </a:lnTo>
                    <a:lnTo>
                      <a:pt x="509" y="194"/>
                    </a:lnTo>
                    <a:lnTo>
                      <a:pt x="509" y="200"/>
                    </a:lnTo>
                    <a:lnTo>
                      <a:pt x="503" y="208"/>
                    </a:lnTo>
                    <a:lnTo>
                      <a:pt x="501" y="214"/>
                    </a:lnTo>
                    <a:lnTo>
                      <a:pt x="499" y="217"/>
                    </a:lnTo>
                    <a:lnTo>
                      <a:pt x="499" y="219"/>
                    </a:lnTo>
                    <a:lnTo>
                      <a:pt x="499" y="223"/>
                    </a:lnTo>
                    <a:lnTo>
                      <a:pt x="501" y="229"/>
                    </a:lnTo>
                    <a:lnTo>
                      <a:pt x="509" y="235"/>
                    </a:lnTo>
                    <a:lnTo>
                      <a:pt x="520" y="242"/>
                    </a:lnTo>
                    <a:lnTo>
                      <a:pt x="532" y="265"/>
                    </a:lnTo>
                    <a:lnTo>
                      <a:pt x="540" y="273"/>
                    </a:lnTo>
                    <a:lnTo>
                      <a:pt x="541" y="285"/>
                    </a:lnTo>
                    <a:lnTo>
                      <a:pt x="541" y="333"/>
                    </a:lnTo>
                    <a:lnTo>
                      <a:pt x="540" y="361"/>
                    </a:lnTo>
                    <a:lnTo>
                      <a:pt x="540" y="369"/>
                    </a:lnTo>
                    <a:lnTo>
                      <a:pt x="540" y="375"/>
                    </a:lnTo>
                    <a:lnTo>
                      <a:pt x="547" y="394"/>
                    </a:lnTo>
                    <a:lnTo>
                      <a:pt x="553" y="408"/>
                    </a:lnTo>
                    <a:lnTo>
                      <a:pt x="482" y="425"/>
                    </a:lnTo>
                    <a:close/>
                  </a:path>
                </a:pathLst>
              </a:custGeom>
              <a:solidFill>
                <a:schemeClr val="accent6">
                  <a:lumMod val="20000"/>
                  <a:lumOff val="80000"/>
                </a:schemeClr>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22" name="Freeform 10">
                <a:extLst>
                  <a:ext uri="{FF2B5EF4-FFF2-40B4-BE49-F238E27FC236}">
                    <a16:creationId xmlns:a16="http://schemas.microsoft.com/office/drawing/2014/main" id="{F3001093-DF0E-451E-B4D4-C92C48B9CCCC}"/>
                  </a:ext>
                </a:extLst>
              </p:cNvPr>
              <p:cNvSpPr>
                <a:spLocks noEditPoints="1"/>
              </p:cNvSpPr>
              <p:nvPr/>
            </p:nvSpPr>
            <p:spPr bwMode="gray">
              <a:xfrm>
                <a:off x="2580881" y="3621726"/>
                <a:ext cx="480440" cy="406006"/>
              </a:xfrm>
              <a:custGeom>
                <a:avLst/>
                <a:gdLst>
                  <a:gd name="T0" fmla="*/ 171 w 426"/>
                  <a:gd name="T1" fmla="*/ 269 h 360"/>
                  <a:gd name="T2" fmla="*/ 181 w 426"/>
                  <a:gd name="T3" fmla="*/ 285 h 360"/>
                  <a:gd name="T4" fmla="*/ 192 w 426"/>
                  <a:gd name="T5" fmla="*/ 304 h 360"/>
                  <a:gd name="T6" fmla="*/ 198 w 426"/>
                  <a:gd name="T7" fmla="*/ 314 h 360"/>
                  <a:gd name="T8" fmla="*/ 163 w 426"/>
                  <a:gd name="T9" fmla="*/ 331 h 360"/>
                  <a:gd name="T10" fmla="*/ 194 w 426"/>
                  <a:gd name="T11" fmla="*/ 337 h 360"/>
                  <a:gd name="T12" fmla="*/ 152 w 426"/>
                  <a:gd name="T13" fmla="*/ 342 h 360"/>
                  <a:gd name="T14" fmla="*/ 140 w 426"/>
                  <a:gd name="T15" fmla="*/ 294 h 360"/>
                  <a:gd name="T16" fmla="*/ 140 w 426"/>
                  <a:gd name="T17" fmla="*/ 289 h 360"/>
                  <a:gd name="T18" fmla="*/ 156 w 426"/>
                  <a:gd name="T19" fmla="*/ 269 h 360"/>
                  <a:gd name="T20" fmla="*/ 165 w 426"/>
                  <a:gd name="T21" fmla="*/ 268 h 360"/>
                  <a:gd name="T22" fmla="*/ 421 w 426"/>
                  <a:gd name="T23" fmla="*/ 127 h 360"/>
                  <a:gd name="T24" fmla="*/ 413 w 426"/>
                  <a:gd name="T25" fmla="*/ 173 h 360"/>
                  <a:gd name="T26" fmla="*/ 305 w 426"/>
                  <a:gd name="T27" fmla="*/ 191 h 360"/>
                  <a:gd name="T28" fmla="*/ 307 w 426"/>
                  <a:gd name="T29" fmla="*/ 231 h 360"/>
                  <a:gd name="T30" fmla="*/ 292 w 426"/>
                  <a:gd name="T31" fmla="*/ 258 h 360"/>
                  <a:gd name="T32" fmla="*/ 300 w 426"/>
                  <a:gd name="T33" fmla="*/ 298 h 360"/>
                  <a:gd name="T34" fmla="*/ 298 w 426"/>
                  <a:gd name="T35" fmla="*/ 302 h 360"/>
                  <a:gd name="T36" fmla="*/ 292 w 426"/>
                  <a:gd name="T37" fmla="*/ 310 h 360"/>
                  <a:gd name="T38" fmla="*/ 290 w 426"/>
                  <a:gd name="T39" fmla="*/ 321 h 360"/>
                  <a:gd name="T40" fmla="*/ 278 w 426"/>
                  <a:gd name="T41" fmla="*/ 321 h 360"/>
                  <a:gd name="T42" fmla="*/ 275 w 426"/>
                  <a:gd name="T43" fmla="*/ 333 h 360"/>
                  <a:gd name="T44" fmla="*/ 255 w 426"/>
                  <a:gd name="T45" fmla="*/ 329 h 360"/>
                  <a:gd name="T46" fmla="*/ 253 w 426"/>
                  <a:gd name="T47" fmla="*/ 329 h 360"/>
                  <a:gd name="T48" fmla="*/ 238 w 426"/>
                  <a:gd name="T49" fmla="*/ 321 h 360"/>
                  <a:gd name="T50" fmla="*/ 227 w 426"/>
                  <a:gd name="T51" fmla="*/ 329 h 360"/>
                  <a:gd name="T52" fmla="*/ 227 w 426"/>
                  <a:gd name="T53" fmla="*/ 325 h 360"/>
                  <a:gd name="T54" fmla="*/ 225 w 426"/>
                  <a:gd name="T55" fmla="*/ 310 h 360"/>
                  <a:gd name="T56" fmla="*/ 219 w 426"/>
                  <a:gd name="T57" fmla="*/ 298 h 360"/>
                  <a:gd name="T58" fmla="*/ 204 w 426"/>
                  <a:gd name="T59" fmla="*/ 291 h 360"/>
                  <a:gd name="T60" fmla="*/ 175 w 426"/>
                  <a:gd name="T61" fmla="*/ 256 h 360"/>
                  <a:gd name="T62" fmla="*/ 134 w 426"/>
                  <a:gd name="T63" fmla="*/ 277 h 360"/>
                  <a:gd name="T64" fmla="*/ 133 w 426"/>
                  <a:gd name="T65" fmla="*/ 319 h 360"/>
                  <a:gd name="T66" fmla="*/ 102 w 426"/>
                  <a:gd name="T67" fmla="*/ 342 h 360"/>
                  <a:gd name="T68" fmla="*/ 61 w 426"/>
                  <a:gd name="T69" fmla="*/ 344 h 360"/>
                  <a:gd name="T70" fmla="*/ 58 w 426"/>
                  <a:gd name="T71" fmla="*/ 354 h 360"/>
                  <a:gd name="T72" fmla="*/ 38 w 426"/>
                  <a:gd name="T73" fmla="*/ 358 h 360"/>
                  <a:gd name="T74" fmla="*/ 19 w 426"/>
                  <a:gd name="T75" fmla="*/ 296 h 360"/>
                  <a:gd name="T76" fmla="*/ 4 w 426"/>
                  <a:gd name="T77" fmla="*/ 241 h 360"/>
                  <a:gd name="T78" fmla="*/ 71 w 426"/>
                  <a:gd name="T79" fmla="*/ 193 h 360"/>
                  <a:gd name="T80" fmla="*/ 102 w 426"/>
                  <a:gd name="T81" fmla="*/ 179 h 360"/>
                  <a:gd name="T82" fmla="*/ 159 w 426"/>
                  <a:gd name="T83" fmla="*/ 156 h 360"/>
                  <a:gd name="T84" fmla="*/ 161 w 426"/>
                  <a:gd name="T85" fmla="*/ 118 h 360"/>
                  <a:gd name="T86" fmla="*/ 213 w 426"/>
                  <a:gd name="T87" fmla="*/ 43 h 360"/>
                  <a:gd name="T88" fmla="*/ 292 w 426"/>
                  <a:gd name="T89" fmla="*/ 37 h 360"/>
                  <a:gd name="T90" fmla="*/ 426 w 426"/>
                  <a:gd name="T91" fmla="*/ 16 h 360"/>
                  <a:gd name="T92" fmla="*/ 409 w 426"/>
                  <a:gd name="T93" fmla="*/ 58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6" h="360">
                    <a:moveTo>
                      <a:pt x="165" y="268"/>
                    </a:moveTo>
                    <a:lnTo>
                      <a:pt x="167" y="271"/>
                    </a:lnTo>
                    <a:lnTo>
                      <a:pt x="171" y="269"/>
                    </a:lnTo>
                    <a:lnTo>
                      <a:pt x="177" y="275"/>
                    </a:lnTo>
                    <a:lnTo>
                      <a:pt x="175" y="279"/>
                    </a:lnTo>
                    <a:lnTo>
                      <a:pt x="181" y="285"/>
                    </a:lnTo>
                    <a:lnTo>
                      <a:pt x="184" y="294"/>
                    </a:lnTo>
                    <a:lnTo>
                      <a:pt x="190" y="300"/>
                    </a:lnTo>
                    <a:lnTo>
                      <a:pt x="192" y="304"/>
                    </a:lnTo>
                    <a:lnTo>
                      <a:pt x="196" y="304"/>
                    </a:lnTo>
                    <a:lnTo>
                      <a:pt x="198" y="308"/>
                    </a:lnTo>
                    <a:lnTo>
                      <a:pt x="198" y="314"/>
                    </a:lnTo>
                    <a:lnTo>
                      <a:pt x="198" y="331"/>
                    </a:lnTo>
                    <a:lnTo>
                      <a:pt x="194" y="331"/>
                    </a:lnTo>
                    <a:lnTo>
                      <a:pt x="163" y="331"/>
                    </a:lnTo>
                    <a:lnTo>
                      <a:pt x="161" y="333"/>
                    </a:lnTo>
                    <a:lnTo>
                      <a:pt x="163" y="335"/>
                    </a:lnTo>
                    <a:lnTo>
                      <a:pt x="194" y="337"/>
                    </a:lnTo>
                    <a:lnTo>
                      <a:pt x="194" y="346"/>
                    </a:lnTo>
                    <a:lnTo>
                      <a:pt x="152" y="344"/>
                    </a:lnTo>
                    <a:lnTo>
                      <a:pt x="152" y="342"/>
                    </a:lnTo>
                    <a:lnTo>
                      <a:pt x="146" y="300"/>
                    </a:lnTo>
                    <a:lnTo>
                      <a:pt x="144" y="296"/>
                    </a:lnTo>
                    <a:lnTo>
                      <a:pt x="140" y="294"/>
                    </a:lnTo>
                    <a:lnTo>
                      <a:pt x="138" y="292"/>
                    </a:lnTo>
                    <a:lnTo>
                      <a:pt x="138" y="289"/>
                    </a:lnTo>
                    <a:lnTo>
                      <a:pt x="140" y="289"/>
                    </a:lnTo>
                    <a:lnTo>
                      <a:pt x="142" y="277"/>
                    </a:lnTo>
                    <a:lnTo>
                      <a:pt x="152" y="269"/>
                    </a:lnTo>
                    <a:lnTo>
                      <a:pt x="156" y="269"/>
                    </a:lnTo>
                    <a:lnTo>
                      <a:pt x="157" y="268"/>
                    </a:lnTo>
                    <a:lnTo>
                      <a:pt x="159" y="266"/>
                    </a:lnTo>
                    <a:lnTo>
                      <a:pt x="165" y="268"/>
                    </a:lnTo>
                    <a:close/>
                    <a:moveTo>
                      <a:pt x="411" y="89"/>
                    </a:moveTo>
                    <a:lnTo>
                      <a:pt x="419" y="112"/>
                    </a:lnTo>
                    <a:lnTo>
                      <a:pt x="421" y="127"/>
                    </a:lnTo>
                    <a:lnTo>
                      <a:pt x="419" y="150"/>
                    </a:lnTo>
                    <a:lnTo>
                      <a:pt x="415" y="168"/>
                    </a:lnTo>
                    <a:lnTo>
                      <a:pt x="413" y="173"/>
                    </a:lnTo>
                    <a:lnTo>
                      <a:pt x="413" y="187"/>
                    </a:lnTo>
                    <a:lnTo>
                      <a:pt x="394" y="185"/>
                    </a:lnTo>
                    <a:lnTo>
                      <a:pt x="305" y="191"/>
                    </a:lnTo>
                    <a:lnTo>
                      <a:pt x="307" y="202"/>
                    </a:lnTo>
                    <a:lnTo>
                      <a:pt x="309" y="216"/>
                    </a:lnTo>
                    <a:lnTo>
                      <a:pt x="307" y="231"/>
                    </a:lnTo>
                    <a:lnTo>
                      <a:pt x="317" y="250"/>
                    </a:lnTo>
                    <a:lnTo>
                      <a:pt x="305" y="258"/>
                    </a:lnTo>
                    <a:lnTo>
                      <a:pt x="292" y="258"/>
                    </a:lnTo>
                    <a:lnTo>
                      <a:pt x="292" y="273"/>
                    </a:lnTo>
                    <a:lnTo>
                      <a:pt x="300" y="273"/>
                    </a:lnTo>
                    <a:lnTo>
                      <a:pt x="300" y="298"/>
                    </a:lnTo>
                    <a:lnTo>
                      <a:pt x="292" y="298"/>
                    </a:lnTo>
                    <a:lnTo>
                      <a:pt x="292" y="302"/>
                    </a:lnTo>
                    <a:lnTo>
                      <a:pt x="298" y="302"/>
                    </a:lnTo>
                    <a:lnTo>
                      <a:pt x="298" y="306"/>
                    </a:lnTo>
                    <a:lnTo>
                      <a:pt x="292" y="308"/>
                    </a:lnTo>
                    <a:lnTo>
                      <a:pt x="292" y="310"/>
                    </a:lnTo>
                    <a:lnTo>
                      <a:pt x="301" y="310"/>
                    </a:lnTo>
                    <a:lnTo>
                      <a:pt x="301" y="319"/>
                    </a:lnTo>
                    <a:lnTo>
                      <a:pt x="290" y="321"/>
                    </a:lnTo>
                    <a:lnTo>
                      <a:pt x="290" y="319"/>
                    </a:lnTo>
                    <a:lnTo>
                      <a:pt x="280" y="319"/>
                    </a:lnTo>
                    <a:lnTo>
                      <a:pt x="278" y="321"/>
                    </a:lnTo>
                    <a:lnTo>
                      <a:pt x="282" y="321"/>
                    </a:lnTo>
                    <a:lnTo>
                      <a:pt x="277" y="331"/>
                    </a:lnTo>
                    <a:lnTo>
                      <a:pt x="275" y="333"/>
                    </a:lnTo>
                    <a:lnTo>
                      <a:pt x="271" y="325"/>
                    </a:lnTo>
                    <a:lnTo>
                      <a:pt x="265" y="331"/>
                    </a:lnTo>
                    <a:lnTo>
                      <a:pt x="255" y="329"/>
                    </a:lnTo>
                    <a:lnTo>
                      <a:pt x="255" y="321"/>
                    </a:lnTo>
                    <a:lnTo>
                      <a:pt x="253" y="321"/>
                    </a:lnTo>
                    <a:lnTo>
                      <a:pt x="253" y="329"/>
                    </a:lnTo>
                    <a:lnTo>
                      <a:pt x="244" y="331"/>
                    </a:lnTo>
                    <a:lnTo>
                      <a:pt x="244" y="321"/>
                    </a:lnTo>
                    <a:lnTo>
                      <a:pt x="238" y="321"/>
                    </a:lnTo>
                    <a:lnTo>
                      <a:pt x="236" y="331"/>
                    </a:lnTo>
                    <a:lnTo>
                      <a:pt x="227" y="331"/>
                    </a:lnTo>
                    <a:lnTo>
                      <a:pt x="227" y="329"/>
                    </a:lnTo>
                    <a:lnTo>
                      <a:pt x="225" y="329"/>
                    </a:lnTo>
                    <a:lnTo>
                      <a:pt x="225" y="327"/>
                    </a:lnTo>
                    <a:lnTo>
                      <a:pt x="227" y="325"/>
                    </a:lnTo>
                    <a:lnTo>
                      <a:pt x="227" y="321"/>
                    </a:lnTo>
                    <a:lnTo>
                      <a:pt x="225" y="316"/>
                    </a:lnTo>
                    <a:lnTo>
                      <a:pt x="225" y="310"/>
                    </a:lnTo>
                    <a:lnTo>
                      <a:pt x="225" y="302"/>
                    </a:lnTo>
                    <a:lnTo>
                      <a:pt x="223" y="298"/>
                    </a:lnTo>
                    <a:lnTo>
                      <a:pt x="219" y="298"/>
                    </a:lnTo>
                    <a:lnTo>
                      <a:pt x="217" y="296"/>
                    </a:lnTo>
                    <a:lnTo>
                      <a:pt x="215" y="298"/>
                    </a:lnTo>
                    <a:lnTo>
                      <a:pt x="204" y="291"/>
                    </a:lnTo>
                    <a:lnTo>
                      <a:pt x="192" y="285"/>
                    </a:lnTo>
                    <a:lnTo>
                      <a:pt x="177" y="268"/>
                    </a:lnTo>
                    <a:lnTo>
                      <a:pt x="175" y="256"/>
                    </a:lnTo>
                    <a:lnTo>
                      <a:pt x="161" y="258"/>
                    </a:lnTo>
                    <a:lnTo>
                      <a:pt x="148" y="258"/>
                    </a:lnTo>
                    <a:lnTo>
                      <a:pt x="134" y="277"/>
                    </a:lnTo>
                    <a:lnTo>
                      <a:pt x="133" y="294"/>
                    </a:lnTo>
                    <a:lnTo>
                      <a:pt x="134" y="308"/>
                    </a:lnTo>
                    <a:lnTo>
                      <a:pt x="133" y="319"/>
                    </a:lnTo>
                    <a:lnTo>
                      <a:pt x="133" y="329"/>
                    </a:lnTo>
                    <a:lnTo>
                      <a:pt x="119" y="339"/>
                    </a:lnTo>
                    <a:lnTo>
                      <a:pt x="102" y="342"/>
                    </a:lnTo>
                    <a:lnTo>
                      <a:pt x="92" y="342"/>
                    </a:lnTo>
                    <a:lnTo>
                      <a:pt x="71" y="342"/>
                    </a:lnTo>
                    <a:lnTo>
                      <a:pt x="61" y="344"/>
                    </a:lnTo>
                    <a:lnTo>
                      <a:pt x="63" y="348"/>
                    </a:lnTo>
                    <a:lnTo>
                      <a:pt x="61" y="354"/>
                    </a:lnTo>
                    <a:lnTo>
                      <a:pt x="58" y="354"/>
                    </a:lnTo>
                    <a:lnTo>
                      <a:pt x="54" y="346"/>
                    </a:lnTo>
                    <a:lnTo>
                      <a:pt x="37" y="350"/>
                    </a:lnTo>
                    <a:lnTo>
                      <a:pt x="38" y="358"/>
                    </a:lnTo>
                    <a:lnTo>
                      <a:pt x="27" y="360"/>
                    </a:lnTo>
                    <a:lnTo>
                      <a:pt x="25" y="352"/>
                    </a:lnTo>
                    <a:lnTo>
                      <a:pt x="19" y="296"/>
                    </a:lnTo>
                    <a:lnTo>
                      <a:pt x="15" y="262"/>
                    </a:lnTo>
                    <a:lnTo>
                      <a:pt x="12" y="246"/>
                    </a:lnTo>
                    <a:lnTo>
                      <a:pt x="4" y="241"/>
                    </a:lnTo>
                    <a:lnTo>
                      <a:pt x="0" y="225"/>
                    </a:lnTo>
                    <a:lnTo>
                      <a:pt x="37" y="212"/>
                    </a:lnTo>
                    <a:lnTo>
                      <a:pt x="71" y="193"/>
                    </a:lnTo>
                    <a:lnTo>
                      <a:pt x="88" y="183"/>
                    </a:lnTo>
                    <a:lnTo>
                      <a:pt x="92" y="181"/>
                    </a:lnTo>
                    <a:lnTo>
                      <a:pt x="102" y="179"/>
                    </a:lnTo>
                    <a:lnTo>
                      <a:pt x="127" y="177"/>
                    </a:lnTo>
                    <a:lnTo>
                      <a:pt x="154" y="177"/>
                    </a:lnTo>
                    <a:lnTo>
                      <a:pt x="159" y="156"/>
                    </a:lnTo>
                    <a:lnTo>
                      <a:pt x="159" y="146"/>
                    </a:lnTo>
                    <a:lnTo>
                      <a:pt x="161" y="139"/>
                    </a:lnTo>
                    <a:lnTo>
                      <a:pt x="161" y="118"/>
                    </a:lnTo>
                    <a:lnTo>
                      <a:pt x="163" y="97"/>
                    </a:lnTo>
                    <a:lnTo>
                      <a:pt x="163" y="41"/>
                    </a:lnTo>
                    <a:lnTo>
                      <a:pt x="213" y="43"/>
                    </a:lnTo>
                    <a:lnTo>
                      <a:pt x="273" y="43"/>
                    </a:lnTo>
                    <a:lnTo>
                      <a:pt x="290" y="37"/>
                    </a:lnTo>
                    <a:lnTo>
                      <a:pt x="292" y="37"/>
                    </a:lnTo>
                    <a:lnTo>
                      <a:pt x="399" y="10"/>
                    </a:lnTo>
                    <a:lnTo>
                      <a:pt x="426" y="0"/>
                    </a:lnTo>
                    <a:lnTo>
                      <a:pt x="426" y="16"/>
                    </a:lnTo>
                    <a:lnTo>
                      <a:pt x="426" y="29"/>
                    </a:lnTo>
                    <a:lnTo>
                      <a:pt x="415" y="45"/>
                    </a:lnTo>
                    <a:lnTo>
                      <a:pt x="409" y="58"/>
                    </a:lnTo>
                    <a:lnTo>
                      <a:pt x="409" y="73"/>
                    </a:lnTo>
                    <a:lnTo>
                      <a:pt x="411" y="8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23" name="Freeform 11">
                <a:extLst>
                  <a:ext uri="{FF2B5EF4-FFF2-40B4-BE49-F238E27FC236}">
                    <a16:creationId xmlns:a16="http://schemas.microsoft.com/office/drawing/2014/main" id="{D4B38768-8062-4BF7-B75A-3A3A13F79725}"/>
                  </a:ext>
                </a:extLst>
              </p:cNvPr>
              <p:cNvSpPr>
                <a:spLocks/>
              </p:cNvSpPr>
              <p:nvPr/>
            </p:nvSpPr>
            <p:spPr bwMode="gray">
              <a:xfrm>
                <a:off x="2197431" y="3633003"/>
                <a:ext cx="567281" cy="513146"/>
              </a:xfrm>
              <a:custGeom>
                <a:avLst/>
                <a:gdLst>
                  <a:gd name="T0" fmla="*/ 334 w 503"/>
                  <a:gd name="T1" fmla="*/ 236 h 455"/>
                  <a:gd name="T2" fmla="*/ 340 w 503"/>
                  <a:gd name="T3" fmla="*/ 288 h 455"/>
                  <a:gd name="T4" fmla="*/ 342 w 503"/>
                  <a:gd name="T5" fmla="*/ 302 h 455"/>
                  <a:gd name="T6" fmla="*/ 346 w 503"/>
                  <a:gd name="T7" fmla="*/ 334 h 455"/>
                  <a:gd name="T8" fmla="*/ 346 w 503"/>
                  <a:gd name="T9" fmla="*/ 354 h 455"/>
                  <a:gd name="T10" fmla="*/ 321 w 503"/>
                  <a:gd name="T11" fmla="*/ 359 h 455"/>
                  <a:gd name="T12" fmla="*/ 279 w 503"/>
                  <a:gd name="T13" fmla="*/ 336 h 455"/>
                  <a:gd name="T14" fmla="*/ 246 w 503"/>
                  <a:gd name="T15" fmla="*/ 258 h 455"/>
                  <a:gd name="T16" fmla="*/ 231 w 503"/>
                  <a:gd name="T17" fmla="*/ 269 h 455"/>
                  <a:gd name="T18" fmla="*/ 208 w 503"/>
                  <a:gd name="T19" fmla="*/ 275 h 455"/>
                  <a:gd name="T20" fmla="*/ 213 w 503"/>
                  <a:gd name="T21" fmla="*/ 325 h 455"/>
                  <a:gd name="T22" fmla="*/ 246 w 503"/>
                  <a:gd name="T23" fmla="*/ 398 h 455"/>
                  <a:gd name="T24" fmla="*/ 165 w 503"/>
                  <a:gd name="T25" fmla="*/ 434 h 455"/>
                  <a:gd name="T26" fmla="*/ 161 w 503"/>
                  <a:gd name="T27" fmla="*/ 419 h 455"/>
                  <a:gd name="T28" fmla="*/ 102 w 503"/>
                  <a:gd name="T29" fmla="*/ 373 h 455"/>
                  <a:gd name="T30" fmla="*/ 96 w 503"/>
                  <a:gd name="T31" fmla="*/ 352 h 455"/>
                  <a:gd name="T32" fmla="*/ 81 w 503"/>
                  <a:gd name="T33" fmla="*/ 354 h 455"/>
                  <a:gd name="T34" fmla="*/ 64 w 503"/>
                  <a:gd name="T35" fmla="*/ 344 h 455"/>
                  <a:gd name="T36" fmla="*/ 19 w 503"/>
                  <a:gd name="T37" fmla="*/ 338 h 455"/>
                  <a:gd name="T38" fmla="*/ 42 w 503"/>
                  <a:gd name="T39" fmla="*/ 307 h 455"/>
                  <a:gd name="T40" fmla="*/ 12 w 503"/>
                  <a:gd name="T41" fmla="*/ 327 h 455"/>
                  <a:gd name="T42" fmla="*/ 83 w 503"/>
                  <a:gd name="T43" fmla="*/ 223 h 455"/>
                  <a:gd name="T44" fmla="*/ 90 w 503"/>
                  <a:gd name="T45" fmla="*/ 198 h 455"/>
                  <a:gd name="T46" fmla="*/ 65 w 503"/>
                  <a:gd name="T47" fmla="*/ 175 h 455"/>
                  <a:gd name="T48" fmla="*/ 127 w 503"/>
                  <a:gd name="T49" fmla="*/ 112 h 455"/>
                  <a:gd name="T50" fmla="*/ 186 w 503"/>
                  <a:gd name="T51" fmla="*/ 35 h 455"/>
                  <a:gd name="T52" fmla="*/ 215 w 503"/>
                  <a:gd name="T53" fmla="*/ 17 h 455"/>
                  <a:gd name="T54" fmla="*/ 248 w 503"/>
                  <a:gd name="T55" fmla="*/ 4 h 455"/>
                  <a:gd name="T56" fmla="*/ 259 w 503"/>
                  <a:gd name="T57" fmla="*/ 4 h 455"/>
                  <a:gd name="T58" fmla="*/ 288 w 503"/>
                  <a:gd name="T59" fmla="*/ 2 h 455"/>
                  <a:gd name="T60" fmla="*/ 319 w 503"/>
                  <a:gd name="T61" fmla="*/ 6 h 455"/>
                  <a:gd name="T62" fmla="*/ 503 w 503"/>
                  <a:gd name="T63" fmla="*/ 31 h 455"/>
                  <a:gd name="T64" fmla="*/ 501 w 503"/>
                  <a:gd name="T65" fmla="*/ 108 h 455"/>
                  <a:gd name="T66" fmla="*/ 499 w 503"/>
                  <a:gd name="T67" fmla="*/ 136 h 455"/>
                  <a:gd name="T68" fmla="*/ 494 w 503"/>
                  <a:gd name="T69" fmla="*/ 167 h 455"/>
                  <a:gd name="T70" fmla="*/ 442 w 503"/>
                  <a:gd name="T71" fmla="*/ 169 h 455"/>
                  <a:gd name="T72" fmla="*/ 428 w 503"/>
                  <a:gd name="T73" fmla="*/ 173 h 455"/>
                  <a:gd name="T74" fmla="*/ 377 w 503"/>
                  <a:gd name="T75" fmla="*/ 202 h 455"/>
                  <a:gd name="T76" fmla="*/ 344 w 503"/>
                  <a:gd name="T77" fmla="*/ 231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03" h="455">
                    <a:moveTo>
                      <a:pt x="344" y="231"/>
                    </a:moveTo>
                    <a:lnTo>
                      <a:pt x="334" y="236"/>
                    </a:lnTo>
                    <a:lnTo>
                      <a:pt x="336" y="261"/>
                    </a:lnTo>
                    <a:lnTo>
                      <a:pt x="340" y="288"/>
                    </a:lnTo>
                    <a:lnTo>
                      <a:pt x="340" y="298"/>
                    </a:lnTo>
                    <a:lnTo>
                      <a:pt x="342" y="302"/>
                    </a:lnTo>
                    <a:lnTo>
                      <a:pt x="344" y="321"/>
                    </a:lnTo>
                    <a:lnTo>
                      <a:pt x="346" y="334"/>
                    </a:lnTo>
                    <a:lnTo>
                      <a:pt x="344" y="340"/>
                    </a:lnTo>
                    <a:lnTo>
                      <a:pt x="346" y="354"/>
                    </a:lnTo>
                    <a:lnTo>
                      <a:pt x="325" y="363"/>
                    </a:lnTo>
                    <a:lnTo>
                      <a:pt x="321" y="359"/>
                    </a:lnTo>
                    <a:lnTo>
                      <a:pt x="309" y="369"/>
                    </a:lnTo>
                    <a:lnTo>
                      <a:pt x="279" y="336"/>
                    </a:lnTo>
                    <a:lnTo>
                      <a:pt x="250" y="302"/>
                    </a:lnTo>
                    <a:lnTo>
                      <a:pt x="246" y="258"/>
                    </a:lnTo>
                    <a:lnTo>
                      <a:pt x="229" y="261"/>
                    </a:lnTo>
                    <a:lnTo>
                      <a:pt x="231" y="269"/>
                    </a:lnTo>
                    <a:lnTo>
                      <a:pt x="215" y="273"/>
                    </a:lnTo>
                    <a:lnTo>
                      <a:pt x="208" y="275"/>
                    </a:lnTo>
                    <a:lnTo>
                      <a:pt x="208" y="281"/>
                    </a:lnTo>
                    <a:lnTo>
                      <a:pt x="213" y="325"/>
                    </a:lnTo>
                    <a:lnTo>
                      <a:pt x="265" y="382"/>
                    </a:lnTo>
                    <a:lnTo>
                      <a:pt x="246" y="398"/>
                    </a:lnTo>
                    <a:lnTo>
                      <a:pt x="181" y="455"/>
                    </a:lnTo>
                    <a:lnTo>
                      <a:pt x="165" y="434"/>
                    </a:lnTo>
                    <a:lnTo>
                      <a:pt x="169" y="432"/>
                    </a:lnTo>
                    <a:lnTo>
                      <a:pt x="161" y="419"/>
                    </a:lnTo>
                    <a:lnTo>
                      <a:pt x="94" y="380"/>
                    </a:lnTo>
                    <a:lnTo>
                      <a:pt x="102" y="373"/>
                    </a:lnTo>
                    <a:lnTo>
                      <a:pt x="89" y="359"/>
                    </a:lnTo>
                    <a:lnTo>
                      <a:pt x="96" y="352"/>
                    </a:lnTo>
                    <a:lnTo>
                      <a:pt x="92" y="344"/>
                    </a:lnTo>
                    <a:lnTo>
                      <a:pt x="81" y="354"/>
                    </a:lnTo>
                    <a:lnTo>
                      <a:pt x="69" y="340"/>
                    </a:lnTo>
                    <a:lnTo>
                      <a:pt x="64" y="344"/>
                    </a:lnTo>
                    <a:lnTo>
                      <a:pt x="42" y="321"/>
                    </a:lnTo>
                    <a:lnTo>
                      <a:pt x="19" y="338"/>
                    </a:lnTo>
                    <a:lnTo>
                      <a:pt x="14" y="332"/>
                    </a:lnTo>
                    <a:lnTo>
                      <a:pt x="42" y="307"/>
                    </a:lnTo>
                    <a:lnTo>
                      <a:pt x="39" y="304"/>
                    </a:lnTo>
                    <a:lnTo>
                      <a:pt x="12" y="327"/>
                    </a:lnTo>
                    <a:lnTo>
                      <a:pt x="0" y="313"/>
                    </a:lnTo>
                    <a:lnTo>
                      <a:pt x="83" y="223"/>
                    </a:lnTo>
                    <a:lnTo>
                      <a:pt x="77" y="211"/>
                    </a:lnTo>
                    <a:lnTo>
                      <a:pt x="90" y="198"/>
                    </a:lnTo>
                    <a:lnTo>
                      <a:pt x="85" y="192"/>
                    </a:lnTo>
                    <a:lnTo>
                      <a:pt x="65" y="175"/>
                    </a:lnTo>
                    <a:lnTo>
                      <a:pt x="121" y="115"/>
                    </a:lnTo>
                    <a:lnTo>
                      <a:pt x="127" y="112"/>
                    </a:lnTo>
                    <a:lnTo>
                      <a:pt x="148" y="87"/>
                    </a:lnTo>
                    <a:lnTo>
                      <a:pt x="186" y="35"/>
                    </a:lnTo>
                    <a:lnTo>
                      <a:pt x="204" y="25"/>
                    </a:lnTo>
                    <a:lnTo>
                      <a:pt x="215" y="17"/>
                    </a:lnTo>
                    <a:lnTo>
                      <a:pt x="236" y="8"/>
                    </a:lnTo>
                    <a:lnTo>
                      <a:pt x="248" y="4"/>
                    </a:lnTo>
                    <a:lnTo>
                      <a:pt x="254" y="4"/>
                    </a:lnTo>
                    <a:lnTo>
                      <a:pt x="259" y="4"/>
                    </a:lnTo>
                    <a:lnTo>
                      <a:pt x="269" y="0"/>
                    </a:lnTo>
                    <a:lnTo>
                      <a:pt x="288" y="2"/>
                    </a:lnTo>
                    <a:lnTo>
                      <a:pt x="307" y="4"/>
                    </a:lnTo>
                    <a:lnTo>
                      <a:pt x="319" y="6"/>
                    </a:lnTo>
                    <a:lnTo>
                      <a:pt x="317" y="31"/>
                    </a:lnTo>
                    <a:lnTo>
                      <a:pt x="503" y="31"/>
                    </a:lnTo>
                    <a:lnTo>
                      <a:pt x="503" y="87"/>
                    </a:lnTo>
                    <a:lnTo>
                      <a:pt x="501" y="108"/>
                    </a:lnTo>
                    <a:lnTo>
                      <a:pt x="501" y="129"/>
                    </a:lnTo>
                    <a:lnTo>
                      <a:pt x="499" y="136"/>
                    </a:lnTo>
                    <a:lnTo>
                      <a:pt x="499" y="146"/>
                    </a:lnTo>
                    <a:lnTo>
                      <a:pt x="494" y="167"/>
                    </a:lnTo>
                    <a:lnTo>
                      <a:pt x="467" y="167"/>
                    </a:lnTo>
                    <a:lnTo>
                      <a:pt x="442" y="169"/>
                    </a:lnTo>
                    <a:lnTo>
                      <a:pt x="432" y="171"/>
                    </a:lnTo>
                    <a:lnTo>
                      <a:pt x="428" y="173"/>
                    </a:lnTo>
                    <a:lnTo>
                      <a:pt x="411" y="183"/>
                    </a:lnTo>
                    <a:lnTo>
                      <a:pt x="377" y="202"/>
                    </a:lnTo>
                    <a:lnTo>
                      <a:pt x="340" y="215"/>
                    </a:lnTo>
                    <a:lnTo>
                      <a:pt x="344" y="23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24" name="Freeform 12">
                <a:extLst>
                  <a:ext uri="{FF2B5EF4-FFF2-40B4-BE49-F238E27FC236}">
                    <a16:creationId xmlns:a16="http://schemas.microsoft.com/office/drawing/2014/main" id="{5BC2B0AC-01D5-41E9-BC55-EEA016F8B7D5}"/>
                  </a:ext>
                </a:extLst>
              </p:cNvPr>
              <p:cNvSpPr>
                <a:spLocks/>
              </p:cNvSpPr>
              <p:nvPr/>
            </p:nvSpPr>
            <p:spPr bwMode="gray">
              <a:xfrm>
                <a:off x="1662857" y="3364589"/>
                <a:ext cx="764644" cy="1733418"/>
              </a:xfrm>
              <a:custGeom>
                <a:avLst/>
                <a:gdLst>
                  <a:gd name="T0" fmla="*/ 501 w 678"/>
                  <a:gd name="T1" fmla="*/ 107 h 1537"/>
                  <a:gd name="T2" fmla="*/ 647 w 678"/>
                  <a:gd name="T3" fmla="*/ 246 h 1537"/>
                  <a:gd name="T4" fmla="*/ 601 w 678"/>
                  <a:gd name="T5" fmla="*/ 350 h 1537"/>
                  <a:gd name="T6" fmla="*/ 543 w 678"/>
                  <a:gd name="T7" fmla="*/ 446 h 1537"/>
                  <a:gd name="T8" fmla="*/ 455 w 678"/>
                  <a:gd name="T9" fmla="*/ 497 h 1537"/>
                  <a:gd name="T10" fmla="*/ 401 w 678"/>
                  <a:gd name="T11" fmla="*/ 446 h 1537"/>
                  <a:gd name="T12" fmla="*/ 315 w 678"/>
                  <a:gd name="T13" fmla="*/ 442 h 1537"/>
                  <a:gd name="T14" fmla="*/ 367 w 678"/>
                  <a:gd name="T15" fmla="*/ 520 h 1537"/>
                  <a:gd name="T16" fmla="*/ 397 w 678"/>
                  <a:gd name="T17" fmla="*/ 580 h 1537"/>
                  <a:gd name="T18" fmla="*/ 478 w 678"/>
                  <a:gd name="T19" fmla="*/ 757 h 1537"/>
                  <a:gd name="T20" fmla="*/ 384 w 678"/>
                  <a:gd name="T21" fmla="*/ 795 h 1537"/>
                  <a:gd name="T22" fmla="*/ 357 w 678"/>
                  <a:gd name="T23" fmla="*/ 932 h 1537"/>
                  <a:gd name="T24" fmla="*/ 171 w 678"/>
                  <a:gd name="T25" fmla="*/ 1018 h 1537"/>
                  <a:gd name="T26" fmla="*/ 115 w 678"/>
                  <a:gd name="T27" fmla="*/ 1056 h 1537"/>
                  <a:gd name="T28" fmla="*/ 171 w 678"/>
                  <a:gd name="T29" fmla="*/ 1233 h 1537"/>
                  <a:gd name="T30" fmla="*/ 130 w 678"/>
                  <a:gd name="T31" fmla="*/ 1254 h 1537"/>
                  <a:gd name="T32" fmla="*/ 140 w 678"/>
                  <a:gd name="T33" fmla="*/ 1297 h 1537"/>
                  <a:gd name="T34" fmla="*/ 132 w 678"/>
                  <a:gd name="T35" fmla="*/ 1360 h 1537"/>
                  <a:gd name="T36" fmla="*/ 102 w 678"/>
                  <a:gd name="T37" fmla="*/ 1379 h 1537"/>
                  <a:gd name="T38" fmla="*/ 59 w 678"/>
                  <a:gd name="T39" fmla="*/ 1408 h 1537"/>
                  <a:gd name="T40" fmla="*/ 84 w 678"/>
                  <a:gd name="T41" fmla="*/ 1448 h 1537"/>
                  <a:gd name="T42" fmla="*/ 129 w 678"/>
                  <a:gd name="T43" fmla="*/ 1460 h 1537"/>
                  <a:gd name="T44" fmla="*/ 322 w 678"/>
                  <a:gd name="T45" fmla="*/ 1510 h 1537"/>
                  <a:gd name="T46" fmla="*/ 388 w 678"/>
                  <a:gd name="T47" fmla="*/ 1527 h 1537"/>
                  <a:gd name="T48" fmla="*/ 413 w 678"/>
                  <a:gd name="T49" fmla="*/ 1510 h 1537"/>
                  <a:gd name="T50" fmla="*/ 386 w 678"/>
                  <a:gd name="T51" fmla="*/ 1535 h 1537"/>
                  <a:gd name="T52" fmla="*/ 10 w 678"/>
                  <a:gd name="T53" fmla="*/ 1425 h 1537"/>
                  <a:gd name="T54" fmla="*/ 8 w 678"/>
                  <a:gd name="T55" fmla="*/ 1402 h 1537"/>
                  <a:gd name="T56" fmla="*/ 8 w 678"/>
                  <a:gd name="T57" fmla="*/ 1408 h 1537"/>
                  <a:gd name="T58" fmla="*/ 46 w 678"/>
                  <a:gd name="T59" fmla="*/ 1425 h 1537"/>
                  <a:gd name="T60" fmla="*/ 73 w 678"/>
                  <a:gd name="T61" fmla="*/ 1387 h 1537"/>
                  <a:gd name="T62" fmla="*/ 119 w 678"/>
                  <a:gd name="T63" fmla="*/ 1354 h 1537"/>
                  <a:gd name="T64" fmla="*/ 130 w 678"/>
                  <a:gd name="T65" fmla="*/ 1304 h 1537"/>
                  <a:gd name="T66" fmla="*/ 102 w 678"/>
                  <a:gd name="T67" fmla="*/ 1241 h 1537"/>
                  <a:gd name="T68" fmla="*/ 94 w 678"/>
                  <a:gd name="T69" fmla="*/ 1252 h 1537"/>
                  <a:gd name="T70" fmla="*/ 65 w 678"/>
                  <a:gd name="T71" fmla="*/ 1229 h 1537"/>
                  <a:gd name="T72" fmla="*/ 2 w 678"/>
                  <a:gd name="T73" fmla="*/ 1199 h 1537"/>
                  <a:gd name="T74" fmla="*/ 65 w 678"/>
                  <a:gd name="T75" fmla="*/ 1174 h 1537"/>
                  <a:gd name="T76" fmla="*/ 29 w 678"/>
                  <a:gd name="T77" fmla="*/ 1139 h 1537"/>
                  <a:gd name="T78" fmla="*/ 69 w 678"/>
                  <a:gd name="T79" fmla="*/ 1056 h 1537"/>
                  <a:gd name="T80" fmla="*/ 88 w 678"/>
                  <a:gd name="T81" fmla="*/ 1008 h 1537"/>
                  <a:gd name="T82" fmla="*/ 82 w 678"/>
                  <a:gd name="T83" fmla="*/ 958 h 1537"/>
                  <a:gd name="T84" fmla="*/ 88 w 678"/>
                  <a:gd name="T85" fmla="*/ 928 h 1537"/>
                  <a:gd name="T86" fmla="*/ 58 w 678"/>
                  <a:gd name="T87" fmla="*/ 922 h 1537"/>
                  <a:gd name="T88" fmla="*/ 31 w 678"/>
                  <a:gd name="T89" fmla="*/ 951 h 1537"/>
                  <a:gd name="T90" fmla="*/ 42 w 678"/>
                  <a:gd name="T91" fmla="*/ 982 h 1537"/>
                  <a:gd name="T92" fmla="*/ 21 w 678"/>
                  <a:gd name="T93" fmla="*/ 958 h 1537"/>
                  <a:gd name="T94" fmla="*/ 13 w 678"/>
                  <a:gd name="T95" fmla="*/ 968 h 1537"/>
                  <a:gd name="T96" fmla="*/ 34 w 678"/>
                  <a:gd name="T97" fmla="*/ 905 h 1537"/>
                  <a:gd name="T98" fmla="*/ 65 w 678"/>
                  <a:gd name="T99" fmla="*/ 843 h 1537"/>
                  <a:gd name="T100" fmla="*/ 69 w 678"/>
                  <a:gd name="T101" fmla="*/ 818 h 1537"/>
                  <a:gd name="T102" fmla="*/ 121 w 678"/>
                  <a:gd name="T103" fmla="*/ 791 h 1537"/>
                  <a:gd name="T104" fmla="*/ 154 w 678"/>
                  <a:gd name="T105" fmla="*/ 747 h 1537"/>
                  <a:gd name="T106" fmla="*/ 146 w 678"/>
                  <a:gd name="T107" fmla="*/ 672 h 1537"/>
                  <a:gd name="T108" fmla="*/ 127 w 678"/>
                  <a:gd name="T109" fmla="*/ 622 h 1537"/>
                  <a:gd name="T110" fmla="*/ 217 w 678"/>
                  <a:gd name="T111" fmla="*/ 396 h 1537"/>
                  <a:gd name="T112" fmla="*/ 292 w 678"/>
                  <a:gd name="T113" fmla="*/ 180 h 1537"/>
                  <a:gd name="T114" fmla="*/ 313 w 678"/>
                  <a:gd name="T115" fmla="*/ 119 h 1537"/>
                  <a:gd name="T116" fmla="*/ 321 w 678"/>
                  <a:gd name="T117" fmla="*/ 81 h 1537"/>
                  <a:gd name="T118" fmla="*/ 317 w 678"/>
                  <a:gd name="T119" fmla="*/ 27 h 1537"/>
                  <a:gd name="T120" fmla="*/ 351 w 678"/>
                  <a:gd name="T121" fmla="*/ 27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78" h="1537">
                    <a:moveTo>
                      <a:pt x="361" y="0"/>
                    </a:moveTo>
                    <a:lnTo>
                      <a:pt x="436" y="54"/>
                    </a:lnTo>
                    <a:lnTo>
                      <a:pt x="457" y="77"/>
                    </a:lnTo>
                    <a:lnTo>
                      <a:pt x="484" y="84"/>
                    </a:lnTo>
                    <a:lnTo>
                      <a:pt x="495" y="96"/>
                    </a:lnTo>
                    <a:lnTo>
                      <a:pt x="501" y="107"/>
                    </a:lnTo>
                    <a:lnTo>
                      <a:pt x="503" y="138"/>
                    </a:lnTo>
                    <a:lnTo>
                      <a:pt x="522" y="169"/>
                    </a:lnTo>
                    <a:lnTo>
                      <a:pt x="551" y="194"/>
                    </a:lnTo>
                    <a:lnTo>
                      <a:pt x="555" y="207"/>
                    </a:lnTo>
                    <a:lnTo>
                      <a:pt x="622" y="236"/>
                    </a:lnTo>
                    <a:lnTo>
                      <a:pt x="647" y="246"/>
                    </a:lnTo>
                    <a:lnTo>
                      <a:pt x="653" y="242"/>
                    </a:lnTo>
                    <a:lnTo>
                      <a:pt x="664" y="244"/>
                    </a:lnTo>
                    <a:lnTo>
                      <a:pt x="678" y="263"/>
                    </a:lnTo>
                    <a:lnTo>
                      <a:pt x="660" y="273"/>
                    </a:lnTo>
                    <a:lnTo>
                      <a:pt x="622" y="325"/>
                    </a:lnTo>
                    <a:lnTo>
                      <a:pt x="601" y="350"/>
                    </a:lnTo>
                    <a:lnTo>
                      <a:pt x="595" y="353"/>
                    </a:lnTo>
                    <a:lnTo>
                      <a:pt x="539" y="413"/>
                    </a:lnTo>
                    <a:lnTo>
                      <a:pt x="559" y="430"/>
                    </a:lnTo>
                    <a:lnTo>
                      <a:pt x="564" y="436"/>
                    </a:lnTo>
                    <a:lnTo>
                      <a:pt x="551" y="449"/>
                    </a:lnTo>
                    <a:lnTo>
                      <a:pt x="543" y="446"/>
                    </a:lnTo>
                    <a:lnTo>
                      <a:pt x="518" y="472"/>
                    </a:lnTo>
                    <a:lnTo>
                      <a:pt x="516" y="474"/>
                    </a:lnTo>
                    <a:lnTo>
                      <a:pt x="501" y="488"/>
                    </a:lnTo>
                    <a:lnTo>
                      <a:pt x="476" y="517"/>
                    </a:lnTo>
                    <a:lnTo>
                      <a:pt x="465" y="507"/>
                    </a:lnTo>
                    <a:lnTo>
                      <a:pt x="455" y="497"/>
                    </a:lnTo>
                    <a:lnTo>
                      <a:pt x="434" y="474"/>
                    </a:lnTo>
                    <a:lnTo>
                      <a:pt x="497" y="405"/>
                    </a:lnTo>
                    <a:lnTo>
                      <a:pt x="472" y="382"/>
                    </a:lnTo>
                    <a:lnTo>
                      <a:pt x="409" y="446"/>
                    </a:lnTo>
                    <a:lnTo>
                      <a:pt x="405" y="446"/>
                    </a:lnTo>
                    <a:lnTo>
                      <a:pt x="401" y="446"/>
                    </a:lnTo>
                    <a:lnTo>
                      <a:pt x="392" y="436"/>
                    </a:lnTo>
                    <a:lnTo>
                      <a:pt x="370" y="419"/>
                    </a:lnTo>
                    <a:lnTo>
                      <a:pt x="359" y="407"/>
                    </a:lnTo>
                    <a:lnTo>
                      <a:pt x="346" y="394"/>
                    </a:lnTo>
                    <a:lnTo>
                      <a:pt x="328" y="415"/>
                    </a:lnTo>
                    <a:lnTo>
                      <a:pt x="315" y="442"/>
                    </a:lnTo>
                    <a:lnTo>
                      <a:pt x="319" y="451"/>
                    </a:lnTo>
                    <a:lnTo>
                      <a:pt x="319" y="453"/>
                    </a:lnTo>
                    <a:lnTo>
                      <a:pt x="340" y="478"/>
                    </a:lnTo>
                    <a:lnTo>
                      <a:pt x="347" y="488"/>
                    </a:lnTo>
                    <a:lnTo>
                      <a:pt x="361" y="515"/>
                    </a:lnTo>
                    <a:lnTo>
                      <a:pt x="367" y="520"/>
                    </a:lnTo>
                    <a:lnTo>
                      <a:pt x="370" y="530"/>
                    </a:lnTo>
                    <a:lnTo>
                      <a:pt x="376" y="542"/>
                    </a:lnTo>
                    <a:lnTo>
                      <a:pt x="380" y="547"/>
                    </a:lnTo>
                    <a:lnTo>
                      <a:pt x="382" y="551"/>
                    </a:lnTo>
                    <a:lnTo>
                      <a:pt x="392" y="570"/>
                    </a:lnTo>
                    <a:lnTo>
                      <a:pt x="397" y="580"/>
                    </a:lnTo>
                    <a:lnTo>
                      <a:pt x="403" y="592"/>
                    </a:lnTo>
                    <a:lnTo>
                      <a:pt x="440" y="659"/>
                    </a:lnTo>
                    <a:lnTo>
                      <a:pt x="472" y="720"/>
                    </a:lnTo>
                    <a:lnTo>
                      <a:pt x="478" y="734"/>
                    </a:lnTo>
                    <a:lnTo>
                      <a:pt x="478" y="745"/>
                    </a:lnTo>
                    <a:lnTo>
                      <a:pt x="478" y="757"/>
                    </a:lnTo>
                    <a:lnTo>
                      <a:pt x="470" y="770"/>
                    </a:lnTo>
                    <a:lnTo>
                      <a:pt x="465" y="778"/>
                    </a:lnTo>
                    <a:lnTo>
                      <a:pt x="451" y="789"/>
                    </a:lnTo>
                    <a:lnTo>
                      <a:pt x="436" y="795"/>
                    </a:lnTo>
                    <a:lnTo>
                      <a:pt x="384" y="791"/>
                    </a:lnTo>
                    <a:lnTo>
                      <a:pt x="384" y="795"/>
                    </a:lnTo>
                    <a:lnTo>
                      <a:pt x="374" y="795"/>
                    </a:lnTo>
                    <a:lnTo>
                      <a:pt x="363" y="937"/>
                    </a:lnTo>
                    <a:lnTo>
                      <a:pt x="305" y="968"/>
                    </a:lnTo>
                    <a:lnTo>
                      <a:pt x="299" y="962"/>
                    </a:lnTo>
                    <a:lnTo>
                      <a:pt x="357" y="934"/>
                    </a:lnTo>
                    <a:lnTo>
                      <a:pt x="357" y="932"/>
                    </a:lnTo>
                    <a:lnTo>
                      <a:pt x="361" y="895"/>
                    </a:lnTo>
                    <a:lnTo>
                      <a:pt x="359" y="893"/>
                    </a:lnTo>
                    <a:lnTo>
                      <a:pt x="353" y="893"/>
                    </a:lnTo>
                    <a:lnTo>
                      <a:pt x="175" y="980"/>
                    </a:lnTo>
                    <a:lnTo>
                      <a:pt x="173" y="982"/>
                    </a:lnTo>
                    <a:lnTo>
                      <a:pt x="171" y="1018"/>
                    </a:lnTo>
                    <a:lnTo>
                      <a:pt x="173" y="1020"/>
                    </a:lnTo>
                    <a:lnTo>
                      <a:pt x="175" y="1022"/>
                    </a:lnTo>
                    <a:lnTo>
                      <a:pt x="242" y="987"/>
                    </a:lnTo>
                    <a:lnTo>
                      <a:pt x="250" y="985"/>
                    </a:lnTo>
                    <a:lnTo>
                      <a:pt x="250" y="993"/>
                    </a:lnTo>
                    <a:lnTo>
                      <a:pt x="115" y="1056"/>
                    </a:lnTo>
                    <a:lnTo>
                      <a:pt x="109" y="1062"/>
                    </a:lnTo>
                    <a:lnTo>
                      <a:pt x="106" y="1070"/>
                    </a:lnTo>
                    <a:lnTo>
                      <a:pt x="106" y="1089"/>
                    </a:lnTo>
                    <a:lnTo>
                      <a:pt x="169" y="1224"/>
                    </a:lnTo>
                    <a:lnTo>
                      <a:pt x="171" y="1227"/>
                    </a:lnTo>
                    <a:lnTo>
                      <a:pt x="171" y="1233"/>
                    </a:lnTo>
                    <a:lnTo>
                      <a:pt x="171" y="1239"/>
                    </a:lnTo>
                    <a:lnTo>
                      <a:pt x="165" y="1245"/>
                    </a:lnTo>
                    <a:lnTo>
                      <a:pt x="157" y="1249"/>
                    </a:lnTo>
                    <a:lnTo>
                      <a:pt x="140" y="1249"/>
                    </a:lnTo>
                    <a:lnTo>
                      <a:pt x="134" y="1250"/>
                    </a:lnTo>
                    <a:lnTo>
                      <a:pt x="130" y="1254"/>
                    </a:lnTo>
                    <a:lnTo>
                      <a:pt x="127" y="1258"/>
                    </a:lnTo>
                    <a:lnTo>
                      <a:pt x="127" y="1266"/>
                    </a:lnTo>
                    <a:lnTo>
                      <a:pt x="130" y="1272"/>
                    </a:lnTo>
                    <a:lnTo>
                      <a:pt x="132" y="1279"/>
                    </a:lnTo>
                    <a:lnTo>
                      <a:pt x="142" y="1297"/>
                    </a:lnTo>
                    <a:lnTo>
                      <a:pt x="140" y="1297"/>
                    </a:lnTo>
                    <a:lnTo>
                      <a:pt x="140" y="1304"/>
                    </a:lnTo>
                    <a:lnTo>
                      <a:pt x="140" y="1316"/>
                    </a:lnTo>
                    <a:lnTo>
                      <a:pt x="138" y="1327"/>
                    </a:lnTo>
                    <a:lnTo>
                      <a:pt x="136" y="1352"/>
                    </a:lnTo>
                    <a:lnTo>
                      <a:pt x="136" y="1356"/>
                    </a:lnTo>
                    <a:lnTo>
                      <a:pt x="132" y="1360"/>
                    </a:lnTo>
                    <a:lnTo>
                      <a:pt x="125" y="1360"/>
                    </a:lnTo>
                    <a:lnTo>
                      <a:pt x="115" y="1366"/>
                    </a:lnTo>
                    <a:lnTo>
                      <a:pt x="111" y="1370"/>
                    </a:lnTo>
                    <a:lnTo>
                      <a:pt x="109" y="1375"/>
                    </a:lnTo>
                    <a:lnTo>
                      <a:pt x="107" y="1377"/>
                    </a:lnTo>
                    <a:lnTo>
                      <a:pt x="102" y="1379"/>
                    </a:lnTo>
                    <a:lnTo>
                      <a:pt x="86" y="1387"/>
                    </a:lnTo>
                    <a:lnTo>
                      <a:pt x="73" y="1393"/>
                    </a:lnTo>
                    <a:lnTo>
                      <a:pt x="69" y="1398"/>
                    </a:lnTo>
                    <a:lnTo>
                      <a:pt x="65" y="1402"/>
                    </a:lnTo>
                    <a:lnTo>
                      <a:pt x="61" y="1406"/>
                    </a:lnTo>
                    <a:lnTo>
                      <a:pt x="59" y="1408"/>
                    </a:lnTo>
                    <a:lnTo>
                      <a:pt x="56" y="1410"/>
                    </a:lnTo>
                    <a:lnTo>
                      <a:pt x="52" y="1412"/>
                    </a:lnTo>
                    <a:lnTo>
                      <a:pt x="54" y="1425"/>
                    </a:lnTo>
                    <a:lnTo>
                      <a:pt x="56" y="1433"/>
                    </a:lnTo>
                    <a:lnTo>
                      <a:pt x="59" y="1439"/>
                    </a:lnTo>
                    <a:lnTo>
                      <a:pt x="84" y="1448"/>
                    </a:lnTo>
                    <a:lnTo>
                      <a:pt x="90" y="1450"/>
                    </a:lnTo>
                    <a:lnTo>
                      <a:pt x="102" y="1454"/>
                    </a:lnTo>
                    <a:lnTo>
                      <a:pt x="111" y="1456"/>
                    </a:lnTo>
                    <a:lnTo>
                      <a:pt x="121" y="1460"/>
                    </a:lnTo>
                    <a:lnTo>
                      <a:pt x="125" y="1460"/>
                    </a:lnTo>
                    <a:lnTo>
                      <a:pt x="129" y="1460"/>
                    </a:lnTo>
                    <a:lnTo>
                      <a:pt x="136" y="1462"/>
                    </a:lnTo>
                    <a:lnTo>
                      <a:pt x="148" y="1466"/>
                    </a:lnTo>
                    <a:lnTo>
                      <a:pt x="159" y="1468"/>
                    </a:lnTo>
                    <a:lnTo>
                      <a:pt x="165" y="1468"/>
                    </a:lnTo>
                    <a:lnTo>
                      <a:pt x="186" y="1475"/>
                    </a:lnTo>
                    <a:lnTo>
                      <a:pt x="322" y="1510"/>
                    </a:lnTo>
                    <a:lnTo>
                      <a:pt x="342" y="1518"/>
                    </a:lnTo>
                    <a:lnTo>
                      <a:pt x="346" y="1516"/>
                    </a:lnTo>
                    <a:lnTo>
                      <a:pt x="347" y="1516"/>
                    </a:lnTo>
                    <a:lnTo>
                      <a:pt x="355" y="1518"/>
                    </a:lnTo>
                    <a:lnTo>
                      <a:pt x="370" y="1523"/>
                    </a:lnTo>
                    <a:lnTo>
                      <a:pt x="388" y="1527"/>
                    </a:lnTo>
                    <a:lnTo>
                      <a:pt x="392" y="1525"/>
                    </a:lnTo>
                    <a:lnTo>
                      <a:pt x="392" y="1521"/>
                    </a:lnTo>
                    <a:lnTo>
                      <a:pt x="394" y="1519"/>
                    </a:lnTo>
                    <a:lnTo>
                      <a:pt x="407" y="1516"/>
                    </a:lnTo>
                    <a:lnTo>
                      <a:pt x="415" y="1514"/>
                    </a:lnTo>
                    <a:lnTo>
                      <a:pt x="413" y="1510"/>
                    </a:lnTo>
                    <a:lnTo>
                      <a:pt x="415" y="1508"/>
                    </a:lnTo>
                    <a:lnTo>
                      <a:pt x="415" y="1510"/>
                    </a:lnTo>
                    <a:lnTo>
                      <a:pt x="417" y="1519"/>
                    </a:lnTo>
                    <a:lnTo>
                      <a:pt x="411" y="1531"/>
                    </a:lnTo>
                    <a:lnTo>
                      <a:pt x="399" y="1537"/>
                    </a:lnTo>
                    <a:lnTo>
                      <a:pt x="386" y="1535"/>
                    </a:lnTo>
                    <a:lnTo>
                      <a:pt x="217" y="1491"/>
                    </a:lnTo>
                    <a:lnTo>
                      <a:pt x="33" y="1443"/>
                    </a:lnTo>
                    <a:lnTo>
                      <a:pt x="23" y="1439"/>
                    </a:lnTo>
                    <a:lnTo>
                      <a:pt x="15" y="1433"/>
                    </a:lnTo>
                    <a:lnTo>
                      <a:pt x="13" y="1431"/>
                    </a:lnTo>
                    <a:lnTo>
                      <a:pt x="10" y="1425"/>
                    </a:lnTo>
                    <a:lnTo>
                      <a:pt x="6" y="1420"/>
                    </a:lnTo>
                    <a:lnTo>
                      <a:pt x="4" y="1414"/>
                    </a:lnTo>
                    <a:lnTo>
                      <a:pt x="0" y="1400"/>
                    </a:lnTo>
                    <a:lnTo>
                      <a:pt x="2" y="1400"/>
                    </a:lnTo>
                    <a:lnTo>
                      <a:pt x="4" y="1402"/>
                    </a:lnTo>
                    <a:lnTo>
                      <a:pt x="8" y="1402"/>
                    </a:lnTo>
                    <a:lnTo>
                      <a:pt x="10" y="1402"/>
                    </a:lnTo>
                    <a:lnTo>
                      <a:pt x="11" y="1404"/>
                    </a:lnTo>
                    <a:lnTo>
                      <a:pt x="13" y="1406"/>
                    </a:lnTo>
                    <a:lnTo>
                      <a:pt x="11" y="1408"/>
                    </a:lnTo>
                    <a:lnTo>
                      <a:pt x="10" y="1406"/>
                    </a:lnTo>
                    <a:lnTo>
                      <a:pt x="8" y="1408"/>
                    </a:lnTo>
                    <a:lnTo>
                      <a:pt x="10" y="1412"/>
                    </a:lnTo>
                    <a:lnTo>
                      <a:pt x="17" y="1423"/>
                    </a:lnTo>
                    <a:lnTo>
                      <a:pt x="23" y="1431"/>
                    </a:lnTo>
                    <a:lnTo>
                      <a:pt x="34" y="1433"/>
                    </a:lnTo>
                    <a:lnTo>
                      <a:pt x="40" y="1431"/>
                    </a:lnTo>
                    <a:lnTo>
                      <a:pt x="46" y="1425"/>
                    </a:lnTo>
                    <a:lnTo>
                      <a:pt x="46" y="1416"/>
                    </a:lnTo>
                    <a:lnTo>
                      <a:pt x="46" y="1410"/>
                    </a:lnTo>
                    <a:lnTo>
                      <a:pt x="50" y="1406"/>
                    </a:lnTo>
                    <a:lnTo>
                      <a:pt x="59" y="1400"/>
                    </a:lnTo>
                    <a:lnTo>
                      <a:pt x="65" y="1395"/>
                    </a:lnTo>
                    <a:lnTo>
                      <a:pt x="73" y="1387"/>
                    </a:lnTo>
                    <a:lnTo>
                      <a:pt x="88" y="1379"/>
                    </a:lnTo>
                    <a:lnTo>
                      <a:pt x="98" y="1373"/>
                    </a:lnTo>
                    <a:lnTo>
                      <a:pt x="102" y="1372"/>
                    </a:lnTo>
                    <a:lnTo>
                      <a:pt x="107" y="1364"/>
                    </a:lnTo>
                    <a:lnTo>
                      <a:pt x="109" y="1360"/>
                    </a:lnTo>
                    <a:lnTo>
                      <a:pt x="119" y="1354"/>
                    </a:lnTo>
                    <a:lnTo>
                      <a:pt x="127" y="1350"/>
                    </a:lnTo>
                    <a:lnTo>
                      <a:pt x="129" y="1345"/>
                    </a:lnTo>
                    <a:lnTo>
                      <a:pt x="130" y="1335"/>
                    </a:lnTo>
                    <a:lnTo>
                      <a:pt x="130" y="1325"/>
                    </a:lnTo>
                    <a:lnTo>
                      <a:pt x="130" y="1322"/>
                    </a:lnTo>
                    <a:lnTo>
                      <a:pt x="130" y="1304"/>
                    </a:lnTo>
                    <a:lnTo>
                      <a:pt x="129" y="1291"/>
                    </a:lnTo>
                    <a:lnTo>
                      <a:pt x="123" y="1272"/>
                    </a:lnTo>
                    <a:lnTo>
                      <a:pt x="117" y="1262"/>
                    </a:lnTo>
                    <a:lnTo>
                      <a:pt x="113" y="1250"/>
                    </a:lnTo>
                    <a:lnTo>
                      <a:pt x="109" y="1245"/>
                    </a:lnTo>
                    <a:lnTo>
                      <a:pt x="102" y="1241"/>
                    </a:lnTo>
                    <a:lnTo>
                      <a:pt x="96" y="1241"/>
                    </a:lnTo>
                    <a:lnTo>
                      <a:pt x="81" y="1245"/>
                    </a:lnTo>
                    <a:lnTo>
                      <a:pt x="84" y="1249"/>
                    </a:lnTo>
                    <a:lnTo>
                      <a:pt x="92" y="1249"/>
                    </a:lnTo>
                    <a:lnTo>
                      <a:pt x="94" y="1250"/>
                    </a:lnTo>
                    <a:lnTo>
                      <a:pt x="94" y="1252"/>
                    </a:lnTo>
                    <a:lnTo>
                      <a:pt x="88" y="1254"/>
                    </a:lnTo>
                    <a:lnTo>
                      <a:pt x="82" y="1252"/>
                    </a:lnTo>
                    <a:lnTo>
                      <a:pt x="77" y="1247"/>
                    </a:lnTo>
                    <a:lnTo>
                      <a:pt x="75" y="1243"/>
                    </a:lnTo>
                    <a:lnTo>
                      <a:pt x="67" y="1233"/>
                    </a:lnTo>
                    <a:lnTo>
                      <a:pt x="65" y="1229"/>
                    </a:lnTo>
                    <a:lnTo>
                      <a:pt x="61" y="1212"/>
                    </a:lnTo>
                    <a:lnTo>
                      <a:pt x="56" y="1206"/>
                    </a:lnTo>
                    <a:lnTo>
                      <a:pt x="52" y="1204"/>
                    </a:lnTo>
                    <a:lnTo>
                      <a:pt x="40" y="1204"/>
                    </a:lnTo>
                    <a:lnTo>
                      <a:pt x="33" y="1208"/>
                    </a:lnTo>
                    <a:lnTo>
                      <a:pt x="2" y="1199"/>
                    </a:lnTo>
                    <a:lnTo>
                      <a:pt x="2" y="1174"/>
                    </a:lnTo>
                    <a:lnTo>
                      <a:pt x="50" y="1174"/>
                    </a:lnTo>
                    <a:lnTo>
                      <a:pt x="52" y="1174"/>
                    </a:lnTo>
                    <a:lnTo>
                      <a:pt x="54" y="1172"/>
                    </a:lnTo>
                    <a:lnTo>
                      <a:pt x="59" y="1172"/>
                    </a:lnTo>
                    <a:lnTo>
                      <a:pt x="65" y="1174"/>
                    </a:lnTo>
                    <a:lnTo>
                      <a:pt x="73" y="1164"/>
                    </a:lnTo>
                    <a:lnTo>
                      <a:pt x="71" y="1145"/>
                    </a:lnTo>
                    <a:lnTo>
                      <a:pt x="34" y="1147"/>
                    </a:lnTo>
                    <a:lnTo>
                      <a:pt x="34" y="1143"/>
                    </a:lnTo>
                    <a:lnTo>
                      <a:pt x="33" y="1141"/>
                    </a:lnTo>
                    <a:lnTo>
                      <a:pt x="29" y="1139"/>
                    </a:lnTo>
                    <a:lnTo>
                      <a:pt x="29" y="1116"/>
                    </a:lnTo>
                    <a:lnTo>
                      <a:pt x="29" y="1101"/>
                    </a:lnTo>
                    <a:lnTo>
                      <a:pt x="31" y="1081"/>
                    </a:lnTo>
                    <a:lnTo>
                      <a:pt x="34" y="1074"/>
                    </a:lnTo>
                    <a:lnTo>
                      <a:pt x="67" y="1072"/>
                    </a:lnTo>
                    <a:lnTo>
                      <a:pt x="69" y="1056"/>
                    </a:lnTo>
                    <a:lnTo>
                      <a:pt x="71" y="1055"/>
                    </a:lnTo>
                    <a:lnTo>
                      <a:pt x="75" y="1047"/>
                    </a:lnTo>
                    <a:lnTo>
                      <a:pt x="81" y="1037"/>
                    </a:lnTo>
                    <a:lnTo>
                      <a:pt x="82" y="1043"/>
                    </a:lnTo>
                    <a:lnTo>
                      <a:pt x="86" y="1041"/>
                    </a:lnTo>
                    <a:lnTo>
                      <a:pt x="88" y="1008"/>
                    </a:lnTo>
                    <a:lnTo>
                      <a:pt x="84" y="1001"/>
                    </a:lnTo>
                    <a:lnTo>
                      <a:pt x="84" y="983"/>
                    </a:lnTo>
                    <a:lnTo>
                      <a:pt x="84" y="980"/>
                    </a:lnTo>
                    <a:lnTo>
                      <a:pt x="84" y="968"/>
                    </a:lnTo>
                    <a:lnTo>
                      <a:pt x="84" y="962"/>
                    </a:lnTo>
                    <a:lnTo>
                      <a:pt x="82" y="958"/>
                    </a:lnTo>
                    <a:lnTo>
                      <a:pt x="77" y="953"/>
                    </a:lnTo>
                    <a:lnTo>
                      <a:pt x="75" y="949"/>
                    </a:lnTo>
                    <a:lnTo>
                      <a:pt x="81" y="941"/>
                    </a:lnTo>
                    <a:lnTo>
                      <a:pt x="86" y="941"/>
                    </a:lnTo>
                    <a:lnTo>
                      <a:pt x="88" y="937"/>
                    </a:lnTo>
                    <a:lnTo>
                      <a:pt x="88" y="928"/>
                    </a:lnTo>
                    <a:lnTo>
                      <a:pt x="82" y="926"/>
                    </a:lnTo>
                    <a:lnTo>
                      <a:pt x="79" y="922"/>
                    </a:lnTo>
                    <a:lnTo>
                      <a:pt x="75" y="918"/>
                    </a:lnTo>
                    <a:lnTo>
                      <a:pt x="69" y="918"/>
                    </a:lnTo>
                    <a:lnTo>
                      <a:pt x="65" y="922"/>
                    </a:lnTo>
                    <a:lnTo>
                      <a:pt x="58" y="922"/>
                    </a:lnTo>
                    <a:lnTo>
                      <a:pt x="38" y="928"/>
                    </a:lnTo>
                    <a:lnTo>
                      <a:pt x="31" y="932"/>
                    </a:lnTo>
                    <a:lnTo>
                      <a:pt x="23" y="939"/>
                    </a:lnTo>
                    <a:lnTo>
                      <a:pt x="23" y="947"/>
                    </a:lnTo>
                    <a:lnTo>
                      <a:pt x="25" y="949"/>
                    </a:lnTo>
                    <a:lnTo>
                      <a:pt x="31" y="951"/>
                    </a:lnTo>
                    <a:lnTo>
                      <a:pt x="38" y="951"/>
                    </a:lnTo>
                    <a:lnTo>
                      <a:pt x="46" y="957"/>
                    </a:lnTo>
                    <a:lnTo>
                      <a:pt x="50" y="960"/>
                    </a:lnTo>
                    <a:lnTo>
                      <a:pt x="50" y="982"/>
                    </a:lnTo>
                    <a:lnTo>
                      <a:pt x="46" y="983"/>
                    </a:lnTo>
                    <a:lnTo>
                      <a:pt x="42" y="982"/>
                    </a:lnTo>
                    <a:lnTo>
                      <a:pt x="42" y="972"/>
                    </a:lnTo>
                    <a:lnTo>
                      <a:pt x="42" y="964"/>
                    </a:lnTo>
                    <a:lnTo>
                      <a:pt x="40" y="960"/>
                    </a:lnTo>
                    <a:lnTo>
                      <a:pt x="34" y="957"/>
                    </a:lnTo>
                    <a:lnTo>
                      <a:pt x="25" y="957"/>
                    </a:lnTo>
                    <a:lnTo>
                      <a:pt x="21" y="958"/>
                    </a:lnTo>
                    <a:lnTo>
                      <a:pt x="21" y="962"/>
                    </a:lnTo>
                    <a:lnTo>
                      <a:pt x="23" y="964"/>
                    </a:lnTo>
                    <a:lnTo>
                      <a:pt x="23" y="966"/>
                    </a:lnTo>
                    <a:lnTo>
                      <a:pt x="21" y="968"/>
                    </a:lnTo>
                    <a:lnTo>
                      <a:pt x="17" y="968"/>
                    </a:lnTo>
                    <a:lnTo>
                      <a:pt x="13" y="968"/>
                    </a:lnTo>
                    <a:lnTo>
                      <a:pt x="8" y="968"/>
                    </a:lnTo>
                    <a:lnTo>
                      <a:pt x="6" y="974"/>
                    </a:lnTo>
                    <a:lnTo>
                      <a:pt x="4" y="974"/>
                    </a:lnTo>
                    <a:lnTo>
                      <a:pt x="27" y="907"/>
                    </a:lnTo>
                    <a:lnTo>
                      <a:pt x="29" y="909"/>
                    </a:lnTo>
                    <a:lnTo>
                      <a:pt x="34" y="905"/>
                    </a:lnTo>
                    <a:lnTo>
                      <a:pt x="36" y="895"/>
                    </a:lnTo>
                    <a:lnTo>
                      <a:pt x="42" y="889"/>
                    </a:lnTo>
                    <a:lnTo>
                      <a:pt x="50" y="876"/>
                    </a:lnTo>
                    <a:lnTo>
                      <a:pt x="54" y="862"/>
                    </a:lnTo>
                    <a:lnTo>
                      <a:pt x="58" y="857"/>
                    </a:lnTo>
                    <a:lnTo>
                      <a:pt x="65" y="843"/>
                    </a:lnTo>
                    <a:lnTo>
                      <a:pt x="67" y="836"/>
                    </a:lnTo>
                    <a:lnTo>
                      <a:pt x="65" y="832"/>
                    </a:lnTo>
                    <a:lnTo>
                      <a:pt x="67" y="830"/>
                    </a:lnTo>
                    <a:lnTo>
                      <a:pt x="67" y="826"/>
                    </a:lnTo>
                    <a:lnTo>
                      <a:pt x="69" y="822"/>
                    </a:lnTo>
                    <a:lnTo>
                      <a:pt x="69" y="818"/>
                    </a:lnTo>
                    <a:lnTo>
                      <a:pt x="71" y="812"/>
                    </a:lnTo>
                    <a:lnTo>
                      <a:pt x="73" y="811"/>
                    </a:lnTo>
                    <a:lnTo>
                      <a:pt x="79" y="809"/>
                    </a:lnTo>
                    <a:lnTo>
                      <a:pt x="96" y="805"/>
                    </a:lnTo>
                    <a:lnTo>
                      <a:pt x="111" y="797"/>
                    </a:lnTo>
                    <a:lnTo>
                      <a:pt x="121" y="791"/>
                    </a:lnTo>
                    <a:lnTo>
                      <a:pt x="127" y="788"/>
                    </a:lnTo>
                    <a:lnTo>
                      <a:pt x="127" y="786"/>
                    </a:lnTo>
                    <a:lnTo>
                      <a:pt x="136" y="776"/>
                    </a:lnTo>
                    <a:lnTo>
                      <a:pt x="138" y="774"/>
                    </a:lnTo>
                    <a:lnTo>
                      <a:pt x="152" y="749"/>
                    </a:lnTo>
                    <a:lnTo>
                      <a:pt x="154" y="747"/>
                    </a:lnTo>
                    <a:lnTo>
                      <a:pt x="155" y="739"/>
                    </a:lnTo>
                    <a:lnTo>
                      <a:pt x="154" y="736"/>
                    </a:lnTo>
                    <a:lnTo>
                      <a:pt x="154" y="718"/>
                    </a:lnTo>
                    <a:lnTo>
                      <a:pt x="155" y="703"/>
                    </a:lnTo>
                    <a:lnTo>
                      <a:pt x="159" y="693"/>
                    </a:lnTo>
                    <a:lnTo>
                      <a:pt x="146" y="672"/>
                    </a:lnTo>
                    <a:lnTo>
                      <a:pt x="136" y="653"/>
                    </a:lnTo>
                    <a:lnTo>
                      <a:pt x="134" y="640"/>
                    </a:lnTo>
                    <a:lnTo>
                      <a:pt x="127" y="638"/>
                    </a:lnTo>
                    <a:lnTo>
                      <a:pt x="127" y="632"/>
                    </a:lnTo>
                    <a:lnTo>
                      <a:pt x="127" y="628"/>
                    </a:lnTo>
                    <a:lnTo>
                      <a:pt x="127" y="622"/>
                    </a:lnTo>
                    <a:lnTo>
                      <a:pt x="129" y="611"/>
                    </a:lnTo>
                    <a:lnTo>
                      <a:pt x="134" y="601"/>
                    </a:lnTo>
                    <a:lnTo>
                      <a:pt x="140" y="601"/>
                    </a:lnTo>
                    <a:lnTo>
                      <a:pt x="154" y="563"/>
                    </a:lnTo>
                    <a:lnTo>
                      <a:pt x="188" y="472"/>
                    </a:lnTo>
                    <a:lnTo>
                      <a:pt x="217" y="396"/>
                    </a:lnTo>
                    <a:lnTo>
                      <a:pt x="236" y="342"/>
                    </a:lnTo>
                    <a:lnTo>
                      <a:pt x="255" y="288"/>
                    </a:lnTo>
                    <a:lnTo>
                      <a:pt x="271" y="255"/>
                    </a:lnTo>
                    <a:lnTo>
                      <a:pt x="278" y="227"/>
                    </a:lnTo>
                    <a:lnTo>
                      <a:pt x="286" y="200"/>
                    </a:lnTo>
                    <a:lnTo>
                      <a:pt x="292" y="180"/>
                    </a:lnTo>
                    <a:lnTo>
                      <a:pt x="298" y="171"/>
                    </a:lnTo>
                    <a:lnTo>
                      <a:pt x="311" y="132"/>
                    </a:lnTo>
                    <a:lnTo>
                      <a:pt x="309" y="131"/>
                    </a:lnTo>
                    <a:lnTo>
                      <a:pt x="309" y="127"/>
                    </a:lnTo>
                    <a:lnTo>
                      <a:pt x="309" y="123"/>
                    </a:lnTo>
                    <a:lnTo>
                      <a:pt x="313" y="119"/>
                    </a:lnTo>
                    <a:lnTo>
                      <a:pt x="309" y="115"/>
                    </a:lnTo>
                    <a:lnTo>
                      <a:pt x="322" y="100"/>
                    </a:lnTo>
                    <a:lnTo>
                      <a:pt x="326" y="90"/>
                    </a:lnTo>
                    <a:lnTo>
                      <a:pt x="330" y="79"/>
                    </a:lnTo>
                    <a:lnTo>
                      <a:pt x="326" y="82"/>
                    </a:lnTo>
                    <a:lnTo>
                      <a:pt x="321" y="81"/>
                    </a:lnTo>
                    <a:lnTo>
                      <a:pt x="311" y="73"/>
                    </a:lnTo>
                    <a:lnTo>
                      <a:pt x="307" y="63"/>
                    </a:lnTo>
                    <a:lnTo>
                      <a:pt x="305" y="54"/>
                    </a:lnTo>
                    <a:lnTo>
                      <a:pt x="305" y="44"/>
                    </a:lnTo>
                    <a:lnTo>
                      <a:pt x="313" y="31"/>
                    </a:lnTo>
                    <a:lnTo>
                      <a:pt x="317" y="27"/>
                    </a:lnTo>
                    <a:lnTo>
                      <a:pt x="324" y="19"/>
                    </a:lnTo>
                    <a:lnTo>
                      <a:pt x="334" y="15"/>
                    </a:lnTo>
                    <a:lnTo>
                      <a:pt x="344" y="13"/>
                    </a:lnTo>
                    <a:lnTo>
                      <a:pt x="349" y="19"/>
                    </a:lnTo>
                    <a:lnTo>
                      <a:pt x="347" y="27"/>
                    </a:lnTo>
                    <a:lnTo>
                      <a:pt x="351" y="27"/>
                    </a:lnTo>
                    <a:lnTo>
                      <a:pt x="361"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25" name="Freeform 13">
                <a:extLst>
                  <a:ext uri="{FF2B5EF4-FFF2-40B4-BE49-F238E27FC236}">
                    <a16:creationId xmlns:a16="http://schemas.microsoft.com/office/drawing/2014/main" id="{6654D589-E895-459E-8A07-68491638DB55}"/>
                  </a:ext>
                </a:extLst>
              </p:cNvPr>
              <p:cNvSpPr>
                <a:spLocks noEditPoints="1"/>
              </p:cNvSpPr>
              <p:nvPr/>
            </p:nvSpPr>
            <p:spPr bwMode="gray">
              <a:xfrm>
                <a:off x="4096636" y="4491254"/>
                <a:ext cx="684571" cy="580814"/>
              </a:xfrm>
              <a:custGeom>
                <a:avLst/>
                <a:gdLst>
                  <a:gd name="T0" fmla="*/ 302 w 607"/>
                  <a:gd name="T1" fmla="*/ 488 h 515"/>
                  <a:gd name="T2" fmla="*/ 280 w 607"/>
                  <a:gd name="T3" fmla="*/ 480 h 515"/>
                  <a:gd name="T4" fmla="*/ 428 w 607"/>
                  <a:gd name="T5" fmla="*/ 397 h 515"/>
                  <a:gd name="T6" fmla="*/ 438 w 607"/>
                  <a:gd name="T7" fmla="*/ 409 h 515"/>
                  <a:gd name="T8" fmla="*/ 467 w 607"/>
                  <a:gd name="T9" fmla="*/ 422 h 515"/>
                  <a:gd name="T10" fmla="*/ 480 w 607"/>
                  <a:gd name="T11" fmla="*/ 421 h 515"/>
                  <a:gd name="T12" fmla="*/ 480 w 607"/>
                  <a:gd name="T13" fmla="*/ 461 h 515"/>
                  <a:gd name="T14" fmla="*/ 480 w 607"/>
                  <a:gd name="T15" fmla="*/ 474 h 515"/>
                  <a:gd name="T16" fmla="*/ 490 w 607"/>
                  <a:gd name="T17" fmla="*/ 484 h 515"/>
                  <a:gd name="T18" fmla="*/ 490 w 607"/>
                  <a:gd name="T19" fmla="*/ 501 h 515"/>
                  <a:gd name="T20" fmla="*/ 474 w 607"/>
                  <a:gd name="T21" fmla="*/ 494 h 515"/>
                  <a:gd name="T22" fmla="*/ 451 w 607"/>
                  <a:gd name="T23" fmla="*/ 467 h 515"/>
                  <a:gd name="T24" fmla="*/ 424 w 607"/>
                  <a:gd name="T25" fmla="*/ 394 h 515"/>
                  <a:gd name="T26" fmla="*/ 574 w 607"/>
                  <a:gd name="T27" fmla="*/ 396 h 515"/>
                  <a:gd name="T28" fmla="*/ 482 w 607"/>
                  <a:gd name="T29" fmla="*/ 321 h 515"/>
                  <a:gd name="T30" fmla="*/ 484 w 607"/>
                  <a:gd name="T31" fmla="*/ 307 h 515"/>
                  <a:gd name="T32" fmla="*/ 553 w 607"/>
                  <a:gd name="T33" fmla="*/ 298 h 515"/>
                  <a:gd name="T34" fmla="*/ 549 w 607"/>
                  <a:gd name="T35" fmla="*/ 328 h 515"/>
                  <a:gd name="T36" fmla="*/ 511 w 607"/>
                  <a:gd name="T37" fmla="*/ 334 h 515"/>
                  <a:gd name="T38" fmla="*/ 520 w 607"/>
                  <a:gd name="T39" fmla="*/ 373 h 515"/>
                  <a:gd name="T40" fmla="*/ 534 w 607"/>
                  <a:gd name="T41" fmla="*/ 371 h 515"/>
                  <a:gd name="T42" fmla="*/ 543 w 607"/>
                  <a:gd name="T43" fmla="*/ 449 h 515"/>
                  <a:gd name="T44" fmla="*/ 494 w 607"/>
                  <a:gd name="T45" fmla="*/ 361 h 515"/>
                  <a:gd name="T46" fmla="*/ 434 w 607"/>
                  <a:gd name="T47" fmla="*/ 361 h 515"/>
                  <a:gd name="T48" fmla="*/ 453 w 607"/>
                  <a:gd name="T49" fmla="*/ 315 h 515"/>
                  <a:gd name="T50" fmla="*/ 326 w 607"/>
                  <a:gd name="T51" fmla="*/ 290 h 515"/>
                  <a:gd name="T52" fmla="*/ 246 w 607"/>
                  <a:gd name="T53" fmla="*/ 211 h 515"/>
                  <a:gd name="T54" fmla="*/ 238 w 607"/>
                  <a:gd name="T55" fmla="*/ 203 h 515"/>
                  <a:gd name="T56" fmla="*/ 158 w 607"/>
                  <a:gd name="T57" fmla="*/ 130 h 515"/>
                  <a:gd name="T58" fmla="*/ 100 w 607"/>
                  <a:gd name="T59" fmla="*/ 123 h 515"/>
                  <a:gd name="T60" fmla="*/ 96 w 607"/>
                  <a:gd name="T61" fmla="*/ 113 h 515"/>
                  <a:gd name="T62" fmla="*/ 94 w 607"/>
                  <a:gd name="T63" fmla="*/ 82 h 515"/>
                  <a:gd name="T64" fmla="*/ 85 w 607"/>
                  <a:gd name="T65" fmla="*/ 79 h 515"/>
                  <a:gd name="T66" fmla="*/ 77 w 607"/>
                  <a:gd name="T67" fmla="*/ 73 h 515"/>
                  <a:gd name="T68" fmla="*/ 69 w 607"/>
                  <a:gd name="T69" fmla="*/ 67 h 515"/>
                  <a:gd name="T70" fmla="*/ 58 w 607"/>
                  <a:gd name="T71" fmla="*/ 65 h 515"/>
                  <a:gd name="T72" fmla="*/ 54 w 607"/>
                  <a:gd name="T73" fmla="*/ 57 h 515"/>
                  <a:gd name="T74" fmla="*/ 48 w 607"/>
                  <a:gd name="T75" fmla="*/ 50 h 515"/>
                  <a:gd name="T76" fmla="*/ 88 w 607"/>
                  <a:gd name="T77" fmla="*/ 11 h 515"/>
                  <a:gd name="T78" fmla="*/ 144 w 607"/>
                  <a:gd name="T79" fmla="*/ 13 h 515"/>
                  <a:gd name="T80" fmla="*/ 182 w 607"/>
                  <a:gd name="T81" fmla="*/ 29 h 515"/>
                  <a:gd name="T82" fmla="*/ 265 w 607"/>
                  <a:gd name="T83" fmla="*/ 57 h 515"/>
                  <a:gd name="T84" fmla="*/ 342 w 607"/>
                  <a:gd name="T85" fmla="*/ 65 h 515"/>
                  <a:gd name="T86" fmla="*/ 380 w 607"/>
                  <a:gd name="T87" fmla="*/ 79 h 515"/>
                  <a:gd name="T88" fmla="*/ 422 w 607"/>
                  <a:gd name="T89" fmla="*/ 73 h 515"/>
                  <a:gd name="T90" fmla="*/ 417 w 607"/>
                  <a:gd name="T91" fmla="*/ 146 h 515"/>
                  <a:gd name="T92" fmla="*/ 380 w 607"/>
                  <a:gd name="T93" fmla="*/ 173 h 515"/>
                  <a:gd name="T94" fmla="*/ 363 w 607"/>
                  <a:gd name="T95" fmla="*/ 148 h 515"/>
                  <a:gd name="T96" fmla="*/ 373 w 607"/>
                  <a:gd name="T97" fmla="*/ 198 h 515"/>
                  <a:gd name="T98" fmla="*/ 330 w 607"/>
                  <a:gd name="T99" fmla="*/ 223 h 515"/>
                  <a:gd name="T100" fmla="*/ 300 w 607"/>
                  <a:gd name="T101" fmla="*/ 232 h 515"/>
                  <a:gd name="T102" fmla="*/ 252 w 607"/>
                  <a:gd name="T103" fmla="*/ 215 h 515"/>
                  <a:gd name="T104" fmla="*/ 240 w 607"/>
                  <a:gd name="T105" fmla="*/ 190 h 515"/>
                  <a:gd name="T106" fmla="*/ 221 w 607"/>
                  <a:gd name="T107" fmla="*/ 190 h 515"/>
                  <a:gd name="T108" fmla="*/ 196 w 607"/>
                  <a:gd name="T109" fmla="*/ 146 h 515"/>
                  <a:gd name="T110" fmla="*/ 165 w 607"/>
                  <a:gd name="T111" fmla="*/ 123 h 515"/>
                  <a:gd name="T112" fmla="*/ 121 w 607"/>
                  <a:gd name="T113" fmla="*/ 107 h 515"/>
                  <a:gd name="T114" fmla="*/ 104 w 607"/>
                  <a:gd name="T115" fmla="*/ 94 h 515"/>
                  <a:gd name="T116" fmla="*/ 90 w 607"/>
                  <a:gd name="T117" fmla="*/ 81 h 515"/>
                  <a:gd name="T118" fmla="*/ 75 w 607"/>
                  <a:gd name="T119" fmla="*/ 61 h 515"/>
                  <a:gd name="T120" fmla="*/ 54 w 607"/>
                  <a:gd name="T121" fmla="*/ 46 h 515"/>
                  <a:gd name="T122" fmla="*/ 38 w 607"/>
                  <a:gd name="T123" fmla="*/ 48 h 515"/>
                  <a:gd name="T124" fmla="*/ 6 w 607"/>
                  <a:gd name="T125" fmla="*/ 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07" h="515">
                    <a:moveTo>
                      <a:pt x="309" y="497"/>
                    </a:moveTo>
                    <a:lnTo>
                      <a:pt x="307" y="505"/>
                    </a:lnTo>
                    <a:lnTo>
                      <a:pt x="307" y="513"/>
                    </a:lnTo>
                    <a:lnTo>
                      <a:pt x="298" y="515"/>
                    </a:lnTo>
                    <a:lnTo>
                      <a:pt x="300" y="507"/>
                    </a:lnTo>
                    <a:lnTo>
                      <a:pt x="298" y="503"/>
                    </a:lnTo>
                    <a:lnTo>
                      <a:pt x="290" y="503"/>
                    </a:lnTo>
                    <a:lnTo>
                      <a:pt x="288" y="499"/>
                    </a:lnTo>
                    <a:lnTo>
                      <a:pt x="294" y="495"/>
                    </a:lnTo>
                    <a:lnTo>
                      <a:pt x="302" y="488"/>
                    </a:lnTo>
                    <a:lnTo>
                      <a:pt x="302" y="480"/>
                    </a:lnTo>
                    <a:lnTo>
                      <a:pt x="307" y="478"/>
                    </a:lnTo>
                    <a:lnTo>
                      <a:pt x="315" y="482"/>
                    </a:lnTo>
                    <a:lnTo>
                      <a:pt x="321" y="488"/>
                    </a:lnTo>
                    <a:lnTo>
                      <a:pt x="313" y="494"/>
                    </a:lnTo>
                    <a:lnTo>
                      <a:pt x="309" y="497"/>
                    </a:lnTo>
                    <a:close/>
                    <a:moveTo>
                      <a:pt x="292" y="470"/>
                    </a:moveTo>
                    <a:lnTo>
                      <a:pt x="290" y="478"/>
                    </a:lnTo>
                    <a:lnTo>
                      <a:pt x="280" y="486"/>
                    </a:lnTo>
                    <a:lnTo>
                      <a:pt x="280" y="480"/>
                    </a:lnTo>
                    <a:lnTo>
                      <a:pt x="277" y="476"/>
                    </a:lnTo>
                    <a:lnTo>
                      <a:pt x="271" y="478"/>
                    </a:lnTo>
                    <a:lnTo>
                      <a:pt x="269" y="472"/>
                    </a:lnTo>
                    <a:lnTo>
                      <a:pt x="277" y="469"/>
                    </a:lnTo>
                    <a:lnTo>
                      <a:pt x="282" y="461"/>
                    </a:lnTo>
                    <a:lnTo>
                      <a:pt x="290" y="465"/>
                    </a:lnTo>
                    <a:lnTo>
                      <a:pt x="292" y="470"/>
                    </a:lnTo>
                    <a:close/>
                    <a:moveTo>
                      <a:pt x="424" y="394"/>
                    </a:moveTo>
                    <a:lnTo>
                      <a:pt x="428" y="396"/>
                    </a:lnTo>
                    <a:lnTo>
                      <a:pt x="428" y="397"/>
                    </a:lnTo>
                    <a:lnTo>
                      <a:pt x="424" y="396"/>
                    </a:lnTo>
                    <a:lnTo>
                      <a:pt x="424" y="399"/>
                    </a:lnTo>
                    <a:lnTo>
                      <a:pt x="424" y="401"/>
                    </a:lnTo>
                    <a:lnTo>
                      <a:pt x="426" y="403"/>
                    </a:lnTo>
                    <a:lnTo>
                      <a:pt x="428" y="405"/>
                    </a:lnTo>
                    <a:lnTo>
                      <a:pt x="432" y="405"/>
                    </a:lnTo>
                    <a:lnTo>
                      <a:pt x="434" y="405"/>
                    </a:lnTo>
                    <a:lnTo>
                      <a:pt x="436" y="407"/>
                    </a:lnTo>
                    <a:lnTo>
                      <a:pt x="438" y="407"/>
                    </a:lnTo>
                    <a:lnTo>
                      <a:pt x="438" y="409"/>
                    </a:lnTo>
                    <a:lnTo>
                      <a:pt x="442" y="409"/>
                    </a:lnTo>
                    <a:lnTo>
                      <a:pt x="444" y="411"/>
                    </a:lnTo>
                    <a:lnTo>
                      <a:pt x="446" y="409"/>
                    </a:lnTo>
                    <a:lnTo>
                      <a:pt x="447" y="409"/>
                    </a:lnTo>
                    <a:lnTo>
                      <a:pt x="455" y="405"/>
                    </a:lnTo>
                    <a:lnTo>
                      <a:pt x="457" y="405"/>
                    </a:lnTo>
                    <a:lnTo>
                      <a:pt x="453" y="413"/>
                    </a:lnTo>
                    <a:lnTo>
                      <a:pt x="457" y="417"/>
                    </a:lnTo>
                    <a:lnTo>
                      <a:pt x="465" y="422"/>
                    </a:lnTo>
                    <a:lnTo>
                      <a:pt x="467" y="422"/>
                    </a:lnTo>
                    <a:lnTo>
                      <a:pt x="469" y="421"/>
                    </a:lnTo>
                    <a:lnTo>
                      <a:pt x="470" y="421"/>
                    </a:lnTo>
                    <a:lnTo>
                      <a:pt x="470" y="422"/>
                    </a:lnTo>
                    <a:lnTo>
                      <a:pt x="472" y="422"/>
                    </a:lnTo>
                    <a:lnTo>
                      <a:pt x="474" y="422"/>
                    </a:lnTo>
                    <a:lnTo>
                      <a:pt x="476" y="421"/>
                    </a:lnTo>
                    <a:lnTo>
                      <a:pt x="474" y="421"/>
                    </a:lnTo>
                    <a:lnTo>
                      <a:pt x="467" y="415"/>
                    </a:lnTo>
                    <a:lnTo>
                      <a:pt x="478" y="421"/>
                    </a:lnTo>
                    <a:lnTo>
                      <a:pt x="480" y="421"/>
                    </a:lnTo>
                    <a:lnTo>
                      <a:pt x="482" y="421"/>
                    </a:lnTo>
                    <a:lnTo>
                      <a:pt x="484" y="422"/>
                    </a:lnTo>
                    <a:lnTo>
                      <a:pt x="484" y="424"/>
                    </a:lnTo>
                    <a:lnTo>
                      <a:pt x="486" y="428"/>
                    </a:lnTo>
                    <a:lnTo>
                      <a:pt x="488" y="432"/>
                    </a:lnTo>
                    <a:lnTo>
                      <a:pt x="486" y="442"/>
                    </a:lnTo>
                    <a:lnTo>
                      <a:pt x="486" y="432"/>
                    </a:lnTo>
                    <a:lnTo>
                      <a:pt x="480" y="432"/>
                    </a:lnTo>
                    <a:lnTo>
                      <a:pt x="474" y="434"/>
                    </a:lnTo>
                    <a:lnTo>
                      <a:pt x="480" y="461"/>
                    </a:lnTo>
                    <a:lnTo>
                      <a:pt x="482" y="461"/>
                    </a:lnTo>
                    <a:lnTo>
                      <a:pt x="484" y="459"/>
                    </a:lnTo>
                    <a:lnTo>
                      <a:pt x="486" y="455"/>
                    </a:lnTo>
                    <a:lnTo>
                      <a:pt x="486" y="459"/>
                    </a:lnTo>
                    <a:lnTo>
                      <a:pt x="486" y="467"/>
                    </a:lnTo>
                    <a:lnTo>
                      <a:pt x="488" y="472"/>
                    </a:lnTo>
                    <a:lnTo>
                      <a:pt x="486" y="469"/>
                    </a:lnTo>
                    <a:lnTo>
                      <a:pt x="484" y="469"/>
                    </a:lnTo>
                    <a:lnTo>
                      <a:pt x="482" y="470"/>
                    </a:lnTo>
                    <a:lnTo>
                      <a:pt x="480" y="474"/>
                    </a:lnTo>
                    <a:lnTo>
                      <a:pt x="480" y="478"/>
                    </a:lnTo>
                    <a:lnTo>
                      <a:pt x="480" y="482"/>
                    </a:lnTo>
                    <a:lnTo>
                      <a:pt x="480" y="484"/>
                    </a:lnTo>
                    <a:lnTo>
                      <a:pt x="482" y="486"/>
                    </a:lnTo>
                    <a:lnTo>
                      <a:pt x="484" y="490"/>
                    </a:lnTo>
                    <a:lnTo>
                      <a:pt x="488" y="492"/>
                    </a:lnTo>
                    <a:lnTo>
                      <a:pt x="490" y="490"/>
                    </a:lnTo>
                    <a:lnTo>
                      <a:pt x="492" y="490"/>
                    </a:lnTo>
                    <a:lnTo>
                      <a:pt x="492" y="486"/>
                    </a:lnTo>
                    <a:lnTo>
                      <a:pt x="490" y="484"/>
                    </a:lnTo>
                    <a:lnTo>
                      <a:pt x="492" y="484"/>
                    </a:lnTo>
                    <a:lnTo>
                      <a:pt x="492" y="486"/>
                    </a:lnTo>
                    <a:lnTo>
                      <a:pt x="492" y="490"/>
                    </a:lnTo>
                    <a:lnTo>
                      <a:pt x="492" y="492"/>
                    </a:lnTo>
                    <a:lnTo>
                      <a:pt x="492" y="494"/>
                    </a:lnTo>
                    <a:lnTo>
                      <a:pt x="492" y="495"/>
                    </a:lnTo>
                    <a:lnTo>
                      <a:pt x="492" y="497"/>
                    </a:lnTo>
                    <a:lnTo>
                      <a:pt x="492" y="499"/>
                    </a:lnTo>
                    <a:lnTo>
                      <a:pt x="492" y="501"/>
                    </a:lnTo>
                    <a:lnTo>
                      <a:pt x="490" y="501"/>
                    </a:lnTo>
                    <a:lnTo>
                      <a:pt x="488" y="503"/>
                    </a:lnTo>
                    <a:lnTo>
                      <a:pt x="486" y="503"/>
                    </a:lnTo>
                    <a:lnTo>
                      <a:pt x="484" y="499"/>
                    </a:lnTo>
                    <a:lnTo>
                      <a:pt x="480" y="495"/>
                    </a:lnTo>
                    <a:lnTo>
                      <a:pt x="480" y="494"/>
                    </a:lnTo>
                    <a:lnTo>
                      <a:pt x="478" y="494"/>
                    </a:lnTo>
                    <a:lnTo>
                      <a:pt x="478" y="492"/>
                    </a:lnTo>
                    <a:lnTo>
                      <a:pt x="476" y="494"/>
                    </a:lnTo>
                    <a:lnTo>
                      <a:pt x="476" y="495"/>
                    </a:lnTo>
                    <a:lnTo>
                      <a:pt x="474" y="494"/>
                    </a:lnTo>
                    <a:lnTo>
                      <a:pt x="474" y="492"/>
                    </a:lnTo>
                    <a:lnTo>
                      <a:pt x="476" y="492"/>
                    </a:lnTo>
                    <a:lnTo>
                      <a:pt x="472" y="490"/>
                    </a:lnTo>
                    <a:lnTo>
                      <a:pt x="470" y="488"/>
                    </a:lnTo>
                    <a:lnTo>
                      <a:pt x="465" y="488"/>
                    </a:lnTo>
                    <a:lnTo>
                      <a:pt x="463" y="486"/>
                    </a:lnTo>
                    <a:lnTo>
                      <a:pt x="461" y="486"/>
                    </a:lnTo>
                    <a:lnTo>
                      <a:pt x="461" y="484"/>
                    </a:lnTo>
                    <a:lnTo>
                      <a:pt x="457" y="480"/>
                    </a:lnTo>
                    <a:lnTo>
                      <a:pt x="451" y="467"/>
                    </a:lnTo>
                    <a:lnTo>
                      <a:pt x="426" y="438"/>
                    </a:lnTo>
                    <a:lnTo>
                      <a:pt x="417" y="430"/>
                    </a:lnTo>
                    <a:lnTo>
                      <a:pt x="396" y="411"/>
                    </a:lnTo>
                    <a:lnTo>
                      <a:pt x="396" y="409"/>
                    </a:lnTo>
                    <a:lnTo>
                      <a:pt x="396" y="407"/>
                    </a:lnTo>
                    <a:lnTo>
                      <a:pt x="396" y="405"/>
                    </a:lnTo>
                    <a:lnTo>
                      <a:pt x="405" y="397"/>
                    </a:lnTo>
                    <a:lnTo>
                      <a:pt x="413" y="394"/>
                    </a:lnTo>
                    <a:lnTo>
                      <a:pt x="422" y="394"/>
                    </a:lnTo>
                    <a:lnTo>
                      <a:pt x="424" y="394"/>
                    </a:lnTo>
                    <a:close/>
                    <a:moveTo>
                      <a:pt x="574" y="382"/>
                    </a:moveTo>
                    <a:lnTo>
                      <a:pt x="582" y="388"/>
                    </a:lnTo>
                    <a:lnTo>
                      <a:pt x="595" y="386"/>
                    </a:lnTo>
                    <a:lnTo>
                      <a:pt x="603" y="397"/>
                    </a:lnTo>
                    <a:lnTo>
                      <a:pt x="607" y="409"/>
                    </a:lnTo>
                    <a:lnTo>
                      <a:pt x="603" y="415"/>
                    </a:lnTo>
                    <a:lnTo>
                      <a:pt x="595" y="407"/>
                    </a:lnTo>
                    <a:lnTo>
                      <a:pt x="584" y="401"/>
                    </a:lnTo>
                    <a:lnTo>
                      <a:pt x="580" y="405"/>
                    </a:lnTo>
                    <a:lnTo>
                      <a:pt x="574" y="396"/>
                    </a:lnTo>
                    <a:lnTo>
                      <a:pt x="566" y="394"/>
                    </a:lnTo>
                    <a:lnTo>
                      <a:pt x="555" y="380"/>
                    </a:lnTo>
                    <a:lnTo>
                      <a:pt x="557" y="373"/>
                    </a:lnTo>
                    <a:lnTo>
                      <a:pt x="563" y="373"/>
                    </a:lnTo>
                    <a:lnTo>
                      <a:pt x="565" y="380"/>
                    </a:lnTo>
                    <a:lnTo>
                      <a:pt x="574" y="382"/>
                    </a:lnTo>
                    <a:close/>
                    <a:moveTo>
                      <a:pt x="453" y="315"/>
                    </a:moveTo>
                    <a:lnTo>
                      <a:pt x="463" y="326"/>
                    </a:lnTo>
                    <a:lnTo>
                      <a:pt x="470" y="321"/>
                    </a:lnTo>
                    <a:lnTo>
                      <a:pt x="482" y="321"/>
                    </a:lnTo>
                    <a:lnTo>
                      <a:pt x="484" y="319"/>
                    </a:lnTo>
                    <a:lnTo>
                      <a:pt x="488" y="317"/>
                    </a:lnTo>
                    <a:lnTo>
                      <a:pt x="486" y="315"/>
                    </a:lnTo>
                    <a:lnTo>
                      <a:pt x="486" y="313"/>
                    </a:lnTo>
                    <a:lnTo>
                      <a:pt x="482" y="311"/>
                    </a:lnTo>
                    <a:lnTo>
                      <a:pt x="480" y="313"/>
                    </a:lnTo>
                    <a:lnTo>
                      <a:pt x="480" y="315"/>
                    </a:lnTo>
                    <a:lnTo>
                      <a:pt x="480" y="311"/>
                    </a:lnTo>
                    <a:lnTo>
                      <a:pt x="482" y="309"/>
                    </a:lnTo>
                    <a:lnTo>
                      <a:pt x="484" y="307"/>
                    </a:lnTo>
                    <a:lnTo>
                      <a:pt x="486" y="307"/>
                    </a:lnTo>
                    <a:lnTo>
                      <a:pt x="490" y="307"/>
                    </a:lnTo>
                    <a:lnTo>
                      <a:pt x="495" y="305"/>
                    </a:lnTo>
                    <a:lnTo>
                      <a:pt x="497" y="305"/>
                    </a:lnTo>
                    <a:lnTo>
                      <a:pt x="509" y="303"/>
                    </a:lnTo>
                    <a:lnTo>
                      <a:pt x="518" y="303"/>
                    </a:lnTo>
                    <a:lnTo>
                      <a:pt x="526" y="301"/>
                    </a:lnTo>
                    <a:lnTo>
                      <a:pt x="545" y="301"/>
                    </a:lnTo>
                    <a:lnTo>
                      <a:pt x="549" y="300"/>
                    </a:lnTo>
                    <a:lnTo>
                      <a:pt x="553" y="298"/>
                    </a:lnTo>
                    <a:lnTo>
                      <a:pt x="555" y="298"/>
                    </a:lnTo>
                    <a:lnTo>
                      <a:pt x="557" y="300"/>
                    </a:lnTo>
                    <a:lnTo>
                      <a:pt x="559" y="301"/>
                    </a:lnTo>
                    <a:lnTo>
                      <a:pt x="561" y="307"/>
                    </a:lnTo>
                    <a:lnTo>
                      <a:pt x="559" y="311"/>
                    </a:lnTo>
                    <a:lnTo>
                      <a:pt x="559" y="313"/>
                    </a:lnTo>
                    <a:lnTo>
                      <a:pt x="555" y="321"/>
                    </a:lnTo>
                    <a:lnTo>
                      <a:pt x="553" y="324"/>
                    </a:lnTo>
                    <a:lnTo>
                      <a:pt x="551" y="326"/>
                    </a:lnTo>
                    <a:lnTo>
                      <a:pt x="549" y="328"/>
                    </a:lnTo>
                    <a:lnTo>
                      <a:pt x="545" y="332"/>
                    </a:lnTo>
                    <a:lnTo>
                      <a:pt x="524" y="340"/>
                    </a:lnTo>
                    <a:lnTo>
                      <a:pt x="520" y="340"/>
                    </a:lnTo>
                    <a:lnTo>
                      <a:pt x="520" y="338"/>
                    </a:lnTo>
                    <a:lnTo>
                      <a:pt x="526" y="338"/>
                    </a:lnTo>
                    <a:lnTo>
                      <a:pt x="524" y="334"/>
                    </a:lnTo>
                    <a:lnTo>
                      <a:pt x="522" y="332"/>
                    </a:lnTo>
                    <a:lnTo>
                      <a:pt x="518" y="332"/>
                    </a:lnTo>
                    <a:lnTo>
                      <a:pt x="515" y="332"/>
                    </a:lnTo>
                    <a:lnTo>
                      <a:pt x="511" y="334"/>
                    </a:lnTo>
                    <a:lnTo>
                      <a:pt x="507" y="338"/>
                    </a:lnTo>
                    <a:lnTo>
                      <a:pt x="505" y="344"/>
                    </a:lnTo>
                    <a:lnTo>
                      <a:pt x="505" y="348"/>
                    </a:lnTo>
                    <a:lnTo>
                      <a:pt x="505" y="353"/>
                    </a:lnTo>
                    <a:lnTo>
                      <a:pt x="507" y="361"/>
                    </a:lnTo>
                    <a:lnTo>
                      <a:pt x="511" y="367"/>
                    </a:lnTo>
                    <a:lnTo>
                      <a:pt x="511" y="369"/>
                    </a:lnTo>
                    <a:lnTo>
                      <a:pt x="513" y="371"/>
                    </a:lnTo>
                    <a:lnTo>
                      <a:pt x="518" y="373"/>
                    </a:lnTo>
                    <a:lnTo>
                      <a:pt x="520" y="373"/>
                    </a:lnTo>
                    <a:lnTo>
                      <a:pt x="522" y="373"/>
                    </a:lnTo>
                    <a:lnTo>
                      <a:pt x="524" y="373"/>
                    </a:lnTo>
                    <a:lnTo>
                      <a:pt x="526" y="371"/>
                    </a:lnTo>
                    <a:lnTo>
                      <a:pt x="528" y="369"/>
                    </a:lnTo>
                    <a:lnTo>
                      <a:pt x="526" y="367"/>
                    </a:lnTo>
                    <a:lnTo>
                      <a:pt x="524" y="367"/>
                    </a:lnTo>
                    <a:lnTo>
                      <a:pt x="524" y="365"/>
                    </a:lnTo>
                    <a:lnTo>
                      <a:pt x="530" y="367"/>
                    </a:lnTo>
                    <a:lnTo>
                      <a:pt x="532" y="367"/>
                    </a:lnTo>
                    <a:lnTo>
                      <a:pt x="534" y="371"/>
                    </a:lnTo>
                    <a:lnTo>
                      <a:pt x="532" y="378"/>
                    </a:lnTo>
                    <a:lnTo>
                      <a:pt x="536" y="392"/>
                    </a:lnTo>
                    <a:lnTo>
                      <a:pt x="551" y="405"/>
                    </a:lnTo>
                    <a:lnTo>
                      <a:pt x="561" y="415"/>
                    </a:lnTo>
                    <a:lnTo>
                      <a:pt x="561" y="419"/>
                    </a:lnTo>
                    <a:lnTo>
                      <a:pt x="551" y="426"/>
                    </a:lnTo>
                    <a:lnTo>
                      <a:pt x="549" y="436"/>
                    </a:lnTo>
                    <a:lnTo>
                      <a:pt x="553" y="453"/>
                    </a:lnTo>
                    <a:lnTo>
                      <a:pt x="549" y="457"/>
                    </a:lnTo>
                    <a:lnTo>
                      <a:pt x="543" y="449"/>
                    </a:lnTo>
                    <a:lnTo>
                      <a:pt x="538" y="447"/>
                    </a:lnTo>
                    <a:lnTo>
                      <a:pt x="507" y="419"/>
                    </a:lnTo>
                    <a:lnTo>
                      <a:pt x="497" y="407"/>
                    </a:lnTo>
                    <a:lnTo>
                      <a:pt x="494" y="386"/>
                    </a:lnTo>
                    <a:lnTo>
                      <a:pt x="476" y="374"/>
                    </a:lnTo>
                    <a:lnTo>
                      <a:pt x="474" y="371"/>
                    </a:lnTo>
                    <a:lnTo>
                      <a:pt x="472" y="367"/>
                    </a:lnTo>
                    <a:lnTo>
                      <a:pt x="478" y="359"/>
                    </a:lnTo>
                    <a:lnTo>
                      <a:pt x="490" y="367"/>
                    </a:lnTo>
                    <a:lnTo>
                      <a:pt x="494" y="361"/>
                    </a:lnTo>
                    <a:lnTo>
                      <a:pt x="492" y="346"/>
                    </a:lnTo>
                    <a:lnTo>
                      <a:pt x="472" y="348"/>
                    </a:lnTo>
                    <a:lnTo>
                      <a:pt x="472" y="334"/>
                    </a:lnTo>
                    <a:lnTo>
                      <a:pt x="469" y="338"/>
                    </a:lnTo>
                    <a:lnTo>
                      <a:pt x="449" y="357"/>
                    </a:lnTo>
                    <a:lnTo>
                      <a:pt x="446" y="361"/>
                    </a:lnTo>
                    <a:lnTo>
                      <a:pt x="440" y="363"/>
                    </a:lnTo>
                    <a:lnTo>
                      <a:pt x="436" y="363"/>
                    </a:lnTo>
                    <a:lnTo>
                      <a:pt x="436" y="361"/>
                    </a:lnTo>
                    <a:lnTo>
                      <a:pt x="434" y="361"/>
                    </a:lnTo>
                    <a:lnTo>
                      <a:pt x="434" y="355"/>
                    </a:lnTo>
                    <a:lnTo>
                      <a:pt x="457" y="342"/>
                    </a:lnTo>
                    <a:lnTo>
                      <a:pt x="461" y="328"/>
                    </a:lnTo>
                    <a:lnTo>
                      <a:pt x="451" y="315"/>
                    </a:lnTo>
                    <a:lnTo>
                      <a:pt x="449" y="317"/>
                    </a:lnTo>
                    <a:lnTo>
                      <a:pt x="444" y="323"/>
                    </a:lnTo>
                    <a:lnTo>
                      <a:pt x="421" y="301"/>
                    </a:lnTo>
                    <a:lnTo>
                      <a:pt x="422" y="296"/>
                    </a:lnTo>
                    <a:lnTo>
                      <a:pt x="455" y="307"/>
                    </a:lnTo>
                    <a:lnTo>
                      <a:pt x="453" y="315"/>
                    </a:lnTo>
                    <a:close/>
                    <a:moveTo>
                      <a:pt x="357" y="338"/>
                    </a:moveTo>
                    <a:lnTo>
                      <a:pt x="353" y="340"/>
                    </a:lnTo>
                    <a:lnTo>
                      <a:pt x="342" y="328"/>
                    </a:lnTo>
                    <a:lnTo>
                      <a:pt x="338" y="324"/>
                    </a:lnTo>
                    <a:lnTo>
                      <a:pt x="334" y="317"/>
                    </a:lnTo>
                    <a:lnTo>
                      <a:pt x="326" y="307"/>
                    </a:lnTo>
                    <a:lnTo>
                      <a:pt x="325" y="300"/>
                    </a:lnTo>
                    <a:lnTo>
                      <a:pt x="321" y="290"/>
                    </a:lnTo>
                    <a:lnTo>
                      <a:pt x="319" y="284"/>
                    </a:lnTo>
                    <a:lnTo>
                      <a:pt x="326" y="290"/>
                    </a:lnTo>
                    <a:lnTo>
                      <a:pt x="330" y="298"/>
                    </a:lnTo>
                    <a:lnTo>
                      <a:pt x="340" y="313"/>
                    </a:lnTo>
                    <a:lnTo>
                      <a:pt x="353" y="323"/>
                    </a:lnTo>
                    <a:lnTo>
                      <a:pt x="357" y="332"/>
                    </a:lnTo>
                    <a:lnTo>
                      <a:pt x="357" y="338"/>
                    </a:lnTo>
                    <a:close/>
                    <a:moveTo>
                      <a:pt x="242" y="205"/>
                    </a:moveTo>
                    <a:lnTo>
                      <a:pt x="244" y="207"/>
                    </a:lnTo>
                    <a:lnTo>
                      <a:pt x="246" y="207"/>
                    </a:lnTo>
                    <a:lnTo>
                      <a:pt x="246" y="209"/>
                    </a:lnTo>
                    <a:lnTo>
                      <a:pt x="246" y="211"/>
                    </a:lnTo>
                    <a:lnTo>
                      <a:pt x="244" y="211"/>
                    </a:lnTo>
                    <a:lnTo>
                      <a:pt x="242" y="211"/>
                    </a:lnTo>
                    <a:lnTo>
                      <a:pt x="234" y="205"/>
                    </a:lnTo>
                    <a:lnTo>
                      <a:pt x="234" y="203"/>
                    </a:lnTo>
                    <a:lnTo>
                      <a:pt x="234" y="202"/>
                    </a:lnTo>
                    <a:lnTo>
                      <a:pt x="234" y="200"/>
                    </a:lnTo>
                    <a:lnTo>
                      <a:pt x="236" y="200"/>
                    </a:lnTo>
                    <a:lnTo>
                      <a:pt x="238" y="200"/>
                    </a:lnTo>
                    <a:lnTo>
                      <a:pt x="238" y="202"/>
                    </a:lnTo>
                    <a:lnTo>
                      <a:pt x="238" y="203"/>
                    </a:lnTo>
                    <a:lnTo>
                      <a:pt x="242" y="205"/>
                    </a:lnTo>
                    <a:close/>
                    <a:moveTo>
                      <a:pt x="171" y="136"/>
                    </a:moveTo>
                    <a:lnTo>
                      <a:pt x="173" y="136"/>
                    </a:lnTo>
                    <a:lnTo>
                      <a:pt x="175" y="136"/>
                    </a:lnTo>
                    <a:lnTo>
                      <a:pt x="177" y="136"/>
                    </a:lnTo>
                    <a:lnTo>
                      <a:pt x="175" y="138"/>
                    </a:lnTo>
                    <a:lnTo>
                      <a:pt x="175" y="140"/>
                    </a:lnTo>
                    <a:lnTo>
                      <a:pt x="169" y="140"/>
                    </a:lnTo>
                    <a:lnTo>
                      <a:pt x="159" y="132"/>
                    </a:lnTo>
                    <a:lnTo>
                      <a:pt x="158" y="130"/>
                    </a:lnTo>
                    <a:lnTo>
                      <a:pt x="158" y="129"/>
                    </a:lnTo>
                    <a:lnTo>
                      <a:pt x="158" y="127"/>
                    </a:lnTo>
                    <a:lnTo>
                      <a:pt x="159" y="125"/>
                    </a:lnTo>
                    <a:lnTo>
                      <a:pt x="161" y="125"/>
                    </a:lnTo>
                    <a:lnTo>
                      <a:pt x="163" y="127"/>
                    </a:lnTo>
                    <a:lnTo>
                      <a:pt x="167" y="130"/>
                    </a:lnTo>
                    <a:lnTo>
                      <a:pt x="171" y="136"/>
                    </a:lnTo>
                    <a:close/>
                    <a:moveTo>
                      <a:pt x="104" y="121"/>
                    </a:moveTo>
                    <a:lnTo>
                      <a:pt x="102" y="123"/>
                    </a:lnTo>
                    <a:lnTo>
                      <a:pt x="100" y="123"/>
                    </a:lnTo>
                    <a:lnTo>
                      <a:pt x="98" y="119"/>
                    </a:lnTo>
                    <a:lnTo>
                      <a:pt x="94" y="117"/>
                    </a:lnTo>
                    <a:lnTo>
                      <a:pt x="90" y="117"/>
                    </a:lnTo>
                    <a:lnTo>
                      <a:pt x="88" y="115"/>
                    </a:lnTo>
                    <a:lnTo>
                      <a:pt x="88" y="113"/>
                    </a:lnTo>
                    <a:lnTo>
                      <a:pt x="88" y="111"/>
                    </a:lnTo>
                    <a:lnTo>
                      <a:pt x="90" y="111"/>
                    </a:lnTo>
                    <a:lnTo>
                      <a:pt x="92" y="111"/>
                    </a:lnTo>
                    <a:lnTo>
                      <a:pt x="94" y="113"/>
                    </a:lnTo>
                    <a:lnTo>
                      <a:pt x="96" y="113"/>
                    </a:lnTo>
                    <a:lnTo>
                      <a:pt x="98" y="113"/>
                    </a:lnTo>
                    <a:lnTo>
                      <a:pt x="98" y="115"/>
                    </a:lnTo>
                    <a:lnTo>
                      <a:pt x="100" y="115"/>
                    </a:lnTo>
                    <a:lnTo>
                      <a:pt x="102" y="117"/>
                    </a:lnTo>
                    <a:lnTo>
                      <a:pt x="102" y="119"/>
                    </a:lnTo>
                    <a:lnTo>
                      <a:pt x="104" y="121"/>
                    </a:lnTo>
                    <a:close/>
                    <a:moveTo>
                      <a:pt x="85" y="81"/>
                    </a:moveTo>
                    <a:lnTo>
                      <a:pt x="92" y="84"/>
                    </a:lnTo>
                    <a:lnTo>
                      <a:pt x="92" y="82"/>
                    </a:lnTo>
                    <a:lnTo>
                      <a:pt x="94" y="82"/>
                    </a:lnTo>
                    <a:lnTo>
                      <a:pt x="94" y="84"/>
                    </a:lnTo>
                    <a:lnTo>
                      <a:pt x="94" y="86"/>
                    </a:lnTo>
                    <a:lnTo>
                      <a:pt x="92" y="88"/>
                    </a:lnTo>
                    <a:lnTo>
                      <a:pt x="90" y="88"/>
                    </a:lnTo>
                    <a:lnTo>
                      <a:pt x="85" y="84"/>
                    </a:lnTo>
                    <a:lnTo>
                      <a:pt x="83" y="84"/>
                    </a:lnTo>
                    <a:lnTo>
                      <a:pt x="83" y="82"/>
                    </a:lnTo>
                    <a:lnTo>
                      <a:pt x="83" y="81"/>
                    </a:lnTo>
                    <a:lnTo>
                      <a:pt x="83" y="79"/>
                    </a:lnTo>
                    <a:lnTo>
                      <a:pt x="85" y="79"/>
                    </a:lnTo>
                    <a:lnTo>
                      <a:pt x="86" y="79"/>
                    </a:lnTo>
                    <a:lnTo>
                      <a:pt x="86" y="81"/>
                    </a:lnTo>
                    <a:lnTo>
                      <a:pt x="85" y="81"/>
                    </a:lnTo>
                    <a:close/>
                    <a:moveTo>
                      <a:pt x="71" y="67"/>
                    </a:moveTo>
                    <a:lnTo>
                      <a:pt x="71" y="69"/>
                    </a:lnTo>
                    <a:lnTo>
                      <a:pt x="69" y="69"/>
                    </a:lnTo>
                    <a:lnTo>
                      <a:pt x="71" y="71"/>
                    </a:lnTo>
                    <a:lnTo>
                      <a:pt x="73" y="75"/>
                    </a:lnTo>
                    <a:lnTo>
                      <a:pt x="75" y="75"/>
                    </a:lnTo>
                    <a:lnTo>
                      <a:pt x="77" y="73"/>
                    </a:lnTo>
                    <a:lnTo>
                      <a:pt x="77" y="75"/>
                    </a:lnTo>
                    <a:lnTo>
                      <a:pt x="77" y="77"/>
                    </a:lnTo>
                    <a:lnTo>
                      <a:pt x="73" y="77"/>
                    </a:lnTo>
                    <a:lnTo>
                      <a:pt x="71" y="77"/>
                    </a:lnTo>
                    <a:lnTo>
                      <a:pt x="69" y="77"/>
                    </a:lnTo>
                    <a:lnTo>
                      <a:pt x="69" y="75"/>
                    </a:lnTo>
                    <a:lnTo>
                      <a:pt x="65" y="71"/>
                    </a:lnTo>
                    <a:lnTo>
                      <a:pt x="65" y="69"/>
                    </a:lnTo>
                    <a:lnTo>
                      <a:pt x="67" y="67"/>
                    </a:lnTo>
                    <a:lnTo>
                      <a:pt x="69" y="67"/>
                    </a:lnTo>
                    <a:lnTo>
                      <a:pt x="71" y="67"/>
                    </a:lnTo>
                    <a:close/>
                    <a:moveTo>
                      <a:pt x="56" y="59"/>
                    </a:moveTo>
                    <a:lnTo>
                      <a:pt x="60" y="61"/>
                    </a:lnTo>
                    <a:lnTo>
                      <a:pt x="60" y="59"/>
                    </a:lnTo>
                    <a:lnTo>
                      <a:pt x="62" y="59"/>
                    </a:lnTo>
                    <a:lnTo>
                      <a:pt x="62" y="61"/>
                    </a:lnTo>
                    <a:lnTo>
                      <a:pt x="60" y="63"/>
                    </a:lnTo>
                    <a:lnTo>
                      <a:pt x="62" y="63"/>
                    </a:lnTo>
                    <a:lnTo>
                      <a:pt x="60" y="65"/>
                    </a:lnTo>
                    <a:lnTo>
                      <a:pt x="58" y="65"/>
                    </a:lnTo>
                    <a:lnTo>
                      <a:pt x="56" y="65"/>
                    </a:lnTo>
                    <a:lnTo>
                      <a:pt x="54" y="63"/>
                    </a:lnTo>
                    <a:lnTo>
                      <a:pt x="54" y="61"/>
                    </a:lnTo>
                    <a:lnTo>
                      <a:pt x="52" y="59"/>
                    </a:lnTo>
                    <a:lnTo>
                      <a:pt x="50" y="57"/>
                    </a:lnTo>
                    <a:lnTo>
                      <a:pt x="52" y="56"/>
                    </a:lnTo>
                    <a:lnTo>
                      <a:pt x="54" y="56"/>
                    </a:lnTo>
                    <a:lnTo>
                      <a:pt x="56" y="56"/>
                    </a:lnTo>
                    <a:lnTo>
                      <a:pt x="54" y="56"/>
                    </a:lnTo>
                    <a:lnTo>
                      <a:pt x="54" y="57"/>
                    </a:lnTo>
                    <a:lnTo>
                      <a:pt x="56" y="57"/>
                    </a:lnTo>
                    <a:lnTo>
                      <a:pt x="56" y="59"/>
                    </a:lnTo>
                    <a:close/>
                    <a:moveTo>
                      <a:pt x="46" y="56"/>
                    </a:moveTo>
                    <a:lnTo>
                      <a:pt x="44" y="57"/>
                    </a:lnTo>
                    <a:lnTo>
                      <a:pt x="44" y="56"/>
                    </a:lnTo>
                    <a:lnTo>
                      <a:pt x="42" y="54"/>
                    </a:lnTo>
                    <a:lnTo>
                      <a:pt x="42" y="52"/>
                    </a:lnTo>
                    <a:lnTo>
                      <a:pt x="44" y="52"/>
                    </a:lnTo>
                    <a:lnTo>
                      <a:pt x="46" y="52"/>
                    </a:lnTo>
                    <a:lnTo>
                      <a:pt x="48" y="50"/>
                    </a:lnTo>
                    <a:lnTo>
                      <a:pt x="50" y="52"/>
                    </a:lnTo>
                    <a:lnTo>
                      <a:pt x="48" y="54"/>
                    </a:lnTo>
                    <a:lnTo>
                      <a:pt x="46" y="54"/>
                    </a:lnTo>
                    <a:lnTo>
                      <a:pt x="46" y="56"/>
                    </a:lnTo>
                    <a:close/>
                    <a:moveTo>
                      <a:pt x="27" y="0"/>
                    </a:moveTo>
                    <a:lnTo>
                      <a:pt x="58" y="9"/>
                    </a:lnTo>
                    <a:lnTo>
                      <a:pt x="69" y="11"/>
                    </a:lnTo>
                    <a:lnTo>
                      <a:pt x="79" y="11"/>
                    </a:lnTo>
                    <a:lnTo>
                      <a:pt x="85" y="11"/>
                    </a:lnTo>
                    <a:lnTo>
                      <a:pt x="88" y="11"/>
                    </a:lnTo>
                    <a:lnTo>
                      <a:pt x="92" y="9"/>
                    </a:lnTo>
                    <a:lnTo>
                      <a:pt x="110" y="2"/>
                    </a:lnTo>
                    <a:lnTo>
                      <a:pt x="117" y="2"/>
                    </a:lnTo>
                    <a:lnTo>
                      <a:pt x="127" y="0"/>
                    </a:lnTo>
                    <a:lnTo>
                      <a:pt x="133" y="4"/>
                    </a:lnTo>
                    <a:lnTo>
                      <a:pt x="136" y="6"/>
                    </a:lnTo>
                    <a:lnTo>
                      <a:pt x="138" y="8"/>
                    </a:lnTo>
                    <a:lnTo>
                      <a:pt x="140" y="8"/>
                    </a:lnTo>
                    <a:lnTo>
                      <a:pt x="142" y="8"/>
                    </a:lnTo>
                    <a:lnTo>
                      <a:pt x="144" y="13"/>
                    </a:lnTo>
                    <a:lnTo>
                      <a:pt x="148" y="11"/>
                    </a:lnTo>
                    <a:lnTo>
                      <a:pt x="146" y="9"/>
                    </a:lnTo>
                    <a:lnTo>
                      <a:pt x="148" y="8"/>
                    </a:lnTo>
                    <a:lnTo>
                      <a:pt x="154" y="13"/>
                    </a:lnTo>
                    <a:lnTo>
                      <a:pt x="156" y="17"/>
                    </a:lnTo>
                    <a:lnTo>
                      <a:pt x="156" y="21"/>
                    </a:lnTo>
                    <a:lnTo>
                      <a:pt x="158" y="23"/>
                    </a:lnTo>
                    <a:lnTo>
                      <a:pt x="159" y="23"/>
                    </a:lnTo>
                    <a:lnTo>
                      <a:pt x="161" y="19"/>
                    </a:lnTo>
                    <a:lnTo>
                      <a:pt x="182" y="29"/>
                    </a:lnTo>
                    <a:lnTo>
                      <a:pt x="184" y="34"/>
                    </a:lnTo>
                    <a:lnTo>
                      <a:pt x="190" y="36"/>
                    </a:lnTo>
                    <a:lnTo>
                      <a:pt x="192" y="42"/>
                    </a:lnTo>
                    <a:lnTo>
                      <a:pt x="198" y="46"/>
                    </a:lnTo>
                    <a:lnTo>
                      <a:pt x="206" y="54"/>
                    </a:lnTo>
                    <a:lnTo>
                      <a:pt x="217" y="57"/>
                    </a:lnTo>
                    <a:lnTo>
                      <a:pt x="230" y="59"/>
                    </a:lnTo>
                    <a:lnTo>
                      <a:pt x="244" y="59"/>
                    </a:lnTo>
                    <a:lnTo>
                      <a:pt x="254" y="59"/>
                    </a:lnTo>
                    <a:lnTo>
                      <a:pt x="265" y="57"/>
                    </a:lnTo>
                    <a:lnTo>
                      <a:pt x="271" y="57"/>
                    </a:lnTo>
                    <a:lnTo>
                      <a:pt x="278" y="57"/>
                    </a:lnTo>
                    <a:lnTo>
                      <a:pt x="284" y="59"/>
                    </a:lnTo>
                    <a:lnTo>
                      <a:pt x="292" y="65"/>
                    </a:lnTo>
                    <a:lnTo>
                      <a:pt x="298" y="71"/>
                    </a:lnTo>
                    <a:lnTo>
                      <a:pt x="307" y="73"/>
                    </a:lnTo>
                    <a:lnTo>
                      <a:pt x="317" y="75"/>
                    </a:lnTo>
                    <a:lnTo>
                      <a:pt x="326" y="73"/>
                    </a:lnTo>
                    <a:lnTo>
                      <a:pt x="338" y="69"/>
                    </a:lnTo>
                    <a:lnTo>
                      <a:pt x="342" y="65"/>
                    </a:lnTo>
                    <a:lnTo>
                      <a:pt x="344" y="65"/>
                    </a:lnTo>
                    <a:lnTo>
                      <a:pt x="351" y="65"/>
                    </a:lnTo>
                    <a:lnTo>
                      <a:pt x="363" y="69"/>
                    </a:lnTo>
                    <a:lnTo>
                      <a:pt x="369" y="71"/>
                    </a:lnTo>
                    <a:lnTo>
                      <a:pt x="374" y="69"/>
                    </a:lnTo>
                    <a:lnTo>
                      <a:pt x="378" y="67"/>
                    </a:lnTo>
                    <a:lnTo>
                      <a:pt x="380" y="69"/>
                    </a:lnTo>
                    <a:lnTo>
                      <a:pt x="382" y="73"/>
                    </a:lnTo>
                    <a:lnTo>
                      <a:pt x="382" y="77"/>
                    </a:lnTo>
                    <a:lnTo>
                      <a:pt x="380" y="79"/>
                    </a:lnTo>
                    <a:lnTo>
                      <a:pt x="380" y="84"/>
                    </a:lnTo>
                    <a:lnTo>
                      <a:pt x="382" y="84"/>
                    </a:lnTo>
                    <a:lnTo>
                      <a:pt x="382" y="86"/>
                    </a:lnTo>
                    <a:lnTo>
                      <a:pt x="386" y="86"/>
                    </a:lnTo>
                    <a:lnTo>
                      <a:pt x="386" y="84"/>
                    </a:lnTo>
                    <a:lnTo>
                      <a:pt x="388" y="84"/>
                    </a:lnTo>
                    <a:lnTo>
                      <a:pt x="396" y="84"/>
                    </a:lnTo>
                    <a:lnTo>
                      <a:pt x="411" y="81"/>
                    </a:lnTo>
                    <a:lnTo>
                      <a:pt x="417" y="75"/>
                    </a:lnTo>
                    <a:lnTo>
                      <a:pt x="422" y="73"/>
                    </a:lnTo>
                    <a:lnTo>
                      <a:pt x="428" y="71"/>
                    </a:lnTo>
                    <a:lnTo>
                      <a:pt x="434" y="73"/>
                    </a:lnTo>
                    <a:lnTo>
                      <a:pt x="453" y="84"/>
                    </a:lnTo>
                    <a:lnTo>
                      <a:pt x="451" y="96"/>
                    </a:lnTo>
                    <a:lnTo>
                      <a:pt x="449" y="98"/>
                    </a:lnTo>
                    <a:lnTo>
                      <a:pt x="442" y="109"/>
                    </a:lnTo>
                    <a:lnTo>
                      <a:pt x="438" y="117"/>
                    </a:lnTo>
                    <a:lnTo>
                      <a:pt x="428" y="130"/>
                    </a:lnTo>
                    <a:lnTo>
                      <a:pt x="422" y="140"/>
                    </a:lnTo>
                    <a:lnTo>
                      <a:pt x="417" y="146"/>
                    </a:lnTo>
                    <a:lnTo>
                      <a:pt x="413" y="150"/>
                    </a:lnTo>
                    <a:lnTo>
                      <a:pt x="407" y="161"/>
                    </a:lnTo>
                    <a:lnTo>
                      <a:pt x="403" y="165"/>
                    </a:lnTo>
                    <a:lnTo>
                      <a:pt x="390" y="178"/>
                    </a:lnTo>
                    <a:lnTo>
                      <a:pt x="382" y="184"/>
                    </a:lnTo>
                    <a:lnTo>
                      <a:pt x="378" y="192"/>
                    </a:lnTo>
                    <a:lnTo>
                      <a:pt x="378" y="190"/>
                    </a:lnTo>
                    <a:lnTo>
                      <a:pt x="380" y="186"/>
                    </a:lnTo>
                    <a:lnTo>
                      <a:pt x="378" y="182"/>
                    </a:lnTo>
                    <a:lnTo>
                      <a:pt x="380" y="173"/>
                    </a:lnTo>
                    <a:lnTo>
                      <a:pt x="380" y="167"/>
                    </a:lnTo>
                    <a:lnTo>
                      <a:pt x="384" y="163"/>
                    </a:lnTo>
                    <a:lnTo>
                      <a:pt x="382" y="161"/>
                    </a:lnTo>
                    <a:lnTo>
                      <a:pt x="380" y="159"/>
                    </a:lnTo>
                    <a:lnTo>
                      <a:pt x="378" y="150"/>
                    </a:lnTo>
                    <a:lnTo>
                      <a:pt x="382" y="136"/>
                    </a:lnTo>
                    <a:lnTo>
                      <a:pt x="374" y="129"/>
                    </a:lnTo>
                    <a:lnTo>
                      <a:pt x="369" y="134"/>
                    </a:lnTo>
                    <a:lnTo>
                      <a:pt x="363" y="144"/>
                    </a:lnTo>
                    <a:lnTo>
                      <a:pt x="363" y="148"/>
                    </a:lnTo>
                    <a:lnTo>
                      <a:pt x="363" y="155"/>
                    </a:lnTo>
                    <a:lnTo>
                      <a:pt x="365" y="163"/>
                    </a:lnTo>
                    <a:lnTo>
                      <a:pt x="361" y="173"/>
                    </a:lnTo>
                    <a:lnTo>
                      <a:pt x="359" y="184"/>
                    </a:lnTo>
                    <a:lnTo>
                      <a:pt x="355" y="188"/>
                    </a:lnTo>
                    <a:lnTo>
                      <a:pt x="369" y="194"/>
                    </a:lnTo>
                    <a:lnTo>
                      <a:pt x="371" y="190"/>
                    </a:lnTo>
                    <a:lnTo>
                      <a:pt x="373" y="190"/>
                    </a:lnTo>
                    <a:lnTo>
                      <a:pt x="374" y="194"/>
                    </a:lnTo>
                    <a:lnTo>
                      <a:pt x="373" y="198"/>
                    </a:lnTo>
                    <a:lnTo>
                      <a:pt x="357" y="213"/>
                    </a:lnTo>
                    <a:lnTo>
                      <a:pt x="351" y="215"/>
                    </a:lnTo>
                    <a:lnTo>
                      <a:pt x="344" y="223"/>
                    </a:lnTo>
                    <a:lnTo>
                      <a:pt x="338" y="227"/>
                    </a:lnTo>
                    <a:lnTo>
                      <a:pt x="334" y="228"/>
                    </a:lnTo>
                    <a:lnTo>
                      <a:pt x="325" y="230"/>
                    </a:lnTo>
                    <a:lnTo>
                      <a:pt x="323" y="230"/>
                    </a:lnTo>
                    <a:lnTo>
                      <a:pt x="328" y="228"/>
                    </a:lnTo>
                    <a:lnTo>
                      <a:pt x="330" y="225"/>
                    </a:lnTo>
                    <a:lnTo>
                      <a:pt x="330" y="223"/>
                    </a:lnTo>
                    <a:lnTo>
                      <a:pt x="330" y="221"/>
                    </a:lnTo>
                    <a:lnTo>
                      <a:pt x="326" y="221"/>
                    </a:lnTo>
                    <a:lnTo>
                      <a:pt x="326" y="223"/>
                    </a:lnTo>
                    <a:lnTo>
                      <a:pt x="325" y="225"/>
                    </a:lnTo>
                    <a:lnTo>
                      <a:pt x="323" y="227"/>
                    </a:lnTo>
                    <a:lnTo>
                      <a:pt x="319" y="227"/>
                    </a:lnTo>
                    <a:lnTo>
                      <a:pt x="311" y="227"/>
                    </a:lnTo>
                    <a:lnTo>
                      <a:pt x="307" y="227"/>
                    </a:lnTo>
                    <a:lnTo>
                      <a:pt x="303" y="228"/>
                    </a:lnTo>
                    <a:lnTo>
                      <a:pt x="300" y="232"/>
                    </a:lnTo>
                    <a:lnTo>
                      <a:pt x="296" y="236"/>
                    </a:lnTo>
                    <a:lnTo>
                      <a:pt x="288" y="238"/>
                    </a:lnTo>
                    <a:lnTo>
                      <a:pt x="284" y="240"/>
                    </a:lnTo>
                    <a:lnTo>
                      <a:pt x="277" y="236"/>
                    </a:lnTo>
                    <a:lnTo>
                      <a:pt x="269" y="230"/>
                    </a:lnTo>
                    <a:lnTo>
                      <a:pt x="261" y="221"/>
                    </a:lnTo>
                    <a:lnTo>
                      <a:pt x="259" y="219"/>
                    </a:lnTo>
                    <a:lnTo>
                      <a:pt x="255" y="219"/>
                    </a:lnTo>
                    <a:lnTo>
                      <a:pt x="252" y="219"/>
                    </a:lnTo>
                    <a:lnTo>
                      <a:pt x="252" y="215"/>
                    </a:lnTo>
                    <a:lnTo>
                      <a:pt x="255" y="217"/>
                    </a:lnTo>
                    <a:lnTo>
                      <a:pt x="259" y="215"/>
                    </a:lnTo>
                    <a:lnTo>
                      <a:pt x="259" y="209"/>
                    </a:lnTo>
                    <a:lnTo>
                      <a:pt x="255" y="205"/>
                    </a:lnTo>
                    <a:lnTo>
                      <a:pt x="254" y="203"/>
                    </a:lnTo>
                    <a:lnTo>
                      <a:pt x="250" y="202"/>
                    </a:lnTo>
                    <a:lnTo>
                      <a:pt x="248" y="202"/>
                    </a:lnTo>
                    <a:lnTo>
                      <a:pt x="244" y="202"/>
                    </a:lnTo>
                    <a:lnTo>
                      <a:pt x="244" y="198"/>
                    </a:lnTo>
                    <a:lnTo>
                      <a:pt x="240" y="190"/>
                    </a:lnTo>
                    <a:lnTo>
                      <a:pt x="236" y="186"/>
                    </a:lnTo>
                    <a:lnTo>
                      <a:pt x="232" y="186"/>
                    </a:lnTo>
                    <a:lnTo>
                      <a:pt x="229" y="186"/>
                    </a:lnTo>
                    <a:lnTo>
                      <a:pt x="227" y="186"/>
                    </a:lnTo>
                    <a:lnTo>
                      <a:pt x="223" y="190"/>
                    </a:lnTo>
                    <a:lnTo>
                      <a:pt x="223" y="192"/>
                    </a:lnTo>
                    <a:lnTo>
                      <a:pt x="225" y="190"/>
                    </a:lnTo>
                    <a:lnTo>
                      <a:pt x="227" y="192"/>
                    </a:lnTo>
                    <a:lnTo>
                      <a:pt x="225" y="196"/>
                    </a:lnTo>
                    <a:lnTo>
                      <a:pt x="221" y="190"/>
                    </a:lnTo>
                    <a:lnTo>
                      <a:pt x="184" y="154"/>
                    </a:lnTo>
                    <a:lnTo>
                      <a:pt x="184" y="150"/>
                    </a:lnTo>
                    <a:lnTo>
                      <a:pt x="182" y="148"/>
                    </a:lnTo>
                    <a:lnTo>
                      <a:pt x="182" y="146"/>
                    </a:lnTo>
                    <a:lnTo>
                      <a:pt x="184" y="146"/>
                    </a:lnTo>
                    <a:lnTo>
                      <a:pt x="188" y="148"/>
                    </a:lnTo>
                    <a:lnTo>
                      <a:pt x="188" y="150"/>
                    </a:lnTo>
                    <a:lnTo>
                      <a:pt x="192" y="152"/>
                    </a:lnTo>
                    <a:lnTo>
                      <a:pt x="194" y="150"/>
                    </a:lnTo>
                    <a:lnTo>
                      <a:pt x="196" y="146"/>
                    </a:lnTo>
                    <a:lnTo>
                      <a:pt x="196" y="144"/>
                    </a:lnTo>
                    <a:lnTo>
                      <a:pt x="192" y="142"/>
                    </a:lnTo>
                    <a:lnTo>
                      <a:pt x="190" y="140"/>
                    </a:lnTo>
                    <a:lnTo>
                      <a:pt x="188" y="136"/>
                    </a:lnTo>
                    <a:lnTo>
                      <a:pt x="186" y="132"/>
                    </a:lnTo>
                    <a:lnTo>
                      <a:pt x="181" y="130"/>
                    </a:lnTo>
                    <a:lnTo>
                      <a:pt x="173" y="130"/>
                    </a:lnTo>
                    <a:lnTo>
                      <a:pt x="171" y="127"/>
                    </a:lnTo>
                    <a:lnTo>
                      <a:pt x="167" y="125"/>
                    </a:lnTo>
                    <a:lnTo>
                      <a:pt x="165" y="123"/>
                    </a:lnTo>
                    <a:lnTo>
                      <a:pt x="163" y="115"/>
                    </a:lnTo>
                    <a:lnTo>
                      <a:pt x="156" y="111"/>
                    </a:lnTo>
                    <a:lnTo>
                      <a:pt x="152" y="109"/>
                    </a:lnTo>
                    <a:lnTo>
                      <a:pt x="148" y="113"/>
                    </a:lnTo>
                    <a:lnTo>
                      <a:pt x="152" y="117"/>
                    </a:lnTo>
                    <a:lnTo>
                      <a:pt x="146" y="119"/>
                    </a:lnTo>
                    <a:lnTo>
                      <a:pt x="146" y="121"/>
                    </a:lnTo>
                    <a:lnTo>
                      <a:pt x="140" y="119"/>
                    </a:lnTo>
                    <a:lnTo>
                      <a:pt x="134" y="115"/>
                    </a:lnTo>
                    <a:lnTo>
                      <a:pt x="121" y="107"/>
                    </a:lnTo>
                    <a:lnTo>
                      <a:pt x="117" y="104"/>
                    </a:lnTo>
                    <a:lnTo>
                      <a:pt x="115" y="104"/>
                    </a:lnTo>
                    <a:lnTo>
                      <a:pt x="115" y="102"/>
                    </a:lnTo>
                    <a:lnTo>
                      <a:pt x="117" y="102"/>
                    </a:lnTo>
                    <a:lnTo>
                      <a:pt x="117" y="100"/>
                    </a:lnTo>
                    <a:lnTo>
                      <a:pt x="115" y="98"/>
                    </a:lnTo>
                    <a:lnTo>
                      <a:pt x="110" y="96"/>
                    </a:lnTo>
                    <a:lnTo>
                      <a:pt x="108" y="94"/>
                    </a:lnTo>
                    <a:lnTo>
                      <a:pt x="106" y="94"/>
                    </a:lnTo>
                    <a:lnTo>
                      <a:pt x="104" y="94"/>
                    </a:lnTo>
                    <a:lnTo>
                      <a:pt x="104" y="92"/>
                    </a:lnTo>
                    <a:lnTo>
                      <a:pt x="106" y="90"/>
                    </a:lnTo>
                    <a:lnTo>
                      <a:pt x="106" y="88"/>
                    </a:lnTo>
                    <a:lnTo>
                      <a:pt x="102" y="84"/>
                    </a:lnTo>
                    <a:lnTo>
                      <a:pt x="100" y="82"/>
                    </a:lnTo>
                    <a:lnTo>
                      <a:pt x="96" y="81"/>
                    </a:lnTo>
                    <a:lnTo>
                      <a:pt x="94" y="81"/>
                    </a:lnTo>
                    <a:lnTo>
                      <a:pt x="92" y="82"/>
                    </a:lnTo>
                    <a:lnTo>
                      <a:pt x="90" y="82"/>
                    </a:lnTo>
                    <a:lnTo>
                      <a:pt x="90" y="81"/>
                    </a:lnTo>
                    <a:lnTo>
                      <a:pt x="90" y="79"/>
                    </a:lnTo>
                    <a:lnTo>
                      <a:pt x="90" y="77"/>
                    </a:lnTo>
                    <a:lnTo>
                      <a:pt x="90" y="75"/>
                    </a:lnTo>
                    <a:lnTo>
                      <a:pt x="88" y="71"/>
                    </a:lnTo>
                    <a:lnTo>
                      <a:pt x="85" y="67"/>
                    </a:lnTo>
                    <a:lnTo>
                      <a:pt x="81" y="67"/>
                    </a:lnTo>
                    <a:lnTo>
                      <a:pt x="77" y="67"/>
                    </a:lnTo>
                    <a:lnTo>
                      <a:pt x="75" y="67"/>
                    </a:lnTo>
                    <a:lnTo>
                      <a:pt x="75" y="63"/>
                    </a:lnTo>
                    <a:lnTo>
                      <a:pt x="75" y="61"/>
                    </a:lnTo>
                    <a:lnTo>
                      <a:pt x="71" y="57"/>
                    </a:lnTo>
                    <a:lnTo>
                      <a:pt x="69" y="56"/>
                    </a:lnTo>
                    <a:lnTo>
                      <a:pt x="65" y="54"/>
                    </a:lnTo>
                    <a:lnTo>
                      <a:pt x="63" y="54"/>
                    </a:lnTo>
                    <a:lnTo>
                      <a:pt x="62" y="54"/>
                    </a:lnTo>
                    <a:lnTo>
                      <a:pt x="60" y="54"/>
                    </a:lnTo>
                    <a:lnTo>
                      <a:pt x="60" y="52"/>
                    </a:lnTo>
                    <a:lnTo>
                      <a:pt x="58" y="50"/>
                    </a:lnTo>
                    <a:lnTo>
                      <a:pt x="56" y="46"/>
                    </a:lnTo>
                    <a:lnTo>
                      <a:pt x="54" y="46"/>
                    </a:lnTo>
                    <a:lnTo>
                      <a:pt x="52" y="44"/>
                    </a:lnTo>
                    <a:lnTo>
                      <a:pt x="50" y="42"/>
                    </a:lnTo>
                    <a:lnTo>
                      <a:pt x="48" y="42"/>
                    </a:lnTo>
                    <a:lnTo>
                      <a:pt x="48" y="40"/>
                    </a:lnTo>
                    <a:lnTo>
                      <a:pt x="44" y="40"/>
                    </a:lnTo>
                    <a:lnTo>
                      <a:pt x="40" y="40"/>
                    </a:lnTo>
                    <a:lnTo>
                      <a:pt x="38" y="42"/>
                    </a:lnTo>
                    <a:lnTo>
                      <a:pt x="38" y="46"/>
                    </a:lnTo>
                    <a:lnTo>
                      <a:pt x="40" y="48"/>
                    </a:lnTo>
                    <a:lnTo>
                      <a:pt x="38" y="48"/>
                    </a:lnTo>
                    <a:lnTo>
                      <a:pt x="35" y="46"/>
                    </a:lnTo>
                    <a:lnTo>
                      <a:pt x="31" y="40"/>
                    </a:lnTo>
                    <a:lnTo>
                      <a:pt x="27" y="32"/>
                    </a:lnTo>
                    <a:lnTo>
                      <a:pt x="23" y="29"/>
                    </a:lnTo>
                    <a:lnTo>
                      <a:pt x="14" y="19"/>
                    </a:lnTo>
                    <a:lnTo>
                      <a:pt x="8" y="15"/>
                    </a:lnTo>
                    <a:lnTo>
                      <a:pt x="4" y="9"/>
                    </a:lnTo>
                    <a:lnTo>
                      <a:pt x="2" y="6"/>
                    </a:lnTo>
                    <a:lnTo>
                      <a:pt x="0" y="4"/>
                    </a:lnTo>
                    <a:lnTo>
                      <a:pt x="6" y="0"/>
                    </a:lnTo>
                    <a:lnTo>
                      <a:pt x="12" y="0"/>
                    </a:lnTo>
                    <a:lnTo>
                      <a:pt x="15" y="2"/>
                    </a:lnTo>
                    <a:lnTo>
                      <a:pt x="21" y="0"/>
                    </a:lnTo>
                    <a:lnTo>
                      <a:pt x="25" y="0"/>
                    </a:lnTo>
                    <a:lnTo>
                      <a:pt x="27" y="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26" name="Freeform 14">
                <a:extLst>
                  <a:ext uri="{FF2B5EF4-FFF2-40B4-BE49-F238E27FC236}">
                    <a16:creationId xmlns:a16="http://schemas.microsoft.com/office/drawing/2014/main" id="{5C1898F3-A22D-4146-ABB9-3824FA4ADB3E}"/>
                  </a:ext>
                </a:extLst>
              </p:cNvPr>
              <p:cNvSpPr>
                <a:spLocks/>
              </p:cNvSpPr>
              <p:nvPr/>
            </p:nvSpPr>
            <p:spPr bwMode="gray">
              <a:xfrm>
                <a:off x="4689855" y="4270207"/>
                <a:ext cx="134208" cy="164658"/>
              </a:xfrm>
              <a:custGeom>
                <a:avLst/>
                <a:gdLst>
                  <a:gd name="T0" fmla="*/ 119 w 119"/>
                  <a:gd name="T1" fmla="*/ 58 h 146"/>
                  <a:gd name="T2" fmla="*/ 83 w 119"/>
                  <a:gd name="T3" fmla="*/ 84 h 146"/>
                  <a:gd name="T4" fmla="*/ 87 w 119"/>
                  <a:gd name="T5" fmla="*/ 88 h 146"/>
                  <a:gd name="T6" fmla="*/ 50 w 119"/>
                  <a:gd name="T7" fmla="*/ 113 h 146"/>
                  <a:gd name="T8" fmla="*/ 69 w 119"/>
                  <a:gd name="T9" fmla="*/ 140 h 146"/>
                  <a:gd name="T10" fmla="*/ 60 w 119"/>
                  <a:gd name="T11" fmla="*/ 146 h 146"/>
                  <a:gd name="T12" fmla="*/ 39 w 119"/>
                  <a:gd name="T13" fmla="*/ 121 h 146"/>
                  <a:gd name="T14" fmla="*/ 27 w 119"/>
                  <a:gd name="T15" fmla="*/ 107 h 146"/>
                  <a:gd name="T16" fmla="*/ 27 w 119"/>
                  <a:gd name="T17" fmla="*/ 102 h 146"/>
                  <a:gd name="T18" fmla="*/ 35 w 119"/>
                  <a:gd name="T19" fmla="*/ 96 h 146"/>
                  <a:gd name="T20" fmla="*/ 0 w 119"/>
                  <a:gd name="T21" fmla="*/ 77 h 146"/>
                  <a:gd name="T22" fmla="*/ 8 w 119"/>
                  <a:gd name="T23" fmla="*/ 65 h 146"/>
                  <a:gd name="T24" fmla="*/ 6 w 119"/>
                  <a:gd name="T25" fmla="*/ 65 h 146"/>
                  <a:gd name="T26" fmla="*/ 2 w 119"/>
                  <a:gd name="T27" fmla="*/ 63 h 146"/>
                  <a:gd name="T28" fmla="*/ 2 w 119"/>
                  <a:gd name="T29" fmla="*/ 61 h 146"/>
                  <a:gd name="T30" fmla="*/ 37 w 119"/>
                  <a:gd name="T31" fmla="*/ 0 h 146"/>
                  <a:gd name="T32" fmla="*/ 50 w 119"/>
                  <a:gd name="T33" fmla="*/ 15 h 146"/>
                  <a:gd name="T34" fmla="*/ 98 w 119"/>
                  <a:gd name="T35" fmla="*/ 44 h 146"/>
                  <a:gd name="T36" fmla="*/ 119 w 119"/>
                  <a:gd name="T37" fmla="*/ 5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9" h="146">
                    <a:moveTo>
                      <a:pt x="119" y="58"/>
                    </a:moveTo>
                    <a:lnTo>
                      <a:pt x="83" y="84"/>
                    </a:lnTo>
                    <a:lnTo>
                      <a:pt x="87" y="88"/>
                    </a:lnTo>
                    <a:lnTo>
                      <a:pt x="50" y="113"/>
                    </a:lnTo>
                    <a:lnTo>
                      <a:pt x="69" y="140"/>
                    </a:lnTo>
                    <a:lnTo>
                      <a:pt x="60" y="146"/>
                    </a:lnTo>
                    <a:lnTo>
                      <a:pt x="39" y="121"/>
                    </a:lnTo>
                    <a:lnTo>
                      <a:pt x="27" y="107"/>
                    </a:lnTo>
                    <a:lnTo>
                      <a:pt x="27" y="102"/>
                    </a:lnTo>
                    <a:lnTo>
                      <a:pt x="35" y="96"/>
                    </a:lnTo>
                    <a:lnTo>
                      <a:pt x="0" y="77"/>
                    </a:lnTo>
                    <a:lnTo>
                      <a:pt x="8" y="65"/>
                    </a:lnTo>
                    <a:lnTo>
                      <a:pt x="6" y="65"/>
                    </a:lnTo>
                    <a:lnTo>
                      <a:pt x="2" y="63"/>
                    </a:lnTo>
                    <a:lnTo>
                      <a:pt x="2" y="61"/>
                    </a:lnTo>
                    <a:lnTo>
                      <a:pt x="37" y="0"/>
                    </a:lnTo>
                    <a:lnTo>
                      <a:pt x="50" y="15"/>
                    </a:lnTo>
                    <a:lnTo>
                      <a:pt x="98" y="44"/>
                    </a:lnTo>
                    <a:lnTo>
                      <a:pt x="119" y="5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27" name="Freeform 15">
                <a:extLst>
                  <a:ext uri="{FF2B5EF4-FFF2-40B4-BE49-F238E27FC236}">
                    <a16:creationId xmlns:a16="http://schemas.microsoft.com/office/drawing/2014/main" id="{7237F48E-C09C-431D-AE5D-BD8A071FB948}"/>
                  </a:ext>
                </a:extLst>
              </p:cNvPr>
              <p:cNvSpPr>
                <a:spLocks/>
              </p:cNvSpPr>
              <p:nvPr/>
            </p:nvSpPr>
            <p:spPr bwMode="gray">
              <a:xfrm>
                <a:off x="4386479" y="4051415"/>
                <a:ext cx="249243" cy="131952"/>
              </a:xfrm>
              <a:custGeom>
                <a:avLst/>
                <a:gdLst>
                  <a:gd name="T0" fmla="*/ 127 w 221"/>
                  <a:gd name="T1" fmla="*/ 23 h 117"/>
                  <a:gd name="T2" fmla="*/ 146 w 221"/>
                  <a:gd name="T3" fmla="*/ 36 h 117"/>
                  <a:gd name="T4" fmla="*/ 150 w 221"/>
                  <a:gd name="T5" fmla="*/ 40 h 117"/>
                  <a:gd name="T6" fmla="*/ 192 w 221"/>
                  <a:gd name="T7" fmla="*/ 67 h 117"/>
                  <a:gd name="T8" fmla="*/ 192 w 221"/>
                  <a:gd name="T9" fmla="*/ 71 h 117"/>
                  <a:gd name="T10" fmla="*/ 204 w 221"/>
                  <a:gd name="T11" fmla="*/ 77 h 117"/>
                  <a:gd name="T12" fmla="*/ 221 w 221"/>
                  <a:gd name="T13" fmla="*/ 109 h 117"/>
                  <a:gd name="T14" fmla="*/ 208 w 221"/>
                  <a:gd name="T15" fmla="*/ 117 h 117"/>
                  <a:gd name="T16" fmla="*/ 190 w 221"/>
                  <a:gd name="T17" fmla="*/ 107 h 117"/>
                  <a:gd name="T18" fmla="*/ 189 w 221"/>
                  <a:gd name="T19" fmla="*/ 106 h 117"/>
                  <a:gd name="T20" fmla="*/ 181 w 221"/>
                  <a:gd name="T21" fmla="*/ 117 h 117"/>
                  <a:gd name="T22" fmla="*/ 162 w 221"/>
                  <a:gd name="T23" fmla="*/ 106 h 117"/>
                  <a:gd name="T24" fmla="*/ 160 w 221"/>
                  <a:gd name="T25" fmla="*/ 106 h 117"/>
                  <a:gd name="T26" fmla="*/ 146 w 221"/>
                  <a:gd name="T27" fmla="*/ 96 h 117"/>
                  <a:gd name="T28" fmla="*/ 139 w 221"/>
                  <a:gd name="T29" fmla="*/ 92 h 117"/>
                  <a:gd name="T30" fmla="*/ 131 w 221"/>
                  <a:gd name="T31" fmla="*/ 90 h 117"/>
                  <a:gd name="T32" fmla="*/ 127 w 221"/>
                  <a:gd name="T33" fmla="*/ 88 h 117"/>
                  <a:gd name="T34" fmla="*/ 121 w 221"/>
                  <a:gd name="T35" fmla="*/ 82 h 117"/>
                  <a:gd name="T36" fmla="*/ 104 w 221"/>
                  <a:gd name="T37" fmla="*/ 75 h 117"/>
                  <a:gd name="T38" fmla="*/ 93 w 221"/>
                  <a:gd name="T39" fmla="*/ 81 h 117"/>
                  <a:gd name="T40" fmla="*/ 81 w 221"/>
                  <a:gd name="T41" fmla="*/ 81 h 117"/>
                  <a:gd name="T42" fmla="*/ 81 w 221"/>
                  <a:gd name="T43" fmla="*/ 86 h 117"/>
                  <a:gd name="T44" fmla="*/ 79 w 221"/>
                  <a:gd name="T45" fmla="*/ 88 h 117"/>
                  <a:gd name="T46" fmla="*/ 73 w 221"/>
                  <a:gd name="T47" fmla="*/ 90 h 117"/>
                  <a:gd name="T48" fmla="*/ 69 w 221"/>
                  <a:gd name="T49" fmla="*/ 92 h 117"/>
                  <a:gd name="T50" fmla="*/ 68 w 221"/>
                  <a:gd name="T51" fmla="*/ 98 h 117"/>
                  <a:gd name="T52" fmla="*/ 64 w 221"/>
                  <a:gd name="T53" fmla="*/ 100 h 117"/>
                  <a:gd name="T54" fmla="*/ 58 w 221"/>
                  <a:gd name="T55" fmla="*/ 96 h 117"/>
                  <a:gd name="T56" fmla="*/ 52 w 221"/>
                  <a:gd name="T57" fmla="*/ 94 h 117"/>
                  <a:gd name="T58" fmla="*/ 50 w 221"/>
                  <a:gd name="T59" fmla="*/ 75 h 117"/>
                  <a:gd name="T60" fmla="*/ 43 w 221"/>
                  <a:gd name="T61" fmla="*/ 61 h 117"/>
                  <a:gd name="T62" fmla="*/ 35 w 221"/>
                  <a:gd name="T63" fmla="*/ 42 h 117"/>
                  <a:gd name="T64" fmla="*/ 33 w 221"/>
                  <a:gd name="T65" fmla="*/ 42 h 117"/>
                  <a:gd name="T66" fmla="*/ 16 w 221"/>
                  <a:gd name="T67" fmla="*/ 44 h 117"/>
                  <a:gd name="T68" fmla="*/ 2 w 221"/>
                  <a:gd name="T69" fmla="*/ 11 h 117"/>
                  <a:gd name="T70" fmla="*/ 0 w 221"/>
                  <a:gd name="T71" fmla="*/ 6 h 117"/>
                  <a:gd name="T72" fmla="*/ 12 w 221"/>
                  <a:gd name="T73" fmla="*/ 4 h 117"/>
                  <a:gd name="T74" fmla="*/ 16 w 221"/>
                  <a:gd name="T75" fmla="*/ 2 h 117"/>
                  <a:gd name="T76" fmla="*/ 27 w 221"/>
                  <a:gd name="T77" fmla="*/ 0 h 117"/>
                  <a:gd name="T78" fmla="*/ 23 w 221"/>
                  <a:gd name="T79" fmla="*/ 11 h 117"/>
                  <a:gd name="T80" fmla="*/ 41 w 221"/>
                  <a:gd name="T81" fmla="*/ 42 h 117"/>
                  <a:gd name="T82" fmla="*/ 54 w 221"/>
                  <a:gd name="T83" fmla="*/ 40 h 117"/>
                  <a:gd name="T84" fmla="*/ 58 w 221"/>
                  <a:gd name="T85" fmla="*/ 42 h 117"/>
                  <a:gd name="T86" fmla="*/ 64 w 221"/>
                  <a:gd name="T87" fmla="*/ 40 h 117"/>
                  <a:gd name="T88" fmla="*/ 73 w 221"/>
                  <a:gd name="T89" fmla="*/ 40 h 117"/>
                  <a:gd name="T90" fmla="*/ 87 w 221"/>
                  <a:gd name="T91" fmla="*/ 50 h 117"/>
                  <a:gd name="T92" fmla="*/ 91 w 221"/>
                  <a:gd name="T93" fmla="*/ 57 h 117"/>
                  <a:gd name="T94" fmla="*/ 96 w 221"/>
                  <a:gd name="T95" fmla="*/ 54 h 117"/>
                  <a:gd name="T96" fmla="*/ 112 w 221"/>
                  <a:gd name="T97" fmla="*/ 46 h 117"/>
                  <a:gd name="T98" fmla="*/ 127 w 221"/>
                  <a:gd name="T99" fmla="*/ 23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1" h="117">
                    <a:moveTo>
                      <a:pt x="127" y="23"/>
                    </a:moveTo>
                    <a:lnTo>
                      <a:pt x="146" y="36"/>
                    </a:lnTo>
                    <a:lnTo>
                      <a:pt x="150" y="40"/>
                    </a:lnTo>
                    <a:lnTo>
                      <a:pt x="192" y="67"/>
                    </a:lnTo>
                    <a:lnTo>
                      <a:pt x="192" y="71"/>
                    </a:lnTo>
                    <a:lnTo>
                      <a:pt x="204" y="77"/>
                    </a:lnTo>
                    <a:lnTo>
                      <a:pt x="221" y="109"/>
                    </a:lnTo>
                    <a:lnTo>
                      <a:pt x="208" y="117"/>
                    </a:lnTo>
                    <a:lnTo>
                      <a:pt x="190" y="107"/>
                    </a:lnTo>
                    <a:lnTo>
                      <a:pt x="189" y="106"/>
                    </a:lnTo>
                    <a:lnTo>
                      <a:pt x="181" y="117"/>
                    </a:lnTo>
                    <a:lnTo>
                      <a:pt x="162" y="106"/>
                    </a:lnTo>
                    <a:lnTo>
                      <a:pt x="160" y="106"/>
                    </a:lnTo>
                    <a:lnTo>
                      <a:pt x="146" y="96"/>
                    </a:lnTo>
                    <a:lnTo>
                      <a:pt x="139" y="92"/>
                    </a:lnTo>
                    <a:lnTo>
                      <a:pt x="131" y="90"/>
                    </a:lnTo>
                    <a:lnTo>
                      <a:pt x="127" y="88"/>
                    </a:lnTo>
                    <a:lnTo>
                      <a:pt x="121" y="82"/>
                    </a:lnTo>
                    <a:lnTo>
                      <a:pt x="104" y="75"/>
                    </a:lnTo>
                    <a:lnTo>
                      <a:pt x="93" y="81"/>
                    </a:lnTo>
                    <a:lnTo>
                      <a:pt x="81" y="81"/>
                    </a:lnTo>
                    <a:lnTo>
                      <a:pt x="81" y="86"/>
                    </a:lnTo>
                    <a:lnTo>
                      <a:pt x="79" y="88"/>
                    </a:lnTo>
                    <a:lnTo>
                      <a:pt x="73" y="90"/>
                    </a:lnTo>
                    <a:lnTo>
                      <a:pt x="69" y="92"/>
                    </a:lnTo>
                    <a:lnTo>
                      <a:pt x="68" y="98"/>
                    </a:lnTo>
                    <a:lnTo>
                      <a:pt x="64" y="100"/>
                    </a:lnTo>
                    <a:lnTo>
                      <a:pt x="58" y="96"/>
                    </a:lnTo>
                    <a:lnTo>
                      <a:pt x="52" y="94"/>
                    </a:lnTo>
                    <a:lnTo>
                      <a:pt x="50" y="75"/>
                    </a:lnTo>
                    <a:lnTo>
                      <a:pt x="43" y="61"/>
                    </a:lnTo>
                    <a:lnTo>
                      <a:pt x="35" y="42"/>
                    </a:lnTo>
                    <a:lnTo>
                      <a:pt x="33" y="42"/>
                    </a:lnTo>
                    <a:lnTo>
                      <a:pt x="16" y="44"/>
                    </a:lnTo>
                    <a:lnTo>
                      <a:pt x="2" y="11"/>
                    </a:lnTo>
                    <a:lnTo>
                      <a:pt x="0" y="6"/>
                    </a:lnTo>
                    <a:lnTo>
                      <a:pt x="12" y="4"/>
                    </a:lnTo>
                    <a:lnTo>
                      <a:pt x="16" y="2"/>
                    </a:lnTo>
                    <a:lnTo>
                      <a:pt x="27" y="0"/>
                    </a:lnTo>
                    <a:lnTo>
                      <a:pt x="23" y="11"/>
                    </a:lnTo>
                    <a:lnTo>
                      <a:pt x="41" y="42"/>
                    </a:lnTo>
                    <a:lnTo>
                      <a:pt x="54" y="40"/>
                    </a:lnTo>
                    <a:lnTo>
                      <a:pt x="58" y="42"/>
                    </a:lnTo>
                    <a:lnTo>
                      <a:pt x="64" y="40"/>
                    </a:lnTo>
                    <a:lnTo>
                      <a:pt x="73" y="40"/>
                    </a:lnTo>
                    <a:lnTo>
                      <a:pt x="87" y="50"/>
                    </a:lnTo>
                    <a:lnTo>
                      <a:pt x="91" y="57"/>
                    </a:lnTo>
                    <a:lnTo>
                      <a:pt x="96" y="54"/>
                    </a:lnTo>
                    <a:lnTo>
                      <a:pt x="112" y="46"/>
                    </a:lnTo>
                    <a:lnTo>
                      <a:pt x="127" y="2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28" name="Freeform 16">
                <a:extLst>
                  <a:ext uri="{FF2B5EF4-FFF2-40B4-BE49-F238E27FC236}">
                    <a16:creationId xmlns:a16="http://schemas.microsoft.com/office/drawing/2014/main" id="{82C9950E-58C4-42E1-B3D2-6ED11B301476}"/>
                  </a:ext>
                </a:extLst>
              </p:cNvPr>
              <p:cNvSpPr>
                <a:spLocks/>
              </p:cNvSpPr>
              <p:nvPr/>
            </p:nvSpPr>
            <p:spPr bwMode="gray">
              <a:xfrm>
                <a:off x="4440613" y="4135999"/>
                <a:ext cx="182703" cy="186086"/>
              </a:xfrm>
              <a:custGeom>
                <a:avLst/>
                <a:gdLst>
                  <a:gd name="T0" fmla="*/ 133 w 162"/>
                  <a:gd name="T1" fmla="*/ 42 h 165"/>
                  <a:gd name="T2" fmla="*/ 135 w 162"/>
                  <a:gd name="T3" fmla="*/ 44 h 165"/>
                  <a:gd name="T4" fmla="*/ 156 w 162"/>
                  <a:gd name="T5" fmla="*/ 55 h 165"/>
                  <a:gd name="T6" fmla="*/ 162 w 162"/>
                  <a:gd name="T7" fmla="*/ 61 h 165"/>
                  <a:gd name="T8" fmla="*/ 152 w 162"/>
                  <a:gd name="T9" fmla="*/ 71 h 165"/>
                  <a:gd name="T10" fmla="*/ 148 w 162"/>
                  <a:gd name="T11" fmla="*/ 77 h 165"/>
                  <a:gd name="T12" fmla="*/ 158 w 162"/>
                  <a:gd name="T13" fmla="*/ 82 h 165"/>
                  <a:gd name="T14" fmla="*/ 154 w 162"/>
                  <a:gd name="T15" fmla="*/ 92 h 165"/>
                  <a:gd name="T16" fmla="*/ 152 w 162"/>
                  <a:gd name="T17" fmla="*/ 90 h 165"/>
                  <a:gd name="T18" fmla="*/ 142 w 162"/>
                  <a:gd name="T19" fmla="*/ 107 h 165"/>
                  <a:gd name="T20" fmla="*/ 135 w 162"/>
                  <a:gd name="T21" fmla="*/ 104 h 165"/>
                  <a:gd name="T22" fmla="*/ 125 w 162"/>
                  <a:gd name="T23" fmla="*/ 100 h 165"/>
                  <a:gd name="T24" fmla="*/ 119 w 162"/>
                  <a:gd name="T25" fmla="*/ 92 h 165"/>
                  <a:gd name="T26" fmla="*/ 114 w 162"/>
                  <a:gd name="T27" fmla="*/ 98 h 165"/>
                  <a:gd name="T28" fmla="*/ 114 w 162"/>
                  <a:gd name="T29" fmla="*/ 94 h 165"/>
                  <a:gd name="T30" fmla="*/ 112 w 162"/>
                  <a:gd name="T31" fmla="*/ 92 h 165"/>
                  <a:gd name="T32" fmla="*/ 110 w 162"/>
                  <a:gd name="T33" fmla="*/ 88 h 165"/>
                  <a:gd name="T34" fmla="*/ 108 w 162"/>
                  <a:gd name="T35" fmla="*/ 86 h 165"/>
                  <a:gd name="T36" fmla="*/ 104 w 162"/>
                  <a:gd name="T37" fmla="*/ 90 h 165"/>
                  <a:gd name="T38" fmla="*/ 98 w 162"/>
                  <a:gd name="T39" fmla="*/ 94 h 165"/>
                  <a:gd name="T40" fmla="*/ 106 w 162"/>
                  <a:gd name="T41" fmla="*/ 102 h 165"/>
                  <a:gd name="T42" fmla="*/ 106 w 162"/>
                  <a:gd name="T43" fmla="*/ 104 h 165"/>
                  <a:gd name="T44" fmla="*/ 110 w 162"/>
                  <a:gd name="T45" fmla="*/ 107 h 165"/>
                  <a:gd name="T46" fmla="*/ 112 w 162"/>
                  <a:gd name="T47" fmla="*/ 109 h 165"/>
                  <a:gd name="T48" fmla="*/ 112 w 162"/>
                  <a:gd name="T49" fmla="*/ 115 h 165"/>
                  <a:gd name="T50" fmla="*/ 110 w 162"/>
                  <a:gd name="T51" fmla="*/ 117 h 165"/>
                  <a:gd name="T52" fmla="*/ 104 w 162"/>
                  <a:gd name="T53" fmla="*/ 148 h 165"/>
                  <a:gd name="T54" fmla="*/ 98 w 162"/>
                  <a:gd name="T55" fmla="*/ 150 h 165"/>
                  <a:gd name="T56" fmla="*/ 93 w 162"/>
                  <a:gd name="T57" fmla="*/ 148 h 165"/>
                  <a:gd name="T58" fmla="*/ 91 w 162"/>
                  <a:gd name="T59" fmla="*/ 150 h 165"/>
                  <a:gd name="T60" fmla="*/ 91 w 162"/>
                  <a:gd name="T61" fmla="*/ 159 h 165"/>
                  <a:gd name="T62" fmla="*/ 89 w 162"/>
                  <a:gd name="T63" fmla="*/ 159 h 165"/>
                  <a:gd name="T64" fmla="*/ 73 w 162"/>
                  <a:gd name="T65" fmla="*/ 155 h 165"/>
                  <a:gd name="T66" fmla="*/ 71 w 162"/>
                  <a:gd name="T67" fmla="*/ 165 h 165"/>
                  <a:gd name="T68" fmla="*/ 66 w 162"/>
                  <a:gd name="T69" fmla="*/ 150 h 165"/>
                  <a:gd name="T70" fmla="*/ 60 w 162"/>
                  <a:gd name="T71" fmla="*/ 123 h 165"/>
                  <a:gd name="T72" fmla="*/ 52 w 162"/>
                  <a:gd name="T73" fmla="*/ 105 h 165"/>
                  <a:gd name="T74" fmla="*/ 50 w 162"/>
                  <a:gd name="T75" fmla="*/ 102 h 165"/>
                  <a:gd name="T76" fmla="*/ 45 w 162"/>
                  <a:gd name="T77" fmla="*/ 88 h 165"/>
                  <a:gd name="T78" fmla="*/ 37 w 162"/>
                  <a:gd name="T79" fmla="*/ 82 h 165"/>
                  <a:gd name="T80" fmla="*/ 12 w 162"/>
                  <a:gd name="T81" fmla="*/ 67 h 165"/>
                  <a:gd name="T82" fmla="*/ 4 w 162"/>
                  <a:gd name="T83" fmla="*/ 50 h 165"/>
                  <a:gd name="T84" fmla="*/ 0 w 162"/>
                  <a:gd name="T85" fmla="*/ 36 h 165"/>
                  <a:gd name="T86" fmla="*/ 4 w 162"/>
                  <a:gd name="T87" fmla="*/ 19 h 165"/>
                  <a:gd name="T88" fmla="*/ 10 w 162"/>
                  <a:gd name="T89" fmla="*/ 21 h 165"/>
                  <a:gd name="T90" fmla="*/ 16 w 162"/>
                  <a:gd name="T91" fmla="*/ 25 h 165"/>
                  <a:gd name="T92" fmla="*/ 20 w 162"/>
                  <a:gd name="T93" fmla="*/ 23 h 165"/>
                  <a:gd name="T94" fmla="*/ 21 w 162"/>
                  <a:gd name="T95" fmla="*/ 17 h 165"/>
                  <a:gd name="T96" fmla="*/ 25 w 162"/>
                  <a:gd name="T97" fmla="*/ 15 h 165"/>
                  <a:gd name="T98" fmla="*/ 31 w 162"/>
                  <a:gd name="T99" fmla="*/ 13 h 165"/>
                  <a:gd name="T100" fmla="*/ 33 w 162"/>
                  <a:gd name="T101" fmla="*/ 11 h 165"/>
                  <a:gd name="T102" fmla="*/ 33 w 162"/>
                  <a:gd name="T103" fmla="*/ 6 h 165"/>
                  <a:gd name="T104" fmla="*/ 45 w 162"/>
                  <a:gd name="T105" fmla="*/ 6 h 165"/>
                  <a:gd name="T106" fmla="*/ 56 w 162"/>
                  <a:gd name="T107" fmla="*/ 0 h 165"/>
                  <a:gd name="T108" fmla="*/ 73 w 162"/>
                  <a:gd name="T109" fmla="*/ 7 h 165"/>
                  <a:gd name="T110" fmla="*/ 79 w 162"/>
                  <a:gd name="T111" fmla="*/ 13 h 165"/>
                  <a:gd name="T112" fmla="*/ 83 w 162"/>
                  <a:gd name="T113" fmla="*/ 15 h 165"/>
                  <a:gd name="T114" fmla="*/ 91 w 162"/>
                  <a:gd name="T115" fmla="*/ 17 h 165"/>
                  <a:gd name="T116" fmla="*/ 98 w 162"/>
                  <a:gd name="T117" fmla="*/ 21 h 165"/>
                  <a:gd name="T118" fmla="*/ 112 w 162"/>
                  <a:gd name="T119" fmla="*/ 31 h 165"/>
                  <a:gd name="T120" fmla="*/ 114 w 162"/>
                  <a:gd name="T121" fmla="*/ 31 h 165"/>
                  <a:gd name="T122" fmla="*/ 133 w 162"/>
                  <a:gd name="T123" fmla="*/ 4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 h="165">
                    <a:moveTo>
                      <a:pt x="133" y="42"/>
                    </a:moveTo>
                    <a:lnTo>
                      <a:pt x="135" y="44"/>
                    </a:lnTo>
                    <a:lnTo>
                      <a:pt x="156" y="55"/>
                    </a:lnTo>
                    <a:lnTo>
                      <a:pt x="162" y="61"/>
                    </a:lnTo>
                    <a:lnTo>
                      <a:pt x="152" y="71"/>
                    </a:lnTo>
                    <a:lnTo>
                      <a:pt x="148" y="77"/>
                    </a:lnTo>
                    <a:lnTo>
                      <a:pt x="158" y="82"/>
                    </a:lnTo>
                    <a:lnTo>
                      <a:pt x="154" y="92"/>
                    </a:lnTo>
                    <a:lnTo>
                      <a:pt x="152" y="90"/>
                    </a:lnTo>
                    <a:lnTo>
                      <a:pt x="142" y="107"/>
                    </a:lnTo>
                    <a:lnTo>
                      <a:pt x="135" y="104"/>
                    </a:lnTo>
                    <a:lnTo>
                      <a:pt x="125" y="100"/>
                    </a:lnTo>
                    <a:lnTo>
                      <a:pt x="119" y="92"/>
                    </a:lnTo>
                    <a:lnTo>
                      <a:pt x="114" y="98"/>
                    </a:lnTo>
                    <a:lnTo>
                      <a:pt x="114" y="94"/>
                    </a:lnTo>
                    <a:lnTo>
                      <a:pt x="112" y="92"/>
                    </a:lnTo>
                    <a:lnTo>
                      <a:pt x="110" y="88"/>
                    </a:lnTo>
                    <a:lnTo>
                      <a:pt x="108" y="86"/>
                    </a:lnTo>
                    <a:lnTo>
                      <a:pt x="104" y="90"/>
                    </a:lnTo>
                    <a:lnTo>
                      <a:pt x="98" y="94"/>
                    </a:lnTo>
                    <a:lnTo>
                      <a:pt x="106" y="102"/>
                    </a:lnTo>
                    <a:lnTo>
                      <a:pt x="106" y="104"/>
                    </a:lnTo>
                    <a:lnTo>
                      <a:pt x="110" y="107"/>
                    </a:lnTo>
                    <a:lnTo>
                      <a:pt x="112" y="109"/>
                    </a:lnTo>
                    <a:lnTo>
                      <a:pt x="112" y="115"/>
                    </a:lnTo>
                    <a:lnTo>
                      <a:pt x="110" y="117"/>
                    </a:lnTo>
                    <a:lnTo>
                      <a:pt x="104" y="148"/>
                    </a:lnTo>
                    <a:lnTo>
                      <a:pt x="98" y="150"/>
                    </a:lnTo>
                    <a:lnTo>
                      <a:pt x="93" y="148"/>
                    </a:lnTo>
                    <a:lnTo>
                      <a:pt x="91" y="150"/>
                    </a:lnTo>
                    <a:lnTo>
                      <a:pt x="91" y="159"/>
                    </a:lnTo>
                    <a:lnTo>
                      <a:pt x="89" y="159"/>
                    </a:lnTo>
                    <a:lnTo>
                      <a:pt x="73" y="155"/>
                    </a:lnTo>
                    <a:lnTo>
                      <a:pt x="71" y="165"/>
                    </a:lnTo>
                    <a:lnTo>
                      <a:pt x="66" y="150"/>
                    </a:lnTo>
                    <a:lnTo>
                      <a:pt x="60" y="123"/>
                    </a:lnTo>
                    <a:lnTo>
                      <a:pt x="52" y="105"/>
                    </a:lnTo>
                    <a:lnTo>
                      <a:pt x="50" y="102"/>
                    </a:lnTo>
                    <a:lnTo>
                      <a:pt x="45" y="88"/>
                    </a:lnTo>
                    <a:lnTo>
                      <a:pt x="37" y="82"/>
                    </a:lnTo>
                    <a:lnTo>
                      <a:pt x="12" y="67"/>
                    </a:lnTo>
                    <a:lnTo>
                      <a:pt x="4" y="50"/>
                    </a:lnTo>
                    <a:lnTo>
                      <a:pt x="0" y="36"/>
                    </a:lnTo>
                    <a:lnTo>
                      <a:pt x="4" y="19"/>
                    </a:lnTo>
                    <a:lnTo>
                      <a:pt x="10" y="21"/>
                    </a:lnTo>
                    <a:lnTo>
                      <a:pt x="16" y="25"/>
                    </a:lnTo>
                    <a:lnTo>
                      <a:pt x="20" y="23"/>
                    </a:lnTo>
                    <a:lnTo>
                      <a:pt x="21" y="17"/>
                    </a:lnTo>
                    <a:lnTo>
                      <a:pt x="25" y="15"/>
                    </a:lnTo>
                    <a:lnTo>
                      <a:pt x="31" y="13"/>
                    </a:lnTo>
                    <a:lnTo>
                      <a:pt x="33" y="11"/>
                    </a:lnTo>
                    <a:lnTo>
                      <a:pt x="33" y="6"/>
                    </a:lnTo>
                    <a:lnTo>
                      <a:pt x="45" y="6"/>
                    </a:lnTo>
                    <a:lnTo>
                      <a:pt x="56" y="0"/>
                    </a:lnTo>
                    <a:lnTo>
                      <a:pt x="73" y="7"/>
                    </a:lnTo>
                    <a:lnTo>
                      <a:pt x="79" y="13"/>
                    </a:lnTo>
                    <a:lnTo>
                      <a:pt x="83" y="15"/>
                    </a:lnTo>
                    <a:lnTo>
                      <a:pt x="91" y="17"/>
                    </a:lnTo>
                    <a:lnTo>
                      <a:pt x="98" y="21"/>
                    </a:lnTo>
                    <a:lnTo>
                      <a:pt x="112" y="31"/>
                    </a:lnTo>
                    <a:lnTo>
                      <a:pt x="114" y="31"/>
                    </a:lnTo>
                    <a:lnTo>
                      <a:pt x="133" y="4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29" name="Freeform 17">
                <a:extLst>
                  <a:ext uri="{FF2B5EF4-FFF2-40B4-BE49-F238E27FC236}">
                    <a16:creationId xmlns:a16="http://schemas.microsoft.com/office/drawing/2014/main" id="{9A2C0BEF-B1D8-456B-8456-0CB6F3C11C84}"/>
                  </a:ext>
                </a:extLst>
              </p:cNvPr>
              <p:cNvSpPr>
                <a:spLocks noEditPoints="1"/>
              </p:cNvSpPr>
              <p:nvPr/>
            </p:nvSpPr>
            <p:spPr bwMode="gray">
              <a:xfrm>
                <a:off x="4023330" y="4075098"/>
                <a:ext cx="625926" cy="480440"/>
              </a:xfrm>
              <a:custGeom>
                <a:avLst/>
                <a:gdLst>
                  <a:gd name="T0" fmla="*/ 334 w 555"/>
                  <a:gd name="T1" fmla="*/ 407 h 426"/>
                  <a:gd name="T2" fmla="*/ 340 w 555"/>
                  <a:gd name="T3" fmla="*/ 400 h 426"/>
                  <a:gd name="T4" fmla="*/ 326 w 555"/>
                  <a:gd name="T5" fmla="*/ 401 h 426"/>
                  <a:gd name="T6" fmla="*/ 317 w 555"/>
                  <a:gd name="T7" fmla="*/ 405 h 426"/>
                  <a:gd name="T8" fmla="*/ 311 w 555"/>
                  <a:gd name="T9" fmla="*/ 405 h 426"/>
                  <a:gd name="T10" fmla="*/ 280 w 555"/>
                  <a:gd name="T11" fmla="*/ 396 h 426"/>
                  <a:gd name="T12" fmla="*/ 384 w 555"/>
                  <a:gd name="T13" fmla="*/ 328 h 426"/>
                  <a:gd name="T14" fmla="*/ 134 w 555"/>
                  <a:gd name="T15" fmla="*/ 323 h 426"/>
                  <a:gd name="T16" fmla="*/ 142 w 555"/>
                  <a:gd name="T17" fmla="*/ 336 h 426"/>
                  <a:gd name="T18" fmla="*/ 119 w 555"/>
                  <a:gd name="T19" fmla="*/ 342 h 426"/>
                  <a:gd name="T20" fmla="*/ 109 w 555"/>
                  <a:gd name="T21" fmla="*/ 336 h 426"/>
                  <a:gd name="T22" fmla="*/ 109 w 555"/>
                  <a:gd name="T23" fmla="*/ 328 h 426"/>
                  <a:gd name="T24" fmla="*/ 119 w 555"/>
                  <a:gd name="T25" fmla="*/ 319 h 426"/>
                  <a:gd name="T26" fmla="*/ 128 w 555"/>
                  <a:gd name="T27" fmla="*/ 319 h 426"/>
                  <a:gd name="T28" fmla="*/ 338 w 555"/>
                  <a:gd name="T29" fmla="*/ 23 h 426"/>
                  <a:gd name="T30" fmla="*/ 372 w 555"/>
                  <a:gd name="T31" fmla="*/ 54 h 426"/>
                  <a:gd name="T32" fmla="*/ 382 w 555"/>
                  <a:gd name="T33" fmla="*/ 121 h 426"/>
                  <a:gd name="T34" fmla="*/ 422 w 555"/>
                  <a:gd name="T35" fmla="*/ 159 h 426"/>
                  <a:gd name="T36" fmla="*/ 441 w 555"/>
                  <a:gd name="T37" fmla="*/ 221 h 426"/>
                  <a:gd name="T38" fmla="*/ 512 w 555"/>
                  <a:gd name="T39" fmla="*/ 242 h 426"/>
                  <a:gd name="T40" fmla="*/ 547 w 555"/>
                  <a:gd name="T41" fmla="*/ 332 h 426"/>
                  <a:gd name="T42" fmla="*/ 487 w 555"/>
                  <a:gd name="T43" fmla="*/ 298 h 426"/>
                  <a:gd name="T44" fmla="*/ 455 w 555"/>
                  <a:gd name="T45" fmla="*/ 321 h 426"/>
                  <a:gd name="T46" fmla="*/ 259 w 555"/>
                  <a:gd name="T47" fmla="*/ 338 h 426"/>
                  <a:gd name="T48" fmla="*/ 190 w 555"/>
                  <a:gd name="T49" fmla="*/ 327 h 426"/>
                  <a:gd name="T50" fmla="*/ 194 w 555"/>
                  <a:gd name="T51" fmla="*/ 332 h 426"/>
                  <a:gd name="T52" fmla="*/ 176 w 555"/>
                  <a:gd name="T53" fmla="*/ 330 h 426"/>
                  <a:gd name="T54" fmla="*/ 178 w 555"/>
                  <a:gd name="T55" fmla="*/ 319 h 426"/>
                  <a:gd name="T56" fmla="*/ 171 w 555"/>
                  <a:gd name="T57" fmla="*/ 328 h 426"/>
                  <a:gd name="T58" fmla="*/ 115 w 555"/>
                  <a:gd name="T59" fmla="*/ 302 h 426"/>
                  <a:gd name="T60" fmla="*/ 105 w 555"/>
                  <a:gd name="T61" fmla="*/ 317 h 426"/>
                  <a:gd name="T62" fmla="*/ 94 w 555"/>
                  <a:gd name="T63" fmla="*/ 315 h 426"/>
                  <a:gd name="T64" fmla="*/ 79 w 555"/>
                  <a:gd name="T65" fmla="*/ 315 h 426"/>
                  <a:gd name="T66" fmla="*/ 65 w 555"/>
                  <a:gd name="T67" fmla="*/ 315 h 426"/>
                  <a:gd name="T68" fmla="*/ 54 w 555"/>
                  <a:gd name="T69" fmla="*/ 346 h 426"/>
                  <a:gd name="T70" fmla="*/ 0 w 555"/>
                  <a:gd name="T71" fmla="*/ 292 h 426"/>
                  <a:gd name="T72" fmla="*/ 13 w 555"/>
                  <a:gd name="T73" fmla="*/ 263 h 426"/>
                  <a:gd name="T74" fmla="*/ 17 w 555"/>
                  <a:gd name="T75" fmla="*/ 219 h 426"/>
                  <a:gd name="T76" fmla="*/ 29 w 555"/>
                  <a:gd name="T77" fmla="*/ 171 h 426"/>
                  <a:gd name="T78" fmla="*/ 21 w 555"/>
                  <a:gd name="T79" fmla="*/ 146 h 426"/>
                  <a:gd name="T80" fmla="*/ 11 w 555"/>
                  <a:gd name="T81" fmla="*/ 111 h 426"/>
                  <a:gd name="T82" fmla="*/ 32 w 555"/>
                  <a:gd name="T83" fmla="*/ 81 h 426"/>
                  <a:gd name="T84" fmla="*/ 75 w 555"/>
                  <a:gd name="T85" fmla="*/ 40 h 426"/>
                  <a:gd name="T86" fmla="*/ 102 w 555"/>
                  <a:gd name="T87" fmla="*/ 21 h 426"/>
                  <a:gd name="T88" fmla="*/ 163 w 555"/>
                  <a:gd name="T89" fmla="*/ 25 h 426"/>
                  <a:gd name="T90" fmla="*/ 182 w 555"/>
                  <a:gd name="T91" fmla="*/ 0 h 426"/>
                  <a:gd name="T92" fmla="*/ 217 w 555"/>
                  <a:gd name="T93" fmla="*/ 6 h 426"/>
                  <a:gd name="T94" fmla="*/ 251 w 555"/>
                  <a:gd name="T95" fmla="*/ 21 h 426"/>
                  <a:gd name="T96" fmla="*/ 307 w 555"/>
                  <a:gd name="T97" fmla="*/ 19 h 426"/>
                  <a:gd name="T98" fmla="*/ 338 w 555"/>
                  <a:gd name="T99" fmla="*/ 23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55" h="426">
                    <a:moveTo>
                      <a:pt x="453" y="394"/>
                    </a:moveTo>
                    <a:lnTo>
                      <a:pt x="386" y="426"/>
                    </a:lnTo>
                    <a:lnTo>
                      <a:pt x="332" y="407"/>
                    </a:lnTo>
                    <a:lnTo>
                      <a:pt x="334" y="407"/>
                    </a:lnTo>
                    <a:lnTo>
                      <a:pt x="338" y="405"/>
                    </a:lnTo>
                    <a:lnTo>
                      <a:pt x="340" y="403"/>
                    </a:lnTo>
                    <a:lnTo>
                      <a:pt x="338" y="401"/>
                    </a:lnTo>
                    <a:lnTo>
                      <a:pt x="340" y="400"/>
                    </a:lnTo>
                    <a:lnTo>
                      <a:pt x="332" y="398"/>
                    </a:lnTo>
                    <a:lnTo>
                      <a:pt x="330" y="398"/>
                    </a:lnTo>
                    <a:lnTo>
                      <a:pt x="330" y="403"/>
                    </a:lnTo>
                    <a:lnTo>
                      <a:pt x="326" y="401"/>
                    </a:lnTo>
                    <a:lnTo>
                      <a:pt x="326" y="405"/>
                    </a:lnTo>
                    <a:lnTo>
                      <a:pt x="324" y="405"/>
                    </a:lnTo>
                    <a:lnTo>
                      <a:pt x="319" y="405"/>
                    </a:lnTo>
                    <a:lnTo>
                      <a:pt x="317" y="405"/>
                    </a:lnTo>
                    <a:lnTo>
                      <a:pt x="317" y="407"/>
                    </a:lnTo>
                    <a:lnTo>
                      <a:pt x="313" y="407"/>
                    </a:lnTo>
                    <a:lnTo>
                      <a:pt x="311" y="407"/>
                    </a:lnTo>
                    <a:lnTo>
                      <a:pt x="311" y="405"/>
                    </a:lnTo>
                    <a:lnTo>
                      <a:pt x="305" y="403"/>
                    </a:lnTo>
                    <a:lnTo>
                      <a:pt x="305" y="401"/>
                    </a:lnTo>
                    <a:lnTo>
                      <a:pt x="297" y="398"/>
                    </a:lnTo>
                    <a:lnTo>
                      <a:pt x="280" y="396"/>
                    </a:lnTo>
                    <a:lnTo>
                      <a:pt x="263" y="382"/>
                    </a:lnTo>
                    <a:lnTo>
                      <a:pt x="255" y="367"/>
                    </a:lnTo>
                    <a:lnTo>
                      <a:pt x="319" y="330"/>
                    </a:lnTo>
                    <a:lnTo>
                      <a:pt x="384" y="328"/>
                    </a:lnTo>
                    <a:lnTo>
                      <a:pt x="453" y="394"/>
                    </a:lnTo>
                    <a:close/>
                    <a:moveTo>
                      <a:pt x="130" y="325"/>
                    </a:moveTo>
                    <a:lnTo>
                      <a:pt x="132" y="325"/>
                    </a:lnTo>
                    <a:lnTo>
                      <a:pt x="134" y="323"/>
                    </a:lnTo>
                    <a:lnTo>
                      <a:pt x="138" y="328"/>
                    </a:lnTo>
                    <a:lnTo>
                      <a:pt x="138" y="330"/>
                    </a:lnTo>
                    <a:lnTo>
                      <a:pt x="138" y="332"/>
                    </a:lnTo>
                    <a:lnTo>
                      <a:pt x="142" y="336"/>
                    </a:lnTo>
                    <a:lnTo>
                      <a:pt x="140" y="338"/>
                    </a:lnTo>
                    <a:lnTo>
                      <a:pt x="128" y="340"/>
                    </a:lnTo>
                    <a:lnTo>
                      <a:pt x="121" y="340"/>
                    </a:lnTo>
                    <a:lnTo>
                      <a:pt x="119" y="342"/>
                    </a:lnTo>
                    <a:lnTo>
                      <a:pt x="117" y="342"/>
                    </a:lnTo>
                    <a:lnTo>
                      <a:pt x="117" y="338"/>
                    </a:lnTo>
                    <a:lnTo>
                      <a:pt x="113" y="338"/>
                    </a:lnTo>
                    <a:lnTo>
                      <a:pt x="109" y="336"/>
                    </a:lnTo>
                    <a:lnTo>
                      <a:pt x="107" y="334"/>
                    </a:lnTo>
                    <a:lnTo>
                      <a:pt x="107" y="332"/>
                    </a:lnTo>
                    <a:lnTo>
                      <a:pt x="107" y="330"/>
                    </a:lnTo>
                    <a:lnTo>
                      <a:pt x="109" y="328"/>
                    </a:lnTo>
                    <a:lnTo>
                      <a:pt x="113" y="327"/>
                    </a:lnTo>
                    <a:lnTo>
                      <a:pt x="115" y="327"/>
                    </a:lnTo>
                    <a:lnTo>
                      <a:pt x="117" y="323"/>
                    </a:lnTo>
                    <a:lnTo>
                      <a:pt x="119" y="319"/>
                    </a:lnTo>
                    <a:lnTo>
                      <a:pt x="121" y="317"/>
                    </a:lnTo>
                    <a:lnTo>
                      <a:pt x="125" y="317"/>
                    </a:lnTo>
                    <a:lnTo>
                      <a:pt x="127" y="317"/>
                    </a:lnTo>
                    <a:lnTo>
                      <a:pt x="128" y="319"/>
                    </a:lnTo>
                    <a:lnTo>
                      <a:pt x="130" y="321"/>
                    </a:lnTo>
                    <a:lnTo>
                      <a:pt x="130" y="323"/>
                    </a:lnTo>
                    <a:lnTo>
                      <a:pt x="130" y="325"/>
                    </a:lnTo>
                    <a:close/>
                    <a:moveTo>
                      <a:pt x="338" y="23"/>
                    </a:moveTo>
                    <a:lnTo>
                      <a:pt x="355" y="21"/>
                    </a:lnTo>
                    <a:lnTo>
                      <a:pt x="357" y="21"/>
                    </a:lnTo>
                    <a:lnTo>
                      <a:pt x="365" y="40"/>
                    </a:lnTo>
                    <a:lnTo>
                      <a:pt x="372" y="54"/>
                    </a:lnTo>
                    <a:lnTo>
                      <a:pt x="374" y="73"/>
                    </a:lnTo>
                    <a:lnTo>
                      <a:pt x="370" y="90"/>
                    </a:lnTo>
                    <a:lnTo>
                      <a:pt x="374" y="104"/>
                    </a:lnTo>
                    <a:lnTo>
                      <a:pt x="382" y="121"/>
                    </a:lnTo>
                    <a:lnTo>
                      <a:pt x="407" y="136"/>
                    </a:lnTo>
                    <a:lnTo>
                      <a:pt x="415" y="142"/>
                    </a:lnTo>
                    <a:lnTo>
                      <a:pt x="420" y="156"/>
                    </a:lnTo>
                    <a:lnTo>
                      <a:pt x="422" y="159"/>
                    </a:lnTo>
                    <a:lnTo>
                      <a:pt x="430" y="177"/>
                    </a:lnTo>
                    <a:lnTo>
                      <a:pt x="436" y="204"/>
                    </a:lnTo>
                    <a:lnTo>
                      <a:pt x="441" y="219"/>
                    </a:lnTo>
                    <a:lnTo>
                      <a:pt x="441" y="221"/>
                    </a:lnTo>
                    <a:lnTo>
                      <a:pt x="447" y="234"/>
                    </a:lnTo>
                    <a:lnTo>
                      <a:pt x="463" y="234"/>
                    </a:lnTo>
                    <a:lnTo>
                      <a:pt x="487" y="232"/>
                    </a:lnTo>
                    <a:lnTo>
                      <a:pt x="512" y="242"/>
                    </a:lnTo>
                    <a:lnTo>
                      <a:pt x="534" y="254"/>
                    </a:lnTo>
                    <a:lnTo>
                      <a:pt x="551" y="267"/>
                    </a:lnTo>
                    <a:lnTo>
                      <a:pt x="551" y="332"/>
                    </a:lnTo>
                    <a:lnTo>
                      <a:pt x="547" y="332"/>
                    </a:lnTo>
                    <a:lnTo>
                      <a:pt x="541" y="338"/>
                    </a:lnTo>
                    <a:lnTo>
                      <a:pt x="555" y="353"/>
                    </a:lnTo>
                    <a:lnTo>
                      <a:pt x="545" y="363"/>
                    </a:lnTo>
                    <a:lnTo>
                      <a:pt x="487" y="298"/>
                    </a:lnTo>
                    <a:lnTo>
                      <a:pt x="472" y="309"/>
                    </a:lnTo>
                    <a:lnTo>
                      <a:pt x="499" y="344"/>
                    </a:lnTo>
                    <a:lnTo>
                      <a:pt x="489" y="353"/>
                    </a:lnTo>
                    <a:lnTo>
                      <a:pt x="455" y="321"/>
                    </a:lnTo>
                    <a:lnTo>
                      <a:pt x="418" y="286"/>
                    </a:lnTo>
                    <a:lnTo>
                      <a:pt x="342" y="290"/>
                    </a:lnTo>
                    <a:lnTo>
                      <a:pt x="301" y="313"/>
                    </a:lnTo>
                    <a:lnTo>
                      <a:pt x="259" y="338"/>
                    </a:lnTo>
                    <a:lnTo>
                      <a:pt x="207" y="336"/>
                    </a:lnTo>
                    <a:lnTo>
                      <a:pt x="207" y="328"/>
                    </a:lnTo>
                    <a:lnTo>
                      <a:pt x="192" y="327"/>
                    </a:lnTo>
                    <a:lnTo>
                      <a:pt x="190" y="327"/>
                    </a:lnTo>
                    <a:lnTo>
                      <a:pt x="188" y="327"/>
                    </a:lnTo>
                    <a:lnTo>
                      <a:pt x="186" y="327"/>
                    </a:lnTo>
                    <a:lnTo>
                      <a:pt x="184" y="330"/>
                    </a:lnTo>
                    <a:lnTo>
                      <a:pt x="194" y="332"/>
                    </a:lnTo>
                    <a:lnTo>
                      <a:pt x="194" y="334"/>
                    </a:lnTo>
                    <a:lnTo>
                      <a:pt x="184" y="332"/>
                    </a:lnTo>
                    <a:lnTo>
                      <a:pt x="182" y="330"/>
                    </a:lnTo>
                    <a:lnTo>
                      <a:pt x="176" y="330"/>
                    </a:lnTo>
                    <a:lnTo>
                      <a:pt x="176" y="327"/>
                    </a:lnTo>
                    <a:lnTo>
                      <a:pt x="176" y="325"/>
                    </a:lnTo>
                    <a:lnTo>
                      <a:pt x="176" y="323"/>
                    </a:lnTo>
                    <a:lnTo>
                      <a:pt x="178" y="319"/>
                    </a:lnTo>
                    <a:lnTo>
                      <a:pt x="186" y="302"/>
                    </a:lnTo>
                    <a:lnTo>
                      <a:pt x="186" y="300"/>
                    </a:lnTo>
                    <a:lnTo>
                      <a:pt x="184" y="300"/>
                    </a:lnTo>
                    <a:lnTo>
                      <a:pt x="171" y="328"/>
                    </a:lnTo>
                    <a:lnTo>
                      <a:pt x="167" y="328"/>
                    </a:lnTo>
                    <a:lnTo>
                      <a:pt x="163" y="328"/>
                    </a:lnTo>
                    <a:lnTo>
                      <a:pt x="134" y="302"/>
                    </a:lnTo>
                    <a:lnTo>
                      <a:pt x="115" y="302"/>
                    </a:lnTo>
                    <a:lnTo>
                      <a:pt x="105" y="317"/>
                    </a:lnTo>
                    <a:lnTo>
                      <a:pt x="105" y="321"/>
                    </a:lnTo>
                    <a:lnTo>
                      <a:pt x="103" y="319"/>
                    </a:lnTo>
                    <a:lnTo>
                      <a:pt x="105" y="317"/>
                    </a:lnTo>
                    <a:lnTo>
                      <a:pt x="105" y="315"/>
                    </a:lnTo>
                    <a:lnTo>
                      <a:pt x="103" y="313"/>
                    </a:lnTo>
                    <a:lnTo>
                      <a:pt x="102" y="315"/>
                    </a:lnTo>
                    <a:lnTo>
                      <a:pt x="94" y="315"/>
                    </a:lnTo>
                    <a:lnTo>
                      <a:pt x="94" y="317"/>
                    </a:lnTo>
                    <a:lnTo>
                      <a:pt x="86" y="317"/>
                    </a:lnTo>
                    <a:lnTo>
                      <a:pt x="82" y="315"/>
                    </a:lnTo>
                    <a:lnTo>
                      <a:pt x="79" y="315"/>
                    </a:lnTo>
                    <a:lnTo>
                      <a:pt x="77" y="315"/>
                    </a:lnTo>
                    <a:lnTo>
                      <a:pt x="73" y="311"/>
                    </a:lnTo>
                    <a:lnTo>
                      <a:pt x="71" y="311"/>
                    </a:lnTo>
                    <a:lnTo>
                      <a:pt x="65" y="315"/>
                    </a:lnTo>
                    <a:lnTo>
                      <a:pt x="67" y="319"/>
                    </a:lnTo>
                    <a:lnTo>
                      <a:pt x="54" y="330"/>
                    </a:lnTo>
                    <a:lnTo>
                      <a:pt x="55" y="340"/>
                    </a:lnTo>
                    <a:lnTo>
                      <a:pt x="54" y="346"/>
                    </a:lnTo>
                    <a:lnTo>
                      <a:pt x="7" y="305"/>
                    </a:lnTo>
                    <a:lnTo>
                      <a:pt x="9" y="302"/>
                    </a:lnTo>
                    <a:lnTo>
                      <a:pt x="0" y="294"/>
                    </a:lnTo>
                    <a:lnTo>
                      <a:pt x="0" y="292"/>
                    </a:lnTo>
                    <a:lnTo>
                      <a:pt x="7" y="284"/>
                    </a:lnTo>
                    <a:lnTo>
                      <a:pt x="13" y="277"/>
                    </a:lnTo>
                    <a:lnTo>
                      <a:pt x="13" y="269"/>
                    </a:lnTo>
                    <a:lnTo>
                      <a:pt x="13" y="263"/>
                    </a:lnTo>
                    <a:lnTo>
                      <a:pt x="13" y="248"/>
                    </a:lnTo>
                    <a:lnTo>
                      <a:pt x="15" y="236"/>
                    </a:lnTo>
                    <a:lnTo>
                      <a:pt x="19" y="231"/>
                    </a:lnTo>
                    <a:lnTo>
                      <a:pt x="17" y="219"/>
                    </a:lnTo>
                    <a:lnTo>
                      <a:pt x="17" y="209"/>
                    </a:lnTo>
                    <a:lnTo>
                      <a:pt x="17" y="206"/>
                    </a:lnTo>
                    <a:lnTo>
                      <a:pt x="21" y="190"/>
                    </a:lnTo>
                    <a:lnTo>
                      <a:pt x="29" y="171"/>
                    </a:lnTo>
                    <a:lnTo>
                      <a:pt x="31" y="167"/>
                    </a:lnTo>
                    <a:lnTo>
                      <a:pt x="29" y="165"/>
                    </a:lnTo>
                    <a:lnTo>
                      <a:pt x="27" y="156"/>
                    </a:lnTo>
                    <a:lnTo>
                      <a:pt x="21" y="146"/>
                    </a:lnTo>
                    <a:lnTo>
                      <a:pt x="17" y="140"/>
                    </a:lnTo>
                    <a:lnTo>
                      <a:pt x="11" y="127"/>
                    </a:lnTo>
                    <a:lnTo>
                      <a:pt x="7" y="121"/>
                    </a:lnTo>
                    <a:lnTo>
                      <a:pt x="11" y="111"/>
                    </a:lnTo>
                    <a:lnTo>
                      <a:pt x="23" y="94"/>
                    </a:lnTo>
                    <a:lnTo>
                      <a:pt x="27" y="86"/>
                    </a:lnTo>
                    <a:lnTo>
                      <a:pt x="29" y="83"/>
                    </a:lnTo>
                    <a:lnTo>
                      <a:pt x="32" y="81"/>
                    </a:lnTo>
                    <a:lnTo>
                      <a:pt x="44" y="73"/>
                    </a:lnTo>
                    <a:lnTo>
                      <a:pt x="50" y="69"/>
                    </a:lnTo>
                    <a:lnTo>
                      <a:pt x="59" y="60"/>
                    </a:lnTo>
                    <a:lnTo>
                      <a:pt x="75" y="40"/>
                    </a:lnTo>
                    <a:lnTo>
                      <a:pt x="86" y="27"/>
                    </a:lnTo>
                    <a:lnTo>
                      <a:pt x="90" y="23"/>
                    </a:lnTo>
                    <a:lnTo>
                      <a:pt x="94" y="21"/>
                    </a:lnTo>
                    <a:lnTo>
                      <a:pt x="102" y="21"/>
                    </a:lnTo>
                    <a:lnTo>
                      <a:pt x="125" y="23"/>
                    </a:lnTo>
                    <a:lnTo>
                      <a:pt x="148" y="27"/>
                    </a:lnTo>
                    <a:lnTo>
                      <a:pt x="163" y="29"/>
                    </a:lnTo>
                    <a:lnTo>
                      <a:pt x="163" y="25"/>
                    </a:lnTo>
                    <a:lnTo>
                      <a:pt x="167" y="12"/>
                    </a:lnTo>
                    <a:lnTo>
                      <a:pt x="169" y="4"/>
                    </a:lnTo>
                    <a:lnTo>
                      <a:pt x="169" y="0"/>
                    </a:lnTo>
                    <a:lnTo>
                      <a:pt x="182" y="0"/>
                    </a:lnTo>
                    <a:lnTo>
                      <a:pt x="190" y="4"/>
                    </a:lnTo>
                    <a:lnTo>
                      <a:pt x="192" y="6"/>
                    </a:lnTo>
                    <a:lnTo>
                      <a:pt x="201" y="6"/>
                    </a:lnTo>
                    <a:lnTo>
                      <a:pt x="217" y="6"/>
                    </a:lnTo>
                    <a:lnTo>
                      <a:pt x="219" y="6"/>
                    </a:lnTo>
                    <a:lnTo>
                      <a:pt x="224" y="6"/>
                    </a:lnTo>
                    <a:lnTo>
                      <a:pt x="247" y="19"/>
                    </a:lnTo>
                    <a:lnTo>
                      <a:pt x="251" y="21"/>
                    </a:lnTo>
                    <a:lnTo>
                      <a:pt x="263" y="27"/>
                    </a:lnTo>
                    <a:lnTo>
                      <a:pt x="274" y="21"/>
                    </a:lnTo>
                    <a:lnTo>
                      <a:pt x="292" y="17"/>
                    </a:lnTo>
                    <a:lnTo>
                      <a:pt x="307" y="19"/>
                    </a:lnTo>
                    <a:lnTo>
                      <a:pt x="315" y="19"/>
                    </a:lnTo>
                    <a:lnTo>
                      <a:pt x="317" y="21"/>
                    </a:lnTo>
                    <a:lnTo>
                      <a:pt x="330" y="23"/>
                    </a:lnTo>
                    <a:lnTo>
                      <a:pt x="338" y="2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30" name="Freeform 18">
                <a:extLst>
                  <a:ext uri="{FF2B5EF4-FFF2-40B4-BE49-F238E27FC236}">
                    <a16:creationId xmlns:a16="http://schemas.microsoft.com/office/drawing/2014/main" id="{09C170FA-108D-4130-8836-7AD8206FF568}"/>
                  </a:ext>
                </a:extLst>
              </p:cNvPr>
              <p:cNvSpPr>
                <a:spLocks/>
              </p:cNvSpPr>
              <p:nvPr/>
            </p:nvSpPr>
            <p:spPr bwMode="gray">
              <a:xfrm>
                <a:off x="4731584" y="4174344"/>
                <a:ext cx="162402" cy="161275"/>
              </a:xfrm>
              <a:custGeom>
                <a:avLst/>
                <a:gdLst>
                  <a:gd name="T0" fmla="*/ 82 w 144"/>
                  <a:gd name="T1" fmla="*/ 143 h 143"/>
                  <a:gd name="T2" fmla="*/ 61 w 144"/>
                  <a:gd name="T3" fmla="*/ 129 h 143"/>
                  <a:gd name="T4" fmla="*/ 13 w 144"/>
                  <a:gd name="T5" fmla="*/ 100 h 143"/>
                  <a:gd name="T6" fmla="*/ 0 w 144"/>
                  <a:gd name="T7" fmla="*/ 85 h 143"/>
                  <a:gd name="T8" fmla="*/ 13 w 144"/>
                  <a:gd name="T9" fmla="*/ 62 h 143"/>
                  <a:gd name="T10" fmla="*/ 28 w 144"/>
                  <a:gd name="T11" fmla="*/ 29 h 143"/>
                  <a:gd name="T12" fmla="*/ 30 w 144"/>
                  <a:gd name="T13" fmla="*/ 0 h 143"/>
                  <a:gd name="T14" fmla="*/ 86 w 144"/>
                  <a:gd name="T15" fmla="*/ 21 h 143"/>
                  <a:gd name="T16" fmla="*/ 99 w 144"/>
                  <a:gd name="T17" fmla="*/ 31 h 143"/>
                  <a:gd name="T18" fmla="*/ 121 w 144"/>
                  <a:gd name="T19" fmla="*/ 45 h 143"/>
                  <a:gd name="T20" fmla="*/ 130 w 144"/>
                  <a:gd name="T21" fmla="*/ 54 h 143"/>
                  <a:gd name="T22" fmla="*/ 136 w 144"/>
                  <a:gd name="T23" fmla="*/ 64 h 143"/>
                  <a:gd name="T24" fmla="*/ 144 w 144"/>
                  <a:gd name="T25" fmla="*/ 79 h 143"/>
                  <a:gd name="T26" fmla="*/ 144 w 144"/>
                  <a:gd name="T27" fmla="*/ 91 h 143"/>
                  <a:gd name="T28" fmla="*/ 136 w 144"/>
                  <a:gd name="T29" fmla="*/ 104 h 143"/>
                  <a:gd name="T30" fmla="*/ 82 w 144"/>
                  <a:gd name="T31"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4" h="143">
                    <a:moveTo>
                      <a:pt x="82" y="143"/>
                    </a:moveTo>
                    <a:lnTo>
                      <a:pt x="61" y="129"/>
                    </a:lnTo>
                    <a:lnTo>
                      <a:pt x="13" y="100"/>
                    </a:lnTo>
                    <a:lnTo>
                      <a:pt x="0" y="85"/>
                    </a:lnTo>
                    <a:lnTo>
                      <a:pt x="13" y="62"/>
                    </a:lnTo>
                    <a:lnTo>
                      <a:pt x="28" y="29"/>
                    </a:lnTo>
                    <a:lnTo>
                      <a:pt x="30" y="0"/>
                    </a:lnTo>
                    <a:lnTo>
                      <a:pt x="86" y="21"/>
                    </a:lnTo>
                    <a:lnTo>
                      <a:pt x="99" y="31"/>
                    </a:lnTo>
                    <a:lnTo>
                      <a:pt x="121" y="45"/>
                    </a:lnTo>
                    <a:lnTo>
                      <a:pt x="130" y="54"/>
                    </a:lnTo>
                    <a:lnTo>
                      <a:pt x="136" y="64"/>
                    </a:lnTo>
                    <a:lnTo>
                      <a:pt x="144" y="79"/>
                    </a:lnTo>
                    <a:lnTo>
                      <a:pt x="144" y="91"/>
                    </a:lnTo>
                    <a:lnTo>
                      <a:pt x="136" y="104"/>
                    </a:lnTo>
                    <a:lnTo>
                      <a:pt x="82" y="14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31" name="Freeform 19">
                <a:extLst>
                  <a:ext uri="{FF2B5EF4-FFF2-40B4-BE49-F238E27FC236}">
                    <a16:creationId xmlns:a16="http://schemas.microsoft.com/office/drawing/2014/main" id="{B09B6AB8-E31B-49F7-9815-E9B699E366F9}"/>
                  </a:ext>
                </a:extLst>
              </p:cNvPr>
              <p:cNvSpPr>
                <a:spLocks/>
              </p:cNvSpPr>
              <p:nvPr/>
            </p:nvSpPr>
            <p:spPr bwMode="gray">
              <a:xfrm>
                <a:off x="4824063" y="4060437"/>
                <a:ext cx="171425" cy="196236"/>
              </a:xfrm>
              <a:custGeom>
                <a:avLst/>
                <a:gdLst>
                  <a:gd name="T0" fmla="*/ 152 w 152"/>
                  <a:gd name="T1" fmla="*/ 122 h 174"/>
                  <a:gd name="T2" fmla="*/ 140 w 152"/>
                  <a:gd name="T3" fmla="*/ 132 h 174"/>
                  <a:gd name="T4" fmla="*/ 98 w 152"/>
                  <a:gd name="T5" fmla="*/ 161 h 174"/>
                  <a:gd name="T6" fmla="*/ 96 w 152"/>
                  <a:gd name="T7" fmla="*/ 159 h 174"/>
                  <a:gd name="T8" fmla="*/ 75 w 152"/>
                  <a:gd name="T9" fmla="*/ 174 h 174"/>
                  <a:gd name="T10" fmla="*/ 71 w 152"/>
                  <a:gd name="T11" fmla="*/ 165 h 174"/>
                  <a:gd name="T12" fmla="*/ 87 w 152"/>
                  <a:gd name="T13" fmla="*/ 151 h 174"/>
                  <a:gd name="T14" fmla="*/ 79 w 152"/>
                  <a:gd name="T15" fmla="*/ 146 h 174"/>
                  <a:gd name="T16" fmla="*/ 71 w 152"/>
                  <a:gd name="T17" fmla="*/ 138 h 174"/>
                  <a:gd name="T18" fmla="*/ 62 w 152"/>
                  <a:gd name="T19" fmla="*/ 128 h 174"/>
                  <a:gd name="T20" fmla="*/ 37 w 152"/>
                  <a:gd name="T21" fmla="*/ 99 h 174"/>
                  <a:gd name="T22" fmla="*/ 23 w 152"/>
                  <a:gd name="T23" fmla="*/ 74 h 174"/>
                  <a:gd name="T24" fmla="*/ 2 w 152"/>
                  <a:gd name="T25" fmla="*/ 26 h 174"/>
                  <a:gd name="T26" fmla="*/ 0 w 152"/>
                  <a:gd name="T27" fmla="*/ 15 h 174"/>
                  <a:gd name="T28" fmla="*/ 52 w 152"/>
                  <a:gd name="T29" fmla="*/ 1 h 174"/>
                  <a:gd name="T30" fmla="*/ 73 w 152"/>
                  <a:gd name="T31" fmla="*/ 1 h 174"/>
                  <a:gd name="T32" fmla="*/ 121 w 152"/>
                  <a:gd name="T33" fmla="*/ 0 h 174"/>
                  <a:gd name="T34" fmla="*/ 102 w 152"/>
                  <a:gd name="T35" fmla="*/ 25 h 174"/>
                  <a:gd name="T36" fmla="*/ 98 w 152"/>
                  <a:gd name="T37" fmla="*/ 44 h 174"/>
                  <a:gd name="T38" fmla="*/ 100 w 152"/>
                  <a:gd name="T39" fmla="*/ 55 h 174"/>
                  <a:gd name="T40" fmla="*/ 152 w 152"/>
                  <a:gd name="T41" fmla="*/ 122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2" h="174">
                    <a:moveTo>
                      <a:pt x="152" y="122"/>
                    </a:moveTo>
                    <a:lnTo>
                      <a:pt x="140" y="132"/>
                    </a:lnTo>
                    <a:lnTo>
                      <a:pt x="98" y="161"/>
                    </a:lnTo>
                    <a:lnTo>
                      <a:pt x="96" y="159"/>
                    </a:lnTo>
                    <a:lnTo>
                      <a:pt x="75" y="174"/>
                    </a:lnTo>
                    <a:lnTo>
                      <a:pt x="71" y="165"/>
                    </a:lnTo>
                    <a:lnTo>
                      <a:pt x="87" y="151"/>
                    </a:lnTo>
                    <a:lnTo>
                      <a:pt x="79" y="146"/>
                    </a:lnTo>
                    <a:lnTo>
                      <a:pt x="71" y="138"/>
                    </a:lnTo>
                    <a:lnTo>
                      <a:pt x="62" y="128"/>
                    </a:lnTo>
                    <a:lnTo>
                      <a:pt x="37" y="99"/>
                    </a:lnTo>
                    <a:lnTo>
                      <a:pt x="23" y="74"/>
                    </a:lnTo>
                    <a:lnTo>
                      <a:pt x="2" y="26"/>
                    </a:lnTo>
                    <a:lnTo>
                      <a:pt x="0" y="15"/>
                    </a:lnTo>
                    <a:lnTo>
                      <a:pt x="52" y="1"/>
                    </a:lnTo>
                    <a:lnTo>
                      <a:pt x="73" y="1"/>
                    </a:lnTo>
                    <a:lnTo>
                      <a:pt x="121" y="0"/>
                    </a:lnTo>
                    <a:lnTo>
                      <a:pt x="102" y="25"/>
                    </a:lnTo>
                    <a:lnTo>
                      <a:pt x="98" y="44"/>
                    </a:lnTo>
                    <a:lnTo>
                      <a:pt x="100" y="55"/>
                    </a:lnTo>
                    <a:lnTo>
                      <a:pt x="152" y="12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32" name="Freeform 20">
                <a:extLst>
                  <a:ext uri="{FF2B5EF4-FFF2-40B4-BE49-F238E27FC236}">
                    <a16:creationId xmlns:a16="http://schemas.microsoft.com/office/drawing/2014/main" id="{752C4B2A-676E-411A-87CE-61619AE1338C}"/>
                  </a:ext>
                </a:extLst>
              </p:cNvPr>
              <p:cNvSpPr>
                <a:spLocks/>
              </p:cNvSpPr>
              <p:nvPr/>
            </p:nvSpPr>
            <p:spPr bwMode="gray">
              <a:xfrm>
                <a:off x="4520686" y="3957808"/>
                <a:ext cx="288715" cy="418412"/>
              </a:xfrm>
              <a:custGeom>
                <a:avLst/>
                <a:gdLst>
                  <a:gd name="T0" fmla="*/ 200 w 256"/>
                  <a:gd name="T1" fmla="*/ 254 h 371"/>
                  <a:gd name="T2" fmla="*/ 152 w 256"/>
                  <a:gd name="T3" fmla="*/ 340 h 371"/>
                  <a:gd name="T4" fmla="*/ 110 w 256"/>
                  <a:gd name="T5" fmla="*/ 331 h 371"/>
                  <a:gd name="T6" fmla="*/ 71 w 256"/>
                  <a:gd name="T7" fmla="*/ 346 h 371"/>
                  <a:gd name="T8" fmla="*/ 6 w 256"/>
                  <a:gd name="T9" fmla="*/ 338 h 371"/>
                  <a:gd name="T10" fmla="*/ 2 w 256"/>
                  <a:gd name="T11" fmla="*/ 313 h 371"/>
                  <a:gd name="T12" fmla="*/ 20 w 256"/>
                  <a:gd name="T13" fmla="*/ 308 h 371"/>
                  <a:gd name="T14" fmla="*/ 33 w 256"/>
                  <a:gd name="T15" fmla="*/ 306 h 371"/>
                  <a:gd name="T16" fmla="*/ 41 w 256"/>
                  <a:gd name="T17" fmla="*/ 267 h 371"/>
                  <a:gd name="T18" fmla="*/ 35 w 256"/>
                  <a:gd name="T19" fmla="*/ 260 h 371"/>
                  <a:gd name="T20" fmla="*/ 37 w 256"/>
                  <a:gd name="T21" fmla="*/ 244 h 371"/>
                  <a:gd name="T22" fmla="*/ 43 w 256"/>
                  <a:gd name="T23" fmla="*/ 252 h 371"/>
                  <a:gd name="T24" fmla="*/ 54 w 256"/>
                  <a:gd name="T25" fmla="*/ 258 h 371"/>
                  <a:gd name="T26" fmla="*/ 81 w 256"/>
                  <a:gd name="T27" fmla="*/ 248 h 371"/>
                  <a:gd name="T28" fmla="*/ 77 w 256"/>
                  <a:gd name="T29" fmla="*/ 235 h 371"/>
                  <a:gd name="T30" fmla="*/ 85 w 256"/>
                  <a:gd name="T31" fmla="*/ 213 h 371"/>
                  <a:gd name="T32" fmla="*/ 70 w 256"/>
                  <a:gd name="T33" fmla="*/ 189 h 371"/>
                  <a:gd name="T34" fmla="*/ 102 w 256"/>
                  <a:gd name="T35" fmla="*/ 192 h 371"/>
                  <a:gd name="T36" fmla="*/ 73 w 256"/>
                  <a:gd name="T37" fmla="*/ 150 h 371"/>
                  <a:gd name="T38" fmla="*/ 98 w 256"/>
                  <a:gd name="T39" fmla="*/ 102 h 371"/>
                  <a:gd name="T40" fmla="*/ 119 w 256"/>
                  <a:gd name="T41" fmla="*/ 79 h 371"/>
                  <a:gd name="T42" fmla="*/ 133 w 256"/>
                  <a:gd name="T43" fmla="*/ 10 h 371"/>
                  <a:gd name="T44" fmla="*/ 139 w 256"/>
                  <a:gd name="T45" fmla="*/ 2 h 371"/>
                  <a:gd name="T46" fmla="*/ 167 w 256"/>
                  <a:gd name="T47" fmla="*/ 21 h 371"/>
                  <a:gd name="T48" fmla="*/ 194 w 256"/>
                  <a:gd name="T49" fmla="*/ 46 h 371"/>
                  <a:gd name="T50" fmla="*/ 212 w 256"/>
                  <a:gd name="T51" fmla="*/ 66 h 371"/>
                  <a:gd name="T52" fmla="*/ 225 w 256"/>
                  <a:gd name="T53" fmla="*/ 104 h 371"/>
                  <a:gd name="T54" fmla="*/ 256 w 256"/>
                  <a:gd name="T55" fmla="*/ 158 h 371"/>
                  <a:gd name="T56" fmla="*/ 219 w 256"/>
                  <a:gd name="T57" fmla="*/ 167 h 371"/>
                  <a:gd name="T58" fmla="*/ 194 w 256"/>
                  <a:gd name="T59" fmla="*/ 175 h 371"/>
                  <a:gd name="T60" fmla="*/ 179 w 256"/>
                  <a:gd name="T61" fmla="*/ 165 h 371"/>
                  <a:gd name="T62" fmla="*/ 158 w 256"/>
                  <a:gd name="T63" fmla="*/ 165 h 371"/>
                  <a:gd name="T64" fmla="*/ 150 w 256"/>
                  <a:gd name="T65" fmla="*/ 164 h 371"/>
                  <a:gd name="T66" fmla="*/ 141 w 256"/>
                  <a:gd name="T67" fmla="*/ 164 h 371"/>
                  <a:gd name="T68" fmla="*/ 123 w 256"/>
                  <a:gd name="T69" fmla="*/ 177 h 371"/>
                  <a:gd name="T70" fmla="*/ 142 w 256"/>
                  <a:gd name="T71" fmla="*/ 183 h 371"/>
                  <a:gd name="T72" fmla="*/ 135 w 256"/>
                  <a:gd name="T73" fmla="*/ 233 h 371"/>
                  <a:gd name="T74" fmla="*/ 125 w 256"/>
                  <a:gd name="T75" fmla="*/ 235 h 371"/>
                  <a:gd name="T76" fmla="*/ 133 w 256"/>
                  <a:gd name="T77" fmla="*/ 235 h 371"/>
                  <a:gd name="T78" fmla="*/ 144 w 256"/>
                  <a:gd name="T79" fmla="*/ 242 h 371"/>
                  <a:gd name="T80" fmla="*/ 154 w 256"/>
                  <a:gd name="T81" fmla="*/ 256 h 371"/>
                  <a:gd name="T82" fmla="*/ 158 w 256"/>
                  <a:gd name="T83" fmla="*/ 250 h 371"/>
                  <a:gd name="T84" fmla="*/ 162 w 256"/>
                  <a:gd name="T85" fmla="*/ 248 h 371"/>
                  <a:gd name="T86" fmla="*/ 166 w 256"/>
                  <a:gd name="T87" fmla="*/ 240 h 371"/>
                  <a:gd name="T88" fmla="*/ 166 w 256"/>
                  <a:gd name="T89" fmla="*/ 237 h 371"/>
                  <a:gd name="T90" fmla="*/ 169 w 256"/>
                  <a:gd name="T91" fmla="*/ 233 h 371"/>
                  <a:gd name="T92" fmla="*/ 169 w 256"/>
                  <a:gd name="T93" fmla="*/ 227 h 371"/>
                  <a:gd name="T94" fmla="*/ 167 w 256"/>
                  <a:gd name="T95" fmla="*/ 219 h 371"/>
                  <a:gd name="T96" fmla="*/ 175 w 256"/>
                  <a:gd name="T97" fmla="*/ 217 h 371"/>
                  <a:gd name="T98" fmla="*/ 181 w 256"/>
                  <a:gd name="T99" fmla="*/ 213 h 371"/>
                  <a:gd name="T100" fmla="*/ 185 w 256"/>
                  <a:gd name="T101" fmla="*/ 210 h 371"/>
                  <a:gd name="T102" fmla="*/ 181 w 256"/>
                  <a:gd name="T103" fmla="*/ 198 h 371"/>
                  <a:gd name="T104" fmla="*/ 187 w 256"/>
                  <a:gd name="T105" fmla="*/ 190 h 371"/>
                  <a:gd name="T106" fmla="*/ 192 w 256"/>
                  <a:gd name="T107" fmla="*/ 185 h 371"/>
                  <a:gd name="T108" fmla="*/ 198 w 256"/>
                  <a:gd name="T109" fmla="*/ 185 h 371"/>
                  <a:gd name="T110" fmla="*/ 208 w 256"/>
                  <a:gd name="T111" fmla="*/ 19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71">
                    <a:moveTo>
                      <a:pt x="217" y="192"/>
                    </a:moveTo>
                    <a:lnTo>
                      <a:pt x="215" y="221"/>
                    </a:lnTo>
                    <a:lnTo>
                      <a:pt x="200" y="254"/>
                    </a:lnTo>
                    <a:lnTo>
                      <a:pt x="187" y="277"/>
                    </a:lnTo>
                    <a:lnTo>
                      <a:pt x="152" y="338"/>
                    </a:lnTo>
                    <a:lnTo>
                      <a:pt x="152" y="340"/>
                    </a:lnTo>
                    <a:lnTo>
                      <a:pt x="104" y="319"/>
                    </a:lnTo>
                    <a:lnTo>
                      <a:pt x="100" y="323"/>
                    </a:lnTo>
                    <a:lnTo>
                      <a:pt x="110" y="331"/>
                    </a:lnTo>
                    <a:lnTo>
                      <a:pt x="110" y="371"/>
                    </a:lnTo>
                    <a:lnTo>
                      <a:pt x="93" y="358"/>
                    </a:lnTo>
                    <a:lnTo>
                      <a:pt x="71" y="346"/>
                    </a:lnTo>
                    <a:lnTo>
                      <a:pt x="46" y="336"/>
                    </a:lnTo>
                    <a:lnTo>
                      <a:pt x="22" y="338"/>
                    </a:lnTo>
                    <a:lnTo>
                      <a:pt x="6" y="338"/>
                    </a:lnTo>
                    <a:lnTo>
                      <a:pt x="0" y="325"/>
                    </a:lnTo>
                    <a:lnTo>
                      <a:pt x="0" y="323"/>
                    </a:lnTo>
                    <a:lnTo>
                      <a:pt x="2" y="313"/>
                    </a:lnTo>
                    <a:lnTo>
                      <a:pt x="18" y="317"/>
                    </a:lnTo>
                    <a:lnTo>
                      <a:pt x="20" y="317"/>
                    </a:lnTo>
                    <a:lnTo>
                      <a:pt x="20" y="308"/>
                    </a:lnTo>
                    <a:lnTo>
                      <a:pt x="22" y="306"/>
                    </a:lnTo>
                    <a:lnTo>
                      <a:pt x="27" y="308"/>
                    </a:lnTo>
                    <a:lnTo>
                      <a:pt x="33" y="306"/>
                    </a:lnTo>
                    <a:lnTo>
                      <a:pt x="39" y="275"/>
                    </a:lnTo>
                    <a:lnTo>
                      <a:pt x="41" y="273"/>
                    </a:lnTo>
                    <a:lnTo>
                      <a:pt x="41" y="267"/>
                    </a:lnTo>
                    <a:lnTo>
                      <a:pt x="39" y="265"/>
                    </a:lnTo>
                    <a:lnTo>
                      <a:pt x="35" y="262"/>
                    </a:lnTo>
                    <a:lnTo>
                      <a:pt x="35" y="260"/>
                    </a:lnTo>
                    <a:lnTo>
                      <a:pt x="27" y="252"/>
                    </a:lnTo>
                    <a:lnTo>
                      <a:pt x="33" y="248"/>
                    </a:lnTo>
                    <a:lnTo>
                      <a:pt x="37" y="244"/>
                    </a:lnTo>
                    <a:lnTo>
                      <a:pt x="39" y="246"/>
                    </a:lnTo>
                    <a:lnTo>
                      <a:pt x="41" y="250"/>
                    </a:lnTo>
                    <a:lnTo>
                      <a:pt x="43" y="252"/>
                    </a:lnTo>
                    <a:lnTo>
                      <a:pt x="43" y="256"/>
                    </a:lnTo>
                    <a:lnTo>
                      <a:pt x="48" y="250"/>
                    </a:lnTo>
                    <a:lnTo>
                      <a:pt x="54" y="258"/>
                    </a:lnTo>
                    <a:lnTo>
                      <a:pt x="64" y="262"/>
                    </a:lnTo>
                    <a:lnTo>
                      <a:pt x="71" y="265"/>
                    </a:lnTo>
                    <a:lnTo>
                      <a:pt x="81" y="248"/>
                    </a:lnTo>
                    <a:lnTo>
                      <a:pt x="83" y="250"/>
                    </a:lnTo>
                    <a:lnTo>
                      <a:pt x="87" y="240"/>
                    </a:lnTo>
                    <a:lnTo>
                      <a:pt x="77" y="235"/>
                    </a:lnTo>
                    <a:lnTo>
                      <a:pt x="81" y="229"/>
                    </a:lnTo>
                    <a:lnTo>
                      <a:pt x="91" y="219"/>
                    </a:lnTo>
                    <a:lnTo>
                      <a:pt x="85" y="213"/>
                    </a:lnTo>
                    <a:lnTo>
                      <a:pt x="64" y="202"/>
                    </a:lnTo>
                    <a:lnTo>
                      <a:pt x="62" y="200"/>
                    </a:lnTo>
                    <a:lnTo>
                      <a:pt x="70" y="189"/>
                    </a:lnTo>
                    <a:lnTo>
                      <a:pt x="71" y="190"/>
                    </a:lnTo>
                    <a:lnTo>
                      <a:pt x="89" y="200"/>
                    </a:lnTo>
                    <a:lnTo>
                      <a:pt x="102" y="192"/>
                    </a:lnTo>
                    <a:lnTo>
                      <a:pt x="85" y="160"/>
                    </a:lnTo>
                    <a:lnTo>
                      <a:pt x="73" y="154"/>
                    </a:lnTo>
                    <a:lnTo>
                      <a:pt x="73" y="150"/>
                    </a:lnTo>
                    <a:lnTo>
                      <a:pt x="79" y="142"/>
                    </a:lnTo>
                    <a:lnTo>
                      <a:pt x="87" y="125"/>
                    </a:lnTo>
                    <a:lnTo>
                      <a:pt x="98" y="102"/>
                    </a:lnTo>
                    <a:lnTo>
                      <a:pt x="104" y="96"/>
                    </a:lnTo>
                    <a:lnTo>
                      <a:pt x="116" y="81"/>
                    </a:lnTo>
                    <a:lnTo>
                      <a:pt x="119" y="79"/>
                    </a:lnTo>
                    <a:lnTo>
                      <a:pt x="123" y="75"/>
                    </a:lnTo>
                    <a:lnTo>
                      <a:pt x="156" y="35"/>
                    </a:lnTo>
                    <a:lnTo>
                      <a:pt x="133" y="10"/>
                    </a:lnTo>
                    <a:lnTo>
                      <a:pt x="133" y="8"/>
                    </a:lnTo>
                    <a:lnTo>
                      <a:pt x="135" y="8"/>
                    </a:lnTo>
                    <a:lnTo>
                      <a:pt x="139" y="2"/>
                    </a:lnTo>
                    <a:lnTo>
                      <a:pt x="141" y="0"/>
                    </a:lnTo>
                    <a:lnTo>
                      <a:pt x="148" y="8"/>
                    </a:lnTo>
                    <a:lnTo>
                      <a:pt x="167" y="21"/>
                    </a:lnTo>
                    <a:lnTo>
                      <a:pt x="189" y="41"/>
                    </a:lnTo>
                    <a:lnTo>
                      <a:pt x="194" y="44"/>
                    </a:lnTo>
                    <a:lnTo>
                      <a:pt x="194" y="46"/>
                    </a:lnTo>
                    <a:lnTo>
                      <a:pt x="204" y="58"/>
                    </a:lnTo>
                    <a:lnTo>
                      <a:pt x="206" y="60"/>
                    </a:lnTo>
                    <a:lnTo>
                      <a:pt x="212" y="66"/>
                    </a:lnTo>
                    <a:lnTo>
                      <a:pt x="214" y="75"/>
                    </a:lnTo>
                    <a:lnTo>
                      <a:pt x="217" y="98"/>
                    </a:lnTo>
                    <a:lnTo>
                      <a:pt x="225" y="104"/>
                    </a:lnTo>
                    <a:lnTo>
                      <a:pt x="246" y="110"/>
                    </a:lnTo>
                    <a:lnTo>
                      <a:pt x="250" y="112"/>
                    </a:lnTo>
                    <a:lnTo>
                      <a:pt x="256" y="158"/>
                    </a:lnTo>
                    <a:lnTo>
                      <a:pt x="250" y="165"/>
                    </a:lnTo>
                    <a:lnTo>
                      <a:pt x="235" y="167"/>
                    </a:lnTo>
                    <a:lnTo>
                      <a:pt x="219" y="167"/>
                    </a:lnTo>
                    <a:lnTo>
                      <a:pt x="217" y="167"/>
                    </a:lnTo>
                    <a:lnTo>
                      <a:pt x="196" y="165"/>
                    </a:lnTo>
                    <a:lnTo>
                      <a:pt x="194" y="175"/>
                    </a:lnTo>
                    <a:lnTo>
                      <a:pt x="183" y="173"/>
                    </a:lnTo>
                    <a:lnTo>
                      <a:pt x="183" y="165"/>
                    </a:lnTo>
                    <a:lnTo>
                      <a:pt x="179" y="165"/>
                    </a:lnTo>
                    <a:lnTo>
                      <a:pt x="162" y="164"/>
                    </a:lnTo>
                    <a:lnTo>
                      <a:pt x="160" y="165"/>
                    </a:lnTo>
                    <a:lnTo>
                      <a:pt x="158" y="165"/>
                    </a:lnTo>
                    <a:lnTo>
                      <a:pt x="154" y="165"/>
                    </a:lnTo>
                    <a:lnTo>
                      <a:pt x="154" y="164"/>
                    </a:lnTo>
                    <a:lnTo>
                      <a:pt x="150" y="164"/>
                    </a:lnTo>
                    <a:lnTo>
                      <a:pt x="146" y="164"/>
                    </a:lnTo>
                    <a:lnTo>
                      <a:pt x="142" y="164"/>
                    </a:lnTo>
                    <a:lnTo>
                      <a:pt x="141" y="164"/>
                    </a:lnTo>
                    <a:lnTo>
                      <a:pt x="137" y="162"/>
                    </a:lnTo>
                    <a:lnTo>
                      <a:pt x="133" y="164"/>
                    </a:lnTo>
                    <a:lnTo>
                      <a:pt x="123" y="177"/>
                    </a:lnTo>
                    <a:lnTo>
                      <a:pt x="127" y="179"/>
                    </a:lnTo>
                    <a:lnTo>
                      <a:pt x="137" y="185"/>
                    </a:lnTo>
                    <a:lnTo>
                      <a:pt x="142" y="183"/>
                    </a:lnTo>
                    <a:lnTo>
                      <a:pt x="144" y="185"/>
                    </a:lnTo>
                    <a:lnTo>
                      <a:pt x="135" y="206"/>
                    </a:lnTo>
                    <a:lnTo>
                      <a:pt x="135" y="233"/>
                    </a:lnTo>
                    <a:lnTo>
                      <a:pt x="127" y="233"/>
                    </a:lnTo>
                    <a:lnTo>
                      <a:pt x="127" y="235"/>
                    </a:lnTo>
                    <a:lnTo>
                      <a:pt x="125" y="235"/>
                    </a:lnTo>
                    <a:lnTo>
                      <a:pt x="125" y="237"/>
                    </a:lnTo>
                    <a:lnTo>
                      <a:pt x="129" y="240"/>
                    </a:lnTo>
                    <a:lnTo>
                      <a:pt x="133" y="235"/>
                    </a:lnTo>
                    <a:lnTo>
                      <a:pt x="135" y="237"/>
                    </a:lnTo>
                    <a:lnTo>
                      <a:pt x="142" y="235"/>
                    </a:lnTo>
                    <a:lnTo>
                      <a:pt x="144" y="242"/>
                    </a:lnTo>
                    <a:lnTo>
                      <a:pt x="146" y="244"/>
                    </a:lnTo>
                    <a:lnTo>
                      <a:pt x="142" y="248"/>
                    </a:lnTo>
                    <a:lnTo>
                      <a:pt x="154" y="256"/>
                    </a:lnTo>
                    <a:lnTo>
                      <a:pt x="156" y="256"/>
                    </a:lnTo>
                    <a:lnTo>
                      <a:pt x="158" y="254"/>
                    </a:lnTo>
                    <a:lnTo>
                      <a:pt x="158" y="250"/>
                    </a:lnTo>
                    <a:lnTo>
                      <a:pt x="158" y="252"/>
                    </a:lnTo>
                    <a:lnTo>
                      <a:pt x="160" y="250"/>
                    </a:lnTo>
                    <a:lnTo>
                      <a:pt x="162" y="248"/>
                    </a:lnTo>
                    <a:lnTo>
                      <a:pt x="162" y="246"/>
                    </a:lnTo>
                    <a:lnTo>
                      <a:pt x="164" y="242"/>
                    </a:lnTo>
                    <a:lnTo>
                      <a:pt x="166" y="240"/>
                    </a:lnTo>
                    <a:lnTo>
                      <a:pt x="167" y="238"/>
                    </a:lnTo>
                    <a:lnTo>
                      <a:pt x="167" y="237"/>
                    </a:lnTo>
                    <a:lnTo>
                      <a:pt x="166" y="237"/>
                    </a:lnTo>
                    <a:lnTo>
                      <a:pt x="166" y="233"/>
                    </a:lnTo>
                    <a:lnTo>
                      <a:pt x="167" y="233"/>
                    </a:lnTo>
                    <a:lnTo>
                      <a:pt x="169" y="233"/>
                    </a:lnTo>
                    <a:lnTo>
                      <a:pt x="169" y="231"/>
                    </a:lnTo>
                    <a:lnTo>
                      <a:pt x="171" y="231"/>
                    </a:lnTo>
                    <a:lnTo>
                      <a:pt x="169" y="227"/>
                    </a:lnTo>
                    <a:lnTo>
                      <a:pt x="167" y="227"/>
                    </a:lnTo>
                    <a:lnTo>
                      <a:pt x="167" y="223"/>
                    </a:lnTo>
                    <a:lnTo>
                      <a:pt x="167" y="219"/>
                    </a:lnTo>
                    <a:lnTo>
                      <a:pt x="169" y="215"/>
                    </a:lnTo>
                    <a:lnTo>
                      <a:pt x="173" y="219"/>
                    </a:lnTo>
                    <a:lnTo>
                      <a:pt x="175" y="217"/>
                    </a:lnTo>
                    <a:lnTo>
                      <a:pt x="179" y="213"/>
                    </a:lnTo>
                    <a:lnTo>
                      <a:pt x="181" y="215"/>
                    </a:lnTo>
                    <a:lnTo>
                      <a:pt x="181" y="213"/>
                    </a:lnTo>
                    <a:lnTo>
                      <a:pt x="183" y="212"/>
                    </a:lnTo>
                    <a:lnTo>
                      <a:pt x="183" y="210"/>
                    </a:lnTo>
                    <a:lnTo>
                      <a:pt x="185" y="210"/>
                    </a:lnTo>
                    <a:lnTo>
                      <a:pt x="179" y="208"/>
                    </a:lnTo>
                    <a:lnTo>
                      <a:pt x="183" y="200"/>
                    </a:lnTo>
                    <a:lnTo>
                      <a:pt x="181" y="198"/>
                    </a:lnTo>
                    <a:lnTo>
                      <a:pt x="185" y="194"/>
                    </a:lnTo>
                    <a:lnTo>
                      <a:pt x="187" y="192"/>
                    </a:lnTo>
                    <a:lnTo>
                      <a:pt x="187" y="190"/>
                    </a:lnTo>
                    <a:lnTo>
                      <a:pt x="189" y="189"/>
                    </a:lnTo>
                    <a:lnTo>
                      <a:pt x="190" y="187"/>
                    </a:lnTo>
                    <a:lnTo>
                      <a:pt x="192" y="185"/>
                    </a:lnTo>
                    <a:lnTo>
                      <a:pt x="196" y="185"/>
                    </a:lnTo>
                    <a:lnTo>
                      <a:pt x="198" y="187"/>
                    </a:lnTo>
                    <a:lnTo>
                      <a:pt x="198" y="185"/>
                    </a:lnTo>
                    <a:lnTo>
                      <a:pt x="204" y="187"/>
                    </a:lnTo>
                    <a:lnTo>
                      <a:pt x="204" y="189"/>
                    </a:lnTo>
                    <a:lnTo>
                      <a:pt x="208" y="190"/>
                    </a:lnTo>
                    <a:lnTo>
                      <a:pt x="212" y="190"/>
                    </a:lnTo>
                    <a:lnTo>
                      <a:pt x="217" y="192"/>
                    </a:lnTo>
                    <a:close/>
                  </a:path>
                </a:pathLst>
              </a:custGeom>
              <a:solidFill>
                <a:schemeClr val="accent6">
                  <a:lumMod val="40000"/>
                  <a:lumOff val="60000"/>
                </a:schemeClr>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33" name="Freeform 21">
                <a:extLst>
                  <a:ext uri="{FF2B5EF4-FFF2-40B4-BE49-F238E27FC236}">
                    <a16:creationId xmlns:a16="http://schemas.microsoft.com/office/drawing/2014/main" id="{CF3FD6C5-4A76-46F0-ADD9-AF268B6D1746}"/>
                  </a:ext>
                </a:extLst>
              </p:cNvPr>
              <p:cNvSpPr>
                <a:spLocks/>
              </p:cNvSpPr>
              <p:nvPr/>
            </p:nvSpPr>
            <p:spPr bwMode="gray">
              <a:xfrm>
                <a:off x="4520686" y="3983747"/>
                <a:ext cx="130824" cy="143230"/>
              </a:xfrm>
              <a:custGeom>
                <a:avLst/>
                <a:gdLst>
                  <a:gd name="T0" fmla="*/ 43 w 116"/>
                  <a:gd name="T1" fmla="*/ 4 h 127"/>
                  <a:gd name="T2" fmla="*/ 54 w 116"/>
                  <a:gd name="T3" fmla="*/ 20 h 127"/>
                  <a:gd name="T4" fmla="*/ 60 w 116"/>
                  <a:gd name="T5" fmla="*/ 18 h 127"/>
                  <a:gd name="T6" fmla="*/ 64 w 116"/>
                  <a:gd name="T7" fmla="*/ 21 h 127"/>
                  <a:gd name="T8" fmla="*/ 71 w 116"/>
                  <a:gd name="T9" fmla="*/ 20 h 127"/>
                  <a:gd name="T10" fmla="*/ 71 w 116"/>
                  <a:gd name="T11" fmla="*/ 21 h 127"/>
                  <a:gd name="T12" fmla="*/ 83 w 116"/>
                  <a:gd name="T13" fmla="*/ 20 h 127"/>
                  <a:gd name="T14" fmla="*/ 81 w 116"/>
                  <a:gd name="T15" fmla="*/ 21 h 127"/>
                  <a:gd name="T16" fmla="*/ 85 w 116"/>
                  <a:gd name="T17" fmla="*/ 23 h 127"/>
                  <a:gd name="T18" fmla="*/ 89 w 116"/>
                  <a:gd name="T19" fmla="*/ 23 h 127"/>
                  <a:gd name="T20" fmla="*/ 83 w 116"/>
                  <a:gd name="T21" fmla="*/ 29 h 127"/>
                  <a:gd name="T22" fmla="*/ 87 w 116"/>
                  <a:gd name="T23" fmla="*/ 33 h 127"/>
                  <a:gd name="T24" fmla="*/ 87 w 116"/>
                  <a:gd name="T25" fmla="*/ 35 h 127"/>
                  <a:gd name="T26" fmla="*/ 91 w 116"/>
                  <a:gd name="T27" fmla="*/ 39 h 127"/>
                  <a:gd name="T28" fmla="*/ 93 w 116"/>
                  <a:gd name="T29" fmla="*/ 37 h 127"/>
                  <a:gd name="T30" fmla="*/ 96 w 116"/>
                  <a:gd name="T31" fmla="*/ 39 h 127"/>
                  <a:gd name="T32" fmla="*/ 94 w 116"/>
                  <a:gd name="T33" fmla="*/ 41 h 127"/>
                  <a:gd name="T34" fmla="*/ 100 w 116"/>
                  <a:gd name="T35" fmla="*/ 44 h 127"/>
                  <a:gd name="T36" fmla="*/ 102 w 116"/>
                  <a:gd name="T37" fmla="*/ 43 h 127"/>
                  <a:gd name="T38" fmla="*/ 110 w 116"/>
                  <a:gd name="T39" fmla="*/ 50 h 127"/>
                  <a:gd name="T40" fmla="*/ 108 w 116"/>
                  <a:gd name="T41" fmla="*/ 52 h 127"/>
                  <a:gd name="T42" fmla="*/ 116 w 116"/>
                  <a:gd name="T43" fmla="*/ 58 h 127"/>
                  <a:gd name="T44" fmla="*/ 104 w 116"/>
                  <a:gd name="T45" fmla="*/ 73 h 127"/>
                  <a:gd name="T46" fmla="*/ 98 w 116"/>
                  <a:gd name="T47" fmla="*/ 79 h 127"/>
                  <a:gd name="T48" fmla="*/ 87 w 116"/>
                  <a:gd name="T49" fmla="*/ 102 h 127"/>
                  <a:gd name="T50" fmla="*/ 79 w 116"/>
                  <a:gd name="T51" fmla="*/ 119 h 127"/>
                  <a:gd name="T52" fmla="*/ 73 w 116"/>
                  <a:gd name="T53" fmla="*/ 127 h 127"/>
                  <a:gd name="T54" fmla="*/ 31 w 116"/>
                  <a:gd name="T55" fmla="*/ 100 h 127"/>
                  <a:gd name="T56" fmla="*/ 27 w 116"/>
                  <a:gd name="T57" fmla="*/ 96 h 127"/>
                  <a:gd name="T58" fmla="*/ 8 w 116"/>
                  <a:gd name="T59" fmla="*/ 83 h 127"/>
                  <a:gd name="T60" fmla="*/ 6 w 116"/>
                  <a:gd name="T61" fmla="*/ 79 h 127"/>
                  <a:gd name="T62" fmla="*/ 8 w 116"/>
                  <a:gd name="T63" fmla="*/ 79 h 127"/>
                  <a:gd name="T64" fmla="*/ 8 w 116"/>
                  <a:gd name="T65" fmla="*/ 73 h 127"/>
                  <a:gd name="T66" fmla="*/ 16 w 116"/>
                  <a:gd name="T67" fmla="*/ 66 h 127"/>
                  <a:gd name="T68" fmla="*/ 22 w 116"/>
                  <a:gd name="T69" fmla="*/ 56 h 127"/>
                  <a:gd name="T70" fmla="*/ 8 w 116"/>
                  <a:gd name="T71" fmla="*/ 33 h 127"/>
                  <a:gd name="T72" fmla="*/ 0 w 116"/>
                  <a:gd name="T73" fmla="*/ 29 h 127"/>
                  <a:gd name="T74" fmla="*/ 2 w 116"/>
                  <a:gd name="T75" fmla="*/ 21 h 127"/>
                  <a:gd name="T76" fmla="*/ 16 w 116"/>
                  <a:gd name="T77" fmla="*/ 27 h 127"/>
                  <a:gd name="T78" fmla="*/ 18 w 116"/>
                  <a:gd name="T79" fmla="*/ 20 h 127"/>
                  <a:gd name="T80" fmla="*/ 23 w 116"/>
                  <a:gd name="T81" fmla="*/ 21 h 127"/>
                  <a:gd name="T82" fmla="*/ 31 w 116"/>
                  <a:gd name="T83" fmla="*/ 23 h 127"/>
                  <a:gd name="T84" fmla="*/ 41 w 116"/>
                  <a:gd name="T85" fmla="*/ 0 h 127"/>
                  <a:gd name="T86" fmla="*/ 43 w 116"/>
                  <a:gd name="T87" fmla="*/ 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6" h="127">
                    <a:moveTo>
                      <a:pt x="43" y="4"/>
                    </a:moveTo>
                    <a:lnTo>
                      <a:pt x="54" y="20"/>
                    </a:lnTo>
                    <a:lnTo>
                      <a:pt x="60" y="18"/>
                    </a:lnTo>
                    <a:lnTo>
                      <a:pt x="64" y="21"/>
                    </a:lnTo>
                    <a:lnTo>
                      <a:pt x="71" y="20"/>
                    </a:lnTo>
                    <a:lnTo>
                      <a:pt x="71" y="21"/>
                    </a:lnTo>
                    <a:lnTo>
                      <a:pt x="83" y="20"/>
                    </a:lnTo>
                    <a:lnTo>
                      <a:pt x="81" y="21"/>
                    </a:lnTo>
                    <a:lnTo>
                      <a:pt x="85" y="23"/>
                    </a:lnTo>
                    <a:lnTo>
                      <a:pt x="89" y="23"/>
                    </a:lnTo>
                    <a:lnTo>
                      <a:pt x="83" y="29"/>
                    </a:lnTo>
                    <a:lnTo>
                      <a:pt x="87" y="33"/>
                    </a:lnTo>
                    <a:lnTo>
                      <a:pt x="87" y="35"/>
                    </a:lnTo>
                    <a:lnTo>
                      <a:pt x="91" y="39"/>
                    </a:lnTo>
                    <a:lnTo>
                      <a:pt x="93" y="37"/>
                    </a:lnTo>
                    <a:lnTo>
                      <a:pt x="96" y="39"/>
                    </a:lnTo>
                    <a:lnTo>
                      <a:pt x="94" y="41"/>
                    </a:lnTo>
                    <a:lnTo>
                      <a:pt x="100" y="44"/>
                    </a:lnTo>
                    <a:lnTo>
                      <a:pt x="102" y="43"/>
                    </a:lnTo>
                    <a:lnTo>
                      <a:pt x="110" y="50"/>
                    </a:lnTo>
                    <a:lnTo>
                      <a:pt x="108" y="52"/>
                    </a:lnTo>
                    <a:lnTo>
                      <a:pt x="116" y="58"/>
                    </a:lnTo>
                    <a:lnTo>
                      <a:pt x="104" y="73"/>
                    </a:lnTo>
                    <a:lnTo>
                      <a:pt x="98" y="79"/>
                    </a:lnTo>
                    <a:lnTo>
                      <a:pt x="87" y="102"/>
                    </a:lnTo>
                    <a:lnTo>
                      <a:pt x="79" y="119"/>
                    </a:lnTo>
                    <a:lnTo>
                      <a:pt x="73" y="127"/>
                    </a:lnTo>
                    <a:lnTo>
                      <a:pt x="31" y="100"/>
                    </a:lnTo>
                    <a:lnTo>
                      <a:pt x="27" y="96"/>
                    </a:lnTo>
                    <a:lnTo>
                      <a:pt x="8" y="83"/>
                    </a:lnTo>
                    <a:lnTo>
                      <a:pt x="6" y="79"/>
                    </a:lnTo>
                    <a:lnTo>
                      <a:pt x="8" y="79"/>
                    </a:lnTo>
                    <a:lnTo>
                      <a:pt x="8" y="73"/>
                    </a:lnTo>
                    <a:lnTo>
                      <a:pt x="16" y="66"/>
                    </a:lnTo>
                    <a:lnTo>
                      <a:pt x="22" y="56"/>
                    </a:lnTo>
                    <a:lnTo>
                      <a:pt x="8" y="33"/>
                    </a:lnTo>
                    <a:lnTo>
                      <a:pt x="0" y="29"/>
                    </a:lnTo>
                    <a:lnTo>
                      <a:pt x="2" y="21"/>
                    </a:lnTo>
                    <a:lnTo>
                      <a:pt x="16" y="27"/>
                    </a:lnTo>
                    <a:lnTo>
                      <a:pt x="18" y="20"/>
                    </a:lnTo>
                    <a:lnTo>
                      <a:pt x="23" y="21"/>
                    </a:lnTo>
                    <a:lnTo>
                      <a:pt x="31" y="23"/>
                    </a:lnTo>
                    <a:lnTo>
                      <a:pt x="41" y="0"/>
                    </a:lnTo>
                    <a:lnTo>
                      <a:pt x="43" y="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34" name="Freeform 22">
                <a:extLst>
                  <a:ext uri="{FF2B5EF4-FFF2-40B4-BE49-F238E27FC236}">
                    <a16:creationId xmlns:a16="http://schemas.microsoft.com/office/drawing/2014/main" id="{2D12B077-B7DB-4985-8346-C307F3639DA1}"/>
                  </a:ext>
                </a:extLst>
              </p:cNvPr>
              <p:cNvSpPr>
                <a:spLocks/>
              </p:cNvSpPr>
              <p:nvPr/>
            </p:nvSpPr>
            <p:spPr bwMode="gray">
              <a:xfrm>
                <a:off x="4569182" y="3841646"/>
                <a:ext cx="205258" cy="207514"/>
              </a:xfrm>
              <a:custGeom>
                <a:avLst/>
                <a:gdLst>
                  <a:gd name="T0" fmla="*/ 151 w 182"/>
                  <a:gd name="T1" fmla="*/ 147 h 184"/>
                  <a:gd name="T2" fmla="*/ 124 w 182"/>
                  <a:gd name="T3" fmla="*/ 124 h 184"/>
                  <a:gd name="T4" fmla="*/ 98 w 182"/>
                  <a:gd name="T5" fmla="*/ 103 h 184"/>
                  <a:gd name="T6" fmla="*/ 92 w 182"/>
                  <a:gd name="T7" fmla="*/ 111 h 184"/>
                  <a:gd name="T8" fmla="*/ 90 w 182"/>
                  <a:gd name="T9" fmla="*/ 113 h 184"/>
                  <a:gd name="T10" fmla="*/ 80 w 182"/>
                  <a:gd name="T11" fmla="*/ 178 h 184"/>
                  <a:gd name="T12" fmla="*/ 73 w 182"/>
                  <a:gd name="T13" fmla="*/ 184 h 184"/>
                  <a:gd name="T14" fmla="*/ 67 w 182"/>
                  <a:gd name="T15" fmla="*/ 176 h 184"/>
                  <a:gd name="T16" fmla="*/ 57 w 182"/>
                  <a:gd name="T17" fmla="*/ 170 h 184"/>
                  <a:gd name="T18" fmla="*/ 53 w 182"/>
                  <a:gd name="T19" fmla="*/ 165 h 184"/>
                  <a:gd name="T20" fmla="*/ 48 w 182"/>
                  <a:gd name="T21" fmla="*/ 165 h 184"/>
                  <a:gd name="T22" fmla="*/ 44 w 182"/>
                  <a:gd name="T23" fmla="*/ 159 h 184"/>
                  <a:gd name="T24" fmla="*/ 46 w 182"/>
                  <a:gd name="T25" fmla="*/ 149 h 184"/>
                  <a:gd name="T26" fmla="*/ 38 w 182"/>
                  <a:gd name="T27" fmla="*/ 147 h 184"/>
                  <a:gd name="T28" fmla="*/ 28 w 182"/>
                  <a:gd name="T29" fmla="*/ 147 h 184"/>
                  <a:gd name="T30" fmla="*/ 21 w 182"/>
                  <a:gd name="T31" fmla="*/ 147 h 184"/>
                  <a:gd name="T32" fmla="*/ 11 w 182"/>
                  <a:gd name="T33" fmla="*/ 146 h 184"/>
                  <a:gd name="T34" fmla="*/ 3 w 182"/>
                  <a:gd name="T35" fmla="*/ 124 h 184"/>
                  <a:gd name="T36" fmla="*/ 3 w 182"/>
                  <a:gd name="T37" fmla="*/ 115 h 184"/>
                  <a:gd name="T38" fmla="*/ 5 w 182"/>
                  <a:gd name="T39" fmla="*/ 94 h 184"/>
                  <a:gd name="T40" fmla="*/ 30 w 182"/>
                  <a:gd name="T41" fmla="*/ 107 h 184"/>
                  <a:gd name="T42" fmla="*/ 32 w 182"/>
                  <a:gd name="T43" fmla="*/ 105 h 184"/>
                  <a:gd name="T44" fmla="*/ 32 w 182"/>
                  <a:gd name="T45" fmla="*/ 101 h 184"/>
                  <a:gd name="T46" fmla="*/ 32 w 182"/>
                  <a:gd name="T47" fmla="*/ 97 h 184"/>
                  <a:gd name="T48" fmla="*/ 34 w 182"/>
                  <a:gd name="T49" fmla="*/ 94 h 184"/>
                  <a:gd name="T50" fmla="*/ 34 w 182"/>
                  <a:gd name="T51" fmla="*/ 88 h 184"/>
                  <a:gd name="T52" fmla="*/ 19 w 182"/>
                  <a:gd name="T53" fmla="*/ 61 h 184"/>
                  <a:gd name="T54" fmla="*/ 46 w 182"/>
                  <a:gd name="T55" fmla="*/ 65 h 184"/>
                  <a:gd name="T56" fmla="*/ 76 w 182"/>
                  <a:gd name="T57" fmla="*/ 21 h 184"/>
                  <a:gd name="T58" fmla="*/ 88 w 182"/>
                  <a:gd name="T59" fmla="*/ 7 h 184"/>
                  <a:gd name="T60" fmla="*/ 107 w 182"/>
                  <a:gd name="T61" fmla="*/ 19 h 184"/>
                  <a:gd name="T62" fmla="*/ 98 w 182"/>
                  <a:gd name="T63" fmla="*/ 32 h 184"/>
                  <a:gd name="T64" fmla="*/ 126 w 182"/>
                  <a:gd name="T65" fmla="*/ 57 h 184"/>
                  <a:gd name="T66" fmla="*/ 153 w 182"/>
                  <a:gd name="T67" fmla="*/ 82 h 184"/>
                  <a:gd name="T68" fmla="*/ 182 w 182"/>
                  <a:gd name="T69" fmla="*/ 130 h 184"/>
                  <a:gd name="T70" fmla="*/ 151 w 182"/>
                  <a:gd name="T71" fmla="*/ 149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2" h="184">
                    <a:moveTo>
                      <a:pt x="151" y="149"/>
                    </a:moveTo>
                    <a:lnTo>
                      <a:pt x="151" y="147"/>
                    </a:lnTo>
                    <a:lnTo>
                      <a:pt x="146" y="144"/>
                    </a:lnTo>
                    <a:lnTo>
                      <a:pt x="124" y="124"/>
                    </a:lnTo>
                    <a:lnTo>
                      <a:pt x="105" y="111"/>
                    </a:lnTo>
                    <a:lnTo>
                      <a:pt x="98" y="103"/>
                    </a:lnTo>
                    <a:lnTo>
                      <a:pt x="96" y="105"/>
                    </a:lnTo>
                    <a:lnTo>
                      <a:pt x="92" y="111"/>
                    </a:lnTo>
                    <a:lnTo>
                      <a:pt x="90" y="111"/>
                    </a:lnTo>
                    <a:lnTo>
                      <a:pt x="90" y="113"/>
                    </a:lnTo>
                    <a:lnTo>
                      <a:pt x="113" y="138"/>
                    </a:lnTo>
                    <a:lnTo>
                      <a:pt x="80" y="178"/>
                    </a:lnTo>
                    <a:lnTo>
                      <a:pt x="76" y="182"/>
                    </a:lnTo>
                    <a:lnTo>
                      <a:pt x="73" y="184"/>
                    </a:lnTo>
                    <a:lnTo>
                      <a:pt x="65" y="178"/>
                    </a:lnTo>
                    <a:lnTo>
                      <a:pt x="67" y="176"/>
                    </a:lnTo>
                    <a:lnTo>
                      <a:pt x="59" y="169"/>
                    </a:lnTo>
                    <a:lnTo>
                      <a:pt x="57" y="170"/>
                    </a:lnTo>
                    <a:lnTo>
                      <a:pt x="51" y="167"/>
                    </a:lnTo>
                    <a:lnTo>
                      <a:pt x="53" y="165"/>
                    </a:lnTo>
                    <a:lnTo>
                      <a:pt x="50" y="163"/>
                    </a:lnTo>
                    <a:lnTo>
                      <a:pt x="48" y="165"/>
                    </a:lnTo>
                    <a:lnTo>
                      <a:pt x="44" y="161"/>
                    </a:lnTo>
                    <a:lnTo>
                      <a:pt x="44" y="159"/>
                    </a:lnTo>
                    <a:lnTo>
                      <a:pt x="40" y="155"/>
                    </a:lnTo>
                    <a:lnTo>
                      <a:pt x="46" y="149"/>
                    </a:lnTo>
                    <a:lnTo>
                      <a:pt x="42" y="149"/>
                    </a:lnTo>
                    <a:lnTo>
                      <a:pt x="38" y="147"/>
                    </a:lnTo>
                    <a:lnTo>
                      <a:pt x="40" y="146"/>
                    </a:lnTo>
                    <a:lnTo>
                      <a:pt x="28" y="147"/>
                    </a:lnTo>
                    <a:lnTo>
                      <a:pt x="28" y="146"/>
                    </a:lnTo>
                    <a:lnTo>
                      <a:pt x="21" y="147"/>
                    </a:lnTo>
                    <a:lnTo>
                      <a:pt x="17" y="144"/>
                    </a:lnTo>
                    <a:lnTo>
                      <a:pt x="11" y="146"/>
                    </a:lnTo>
                    <a:lnTo>
                      <a:pt x="0" y="130"/>
                    </a:lnTo>
                    <a:lnTo>
                      <a:pt x="3" y="124"/>
                    </a:lnTo>
                    <a:lnTo>
                      <a:pt x="0" y="122"/>
                    </a:lnTo>
                    <a:lnTo>
                      <a:pt x="3" y="115"/>
                    </a:lnTo>
                    <a:lnTo>
                      <a:pt x="0" y="103"/>
                    </a:lnTo>
                    <a:lnTo>
                      <a:pt x="5" y="94"/>
                    </a:lnTo>
                    <a:lnTo>
                      <a:pt x="28" y="107"/>
                    </a:lnTo>
                    <a:lnTo>
                      <a:pt x="30" y="107"/>
                    </a:lnTo>
                    <a:lnTo>
                      <a:pt x="32" y="107"/>
                    </a:lnTo>
                    <a:lnTo>
                      <a:pt x="32" y="105"/>
                    </a:lnTo>
                    <a:lnTo>
                      <a:pt x="32" y="103"/>
                    </a:lnTo>
                    <a:lnTo>
                      <a:pt x="32" y="101"/>
                    </a:lnTo>
                    <a:lnTo>
                      <a:pt x="34" y="101"/>
                    </a:lnTo>
                    <a:lnTo>
                      <a:pt x="32" y="97"/>
                    </a:lnTo>
                    <a:lnTo>
                      <a:pt x="34" y="96"/>
                    </a:lnTo>
                    <a:lnTo>
                      <a:pt x="34" y="94"/>
                    </a:lnTo>
                    <a:lnTo>
                      <a:pt x="30" y="92"/>
                    </a:lnTo>
                    <a:lnTo>
                      <a:pt x="34" y="88"/>
                    </a:lnTo>
                    <a:lnTo>
                      <a:pt x="13" y="71"/>
                    </a:lnTo>
                    <a:lnTo>
                      <a:pt x="19" y="61"/>
                    </a:lnTo>
                    <a:lnTo>
                      <a:pt x="36" y="74"/>
                    </a:lnTo>
                    <a:lnTo>
                      <a:pt x="46" y="65"/>
                    </a:lnTo>
                    <a:lnTo>
                      <a:pt x="53" y="51"/>
                    </a:lnTo>
                    <a:lnTo>
                      <a:pt x="76" y="21"/>
                    </a:lnTo>
                    <a:lnTo>
                      <a:pt x="80" y="21"/>
                    </a:lnTo>
                    <a:lnTo>
                      <a:pt x="88" y="7"/>
                    </a:lnTo>
                    <a:lnTo>
                      <a:pt x="98" y="0"/>
                    </a:lnTo>
                    <a:lnTo>
                      <a:pt x="107" y="19"/>
                    </a:lnTo>
                    <a:lnTo>
                      <a:pt x="103" y="24"/>
                    </a:lnTo>
                    <a:lnTo>
                      <a:pt x="98" y="32"/>
                    </a:lnTo>
                    <a:lnTo>
                      <a:pt x="101" y="34"/>
                    </a:lnTo>
                    <a:lnTo>
                      <a:pt x="126" y="57"/>
                    </a:lnTo>
                    <a:lnTo>
                      <a:pt x="147" y="76"/>
                    </a:lnTo>
                    <a:lnTo>
                      <a:pt x="153" y="82"/>
                    </a:lnTo>
                    <a:lnTo>
                      <a:pt x="159" y="94"/>
                    </a:lnTo>
                    <a:lnTo>
                      <a:pt x="182" y="130"/>
                    </a:lnTo>
                    <a:lnTo>
                      <a:pt x="163" y="140"/>
                    </a:lnTo>
                    <a:lnTo>
                      <a:pt x="151" y="14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35" name="Freeform 23">
                <a:extLst>
                  <a:ext uri="{FF2B5EF4-FFF2-40B4-BE49-F238E27FC236}">
                    <a16:creationId xmlns:a16="http://schemas.microsoft.com/office/drawing/2014/main" id="{FA7F86A8-120F-46D1-A5C9-4C661EB59D6F}"/>
                  </a:ext>
                </a:extLst>
              </p:cNvPr>
              <p:cNvSpPr>
                <a:spLocks/>
              </p:cNvSpPr>
              <p:nvPr/>
            </p:nvSpPr>
            <p:spPr bwMode="gray">
              <a:xfrm>
                <a:off x="4555648" y="3635259"/>
                <a:ext cx="500740" cy="448862"/>
              </a:xfrm>
              <a:custGeom>
                <a:avLst/>
                <a:gdLst>
                  <a:gd name="T0" fmla="*/ 434 w 444"/>
                  <a:gd name="T1" fmla="*/ 294 h 398"/>
                  <a:gd name="T2" fmla="*/ 440 w 444"/>
                  <a:gd name="T3" fmla="*/ 321 h 398"/>
                  <a:gd name="T4" fmla="*/ 421 w 444"/>
                  <a:gd name="T5" fmla="*/ 375 h 398"/>
                  <a:gd name="T6" fmla="*/ 311 w 444"/>
                  <a:gd name="T7" fmla="*/ 378 h 398"/>
                  <a:gd name="T8" fmla="*/ 238 w 444"/>
                  <a:gd name="T9" fmla="*/ 390 h 398"/>
                  <a:gd name="T10" fmla="*/ 234 w 444"/>
                  <a:gd name="T11" fmla="*/ 367 h 398"/>
                  <a:gd name="T12" fmla="*/ 236 w 444"/>
                  <a:gd name="T13" fmla="*/ 350 h 398"/>
                  <a:gd name="T14" fmla="*/ 244 w 444"/>
                  <a:gd name="T15" fmla="*/ 344 h 398"/>
                  <a:gd name="T16" fmla="*/ 250 w 444"/>
                  <a:gd name="T17" fmla="*/ 348 h 398"/>
                  <a:gd name="T18" fmla="*/ 273 w 444"/>
                  <a:gd name="T19" fmla="*/ 350 h 398"/>
                  <a:gd name="T20" fmla="*/ 298 w 444"/>
                  <a:gd name="T21" fmla="*/ 344 h 398"/>
                  <a:gd name="T22" fmla="*/ 290 w 444"/>
                  <a:gd name="T23" fmla="*/ 338 h 398"/>
                  <a:gd name="T24" fmla="*/ 313 w 444"/>
                  <a:gd name="T25" fmla="*/ 344 h 398"/>
                  <a:gd name="T26" fmla="*/ 327 w 444"/>
                  <a:gd name="T27" fmla="*/ 348 h 398"/>
                  <a:gd name="T28" fmla="*/ 340 w 444"/>
                  <a:gd name="T29" fmla="*/ 350 h 398"/>
                  <a:gd name="T30" fmla="*/ 351 w 444"/>
                  <a:gd name="T31" fmla="*/ 340 h 398"/>
                  <a:gd name="T32" fmla="*/ 340 w 444"/>
                  <a:gd name="T33" fmla="*/ 340 h 398"/>
                  <a:gd name="T34" fmla="*/ 328 w 444"/>
                  <a:gd name="T35" fmla="*/ 338 h 398"/>
                  <a:gd name="T36" fmla="*/ 319 w 444"/>
                  <a:gd name="T37" fmla="*/ 332 h 398"/>
                  <a:gd name="T38" fmla="*/ 305 w 444"/>
                  <a:gd name="T39" fmla="*/ 321 h 398"/>
                  <a:gd name="T40" fmla="*/ 298 w 444"/>
                  <a:gd name="T41" fmla="*/ 323 h 398"/>
                  <a:gd name="T42" fmla="*/ 294 w 444"/>
                  <a:gd name="T43" fmla="*/ 313 h 398"/>
                  <a:gd name="T44" fmla="*/ 298 w 444"/>
                  <a:gd name="T45" fmla="*/ 300 h 398"/>
                  <a:gd name="T46" fmla="*/ 296 w 444"/>
                  <a:gd name="T47" fmla="*/ 284 h 398"/>
                  <a:gd name="T48" fmla="*/ 288 w 444"/>
                  <a:gd name="T49" fmla="*/ 284 h 398"/>
                  <a:gd name="T50" fmla="*/ 277 w 444"/>
                  <a:gd name="T51" fmla="*/ 282 h 398"/>
                  <a:gd name="T52" fmla="*/ 263 w 444"/>
                  <a:gd name="T53" fmla="*/ 282 h 398"/>
                  <a:gd name="T54" fmla="*/ 257 w 444"/>
                  <a:gd name="T55" fmla="*/ 292 h 398"/>
                  <a:gd name="T56" fmla="*/ 259 w 444"/>
                  <a:gd name="T57" fmla="*/ 300 h 398"/>
                  <a:gd name="T58" fmla="*/ 254 w 444"/>
                  <a:gd name="T59" fmla="*/ 296 h 398"/>
                  <a:gd name="T60" fmla="*/ 252 w 444"/>
                  <a:gd name="T61" fmla="*/ 305 h 398"/>
                  <a:gd name="T62" fmla="*/ 252 w 444"/>
                  <a:gd name="T63" fmla="*/ 315 h 398"/>
                  <a:gd name="T64" fmla="*/ 246 w 444"/>
                  <a:gd name="T65" fmla="*/ 319 h 398"/>
                  <a:gd name="T66" fmla="*/ 227 w 444"/>
                  <a:gd name="T67" fmla="*/ 330 h 398"/>
                  <a:gd name="T68" fmla="*/ 213 w 444"/>
                  <a:gd name="T69" fmla="*/ 350 h 398"/>
                  <a:gd name="T70" fmla="*/ 215 w 444"/>
                  <a:gd name="T71" fmla="*/ 367 h 398"/>
                  <a:gd name="T72" fmla="*/ 219 w 444"/>
                  <a:gd name="T73" fmla="*/ 398 h 398"/>
                  <a:gd name="T74" fmla="*/ 186 w 444"/>
                  <a:gd name="T75" fmla="*/ 384 h 398"/>
                  <a:gd name="T76" fmla="*/ 175 w 444"/>
                  <a:gd name="T77" fmla="*/ 346 h 398"/>
                  <a:gd name="T78" fmla="*/ 175 w 444"/>
                  <a:gd name="T79" fmla="*/ 323 h 398"/>
                  <a:gd name="T80" fmla="*/ 165 w 444"/>
                  <a:gd name="T81" fmla="*/ 265 h 398"/>
                  <a:gd name="T82" fmla="*/ 113 w 444"/>
                  <a:gd name="T83" fmla="*/ 217 h 398"/>
                  <a:gd name="T84" fmla="*/ 119 w 444"/>
                  <a:gd name="T85" fmla="*/ 202 h 398"/>
                  <a:gd name="T86" fmla="*/ 92 w 444"/>
                  <a:gd name="T87" fmla="*/ 204 h 398"/>
                  <a:gd name="T88" fmla="*/ 58 w 444"/>
                  <a:gd name="T89" fmla="*/ 248 h 398"/>
                  <a:gd name="T90" fmla="*/ 15 w 444"/>
                  <a:gd name="T91" fmla="*/ 223 h 398"/>
                  <a:gd name="T92" fmla="*/ 14 w 444"/>
                  <a:gd name="T93" fmla="*/ 181 h 398"/>
                  <a:gd name="T94" fmla="*/ 65 w 444"/>
                  <a:gd name="T95" fmla="*/ 136 h 398"/>
                  <a:gd name="T96" fmla="*/ 92 w 444"/>
                  <a:gd name="T97" fmla="*/ 123 h 398"/>
                  <a:gd name="T98" fmla="*/ 184 w 444"/>
                  <a:gd name="T99" fmla="*/ 40 h 398"/>
                  <a:gd name="T100" fmla="*/ 204 w 444"/>
                  <a:gd name="T101" fmla="*/ 4 h 398"/>
                  <a:gd name="T102" fmla="*/ 244 w 444"/>
                  <a:gd name="T103" fmla="*/ 21 h 398"/>
                  <a:gd name="T104" fmla="*/ 265 w 444"/>
                  <a:gd name="T105" fmla="*/ 31 h 398"/>
                  <a:gd name="T106" fmla="*/ 332 w 444"/>
                  <a:gd name="T107" fmla="*/ 119 h 398"/>
                  <a:gd name="T108" fmla="*/ 330 w 444"/>
                  <a:gd name="T109" fmla="*/ 158 h 398"/>
                  <a:gd name="T110" fmla="*/ 332 w 444"/>
                  <a:gd name="T111" fmla="*/ 207 h 398"/>
                  <a:gd name="T112" fmla="*/ 375 w 444"/>
                  <a:gd name="T113" fmla="*/ 248 h 398"/>
                  <a:gd name="T114" fmla="*/ 424 w 444"/>
                  <a:gd name="T115" fmla="*/ 279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44" h="398">
                    <a:moveTo>
                      <a:pt x="424" y="279"/>
                    </a:moveTo>
                    <a:lnTo>
                      <a:pt x="430" y="286"/>
                    </a:lnTo>
                    <a:lnTo>
                      <a:pt x="434" y="294"/>
                    </a:lnTo>
                    <a:lnTo>
                      <a:pt x="434" y="309"/>
                    </a:lnTo>
                    <a:lnTo>
                      <a:pt x="434" y="313"/>
                    </a:lnTo>
                    <a:lnTo>
                      <a:pt x="440" y="321"/>
                    </a:lnTo>
                    <a:lnTo>
                      <a:pt x="444" y="325"/>
                    </a:lnTo>
                    <a:lnTo>
                      <a:pt x="442" y="375"/>
                    </a:lnTo>
                    <a:lnTo>
                      <a:pt x="421" y="375"/>
                    </a:lnTo>
                    <a:lnTo>
                      <a:pt x="380" y="377"/>
                    </a:lnTo>
                    <a:lnTo>
                      <a:pt x="359" y="377"/>
                    </a:lnTo>
                    <a:lnTo>
                      <a:pt x="311" y="378"/>
                    </a:lnTo>
                    <a:lnTo>
                      <a:pt x="290" y="378"/>
                    </a:lnTo>
                    <a:lnTo>
                      <a:pt x="238" y="392"/>
                    </a:lnTo>
                    <a:lnTo>
                      <a:pt x="238" y="390"/>
                    </a:lnTo>
                    <a:lnTo>
                      <a:pt x="236" y="382"/>
                    </a:lnTo>
                    <a:lnTo>
                      <a:pt x="234" y="375"/>
                    </a:lnTo>
                    <a:lnTo>
                      <a:pt x="234" y="367"/>
                    </a:lnTo>
                    <a:lnTo>
                      <a:pt x="234" y="363"/>
                    </a:lnTo>
                    <a:lnTo>
                      <a:pt x="234" y="357"/>
                    </a:lnTo>
                    <a:lnTo>
                      <a:pt x="236" y="350"/>
                    </a:lnTo>
                    <a:lnTo>
                      <a:pt x="238" y="348"/>
                    </a:lnTo>
                    <a:lnTo>
                      <a:pt x="240" y="346"/>
                    </a:lnTo>
                    <a:lnTo>
                      <a:pt x="244" y="344"/>
                    </a:lnTo>
                    <a:lnTo>
                      <a:pt x="246" y="344"/>
                    </a:lnTo>
                    <a:lnTo>
                      <a:pt x="248" y="346"/>
                    </a:lnTo>
                    <a:lnTo>
                      <a:pt x="250" y="348"/>
                    </a:lnTo>
                    <a:lnTo>
                      <a:pt x="250" y="350"/>
                    </a:lnTo>
                    <a:lnTo>
                      <a:pt x="269" y="350"/>
                    </a:lnTo>
                    <a:lnTo>
                      <a:pt x="273" y="350"/>
                    </a:lnTo>
                    <a:lnTo>
                      <a:pt x="279" y="350"/>
                    </a:lnTo>
                    <a:lnTo>
                      <a:pt x="284" y="348"/>
                    </a:lnTo>
                    <a:lnTo>
                      <a:pt x="298" y="344"/>
                    </a:lnTo>
                    <a:lnTo>
                      <a:pt x="296" y="340"/>
                    </a:lnTo>
                    <a:lnTo>
                      <a:pt x="292" y="340"/>
                    </a:lnTo>
                    <a:lnTo>
                      <a:pt x="290" y="338"/>
                    </a:lnTo>
                    <a:lnTo>
                      <a:pt x="300" y="334"/>
                    </a:lnTo>
                    <a:lnTo>
                      <a:pt x="303" y="346"/>
                    </a:lnTo>
                    <a:lnTo>
                      <a:pt x="313" y="344"/>
                    </a:lnTo>
                    <a:lnTo>
                      <a:pt x="313" y="342"/>
                    </a:lnTo>
                    <a:lnTo>
                      <a:pt x="317" y="344"/>
                    </a:lnTo>
                    <a:lnTo>
                      <a:pt x="327" y="348"/>
                    </a:lnTo>
                    <a:lnTo>
                      <a:pt x="330" y="350"/>
                    </a:lnTo>
                    <a:lnTo>
                      <a:pt x="332" y="350"/>
                    </a:lnTo>
                    <a:lnTo>
                      <a:pt x="340" y="350"/>
                    </a:lnTo>
                    <a:lnTo>
                      <a:pt x="346" y="350"/>
                    </a:lnTo>
                    <a:lnTo>
                      <a:pt x="350" y="350"/>
                    </a:lnTo>
                    <a:lnTo>
                      <a:pt x="351" y="340"/>
                    </a:lnTo>
                    <a:lnTo>
                      <a:pt x="350" y="340"/>
                    </a:lnTo>
                    <a:lnTo>
                      <a:pt x="346" y="340"/>
                    </a:lnTo>
                    <a:lnTo>
                      <a:pt x="340" y="340"/>
                    </a:lnTo>
                    <a:lnTo>
                      <a:pt x="334" y="340"/>
                    </a:lnTo>
                    <a:lnTo>
                      <a:pt x="332" y="338"/>
                    </a:lnTo>
                    <a:lnTo>
                      <a:pt x="328" y="338"/>
                    </a:lnTo>
                    <a:lnTo>
                      <a:pt x="327" y="336"/>
                    </a:lnTo>
                    <a:lnTo>
                      <a:pt x="323" y="334"/>
                    </a:lnTo>
                    <a:lnTo>
                      <a:pt x="319" y="332"/>
                    </a:lnTo>
                    <a:lnTo>
                      <a:pt x="313" y="329"/>
                    </a:lnTo>
                    <a:lnTo>
                      <a:pt x="311" y="327"/>
                    </a:lnTo>
                    <a:lnTo>
                      <a:pt x="305" y="321"/>
                    </a:lnTo>
                    <a:lnTo>
                      <a:pt x="302" y="323"/>
                    </a:lnTo>
                    <a:lnTo>
                      <a:pt x="300" y="323"/>
                    </a:lnTo>
                    <a:lnTo>
                      <a:pt x="298" y="323"/>
                    </a:lnTo>
                    <a:lnTo>
                      <a:pt x="294" y="321"/>
                    </a:lnTo>
                    <a:lnTo>
                      <a:pt x="292" y="315"/>
                    </a:lnTo>
                    <a:lnTo>
                      <a:pt x="294" y="313"/>
                    </a:lnTo>
                    <a:lnTo>
                      <a:pt x="296" y="311"/>
                    </a:lnTo>
                    <a:lnTo>
                      <a:pt x="302" y="309"/>
                    </a:lnTo>
                    <a:lnTo>
                      <a:pt x="298" y="300"/>
                    </a:lnTo>
                    <a:lnTo>
                      <a:pt x="296" y="296"/>
                    </a:lnTo>
                    <a:lnTo>
                      <a:pt x="296" y="290"/>
                    </a:lnTo>
                    <a:lnTo>
                      <a:pt x="296" y="284"/>
                    </a:lnTo>
                    <a:lnTo>
                      <a:pt x="294" y="282"/>
                    </a:lnTo>
                    <a:lnTo>
                      <a:pt x="292" y="286"/>
                    </a:lnTo>
                    <a:lnTo>
                      <a:pt x="288" y="284"/>
                    </a:lnTo>
                    <a:lnTo>
                      <a:pt x="290" y="280"/>
                    </a:lnTo>
                    <a:lnTo>
                      <a:pt x="284" y="280"/>
                    </a:lnTo>
                    <a:lnTo>
                      <a:pt x="277" y="282"/>
                    </a:lnTo>
                    <a:lnTo>
                      <a:pt x="271" y="284"/>
                    </a:lnTo>
                    <a:lnTo>
                      <a:pt x="269" y="282"/>
                    </a:lnTo>
                    <a:lnTo>
                      <a:pt x="263" y="282"/>
                    </a:lnTo>
                    <a:lnTo>
                      <a:pt x="261" y="284"/>
                    </a:lnTo>
                    <a:lnTo>
                      <a:pt x="257" y="288"/>
                    </a:lnTo>
                    <a:lnTo>
                      <a:pt x="257" y="292"/>
                    </a:lnTo>
                    <a:lnTo>
                      <a:pt x="259" y="294"/>
                    </a:lnTo>
                    <a:lnTo>
                      <a:pt x="259" y="296"/>
                    </a:lnTo>
                    <a:lnTo>
                      <a:pt x="259" y="300"/>
                    </a:lnTo>
                    <a:lnTo>
                      <a:pt x="257" y="300"/>
                    </a:lnTo>
                    <a:lnTo>
                      <a:pt x="257" y="296"/>
                    </a:lnTo>
                    <a:lnTo>
                      <a:pt x="254" y="296"/>
                    </a:lnTo>
                    <a:lnTo>
                      <a:pt x="252" y="296"/>
                    </a:lnTo>
                    <a:lnTo>
                      <a:pt x="252" y="300"/>
                    </a:lnTo>
                    <a:lnTo>
                      <a:pt x="252" y="305"/>
                    </a:lnTo>
                    <a:lnTo>
                      <a:pt x="252" y="309"/>
                    </a:lnTo>
                    <a:lnTo>
                      <a:pt x="254" y="311"/>
                    </a:lnTo>
                    <a:lnTo>
                      <a:pt x="252" y="315"/>
                    </a:lnTo>
                    <a:lnTo>
                      <a:pt x="250" y="317"/>
                    </a:lnTo>
                    <a:lnTo>
                      <a:pt x="246" y="317"/>
                    </a:lnTo>
                    <a:lnTo>
                      <a:pt x="246" y="319"/>
                    </a:lnTo>
                    <a:lnTo>
                      <a:pt x="242" y="317"/>
                    </a:lnTo>
                    <a:lnTo>
                      <a:pt x="232" y="327"/>
                    </a:lnTo>
                    <a:lnTo>
                      <a:pt x="227" y="330"/>
                    </a:lnTo>
                    <a:lnTo>
                      <a:pt x="223" y="334"/>
                    </a:lnTo>
                    <a:lnTo>
                      <a:pt x="217" y="344"/>
                    </a:lnTo>
                    <a:lnTo>
                      <a:pt x="213" y="350"/>
                    </a:lnTo>
                    <a:lnTo>
                      <a:pt x="211" y="361"/>
                    </a:lnTo>
                    <a:lnTo>
                      <a:pt x="215" y="361"/>
                    </a:lnTo>
                    <a:lnTo>
                      <a:pt x="215" y="367"/>
                    </a:lnTo>
                    <a:lnTo>
                      <a:pt x="213" y="375"/>
                    </a:lnTo>
                    <a:lnTo>
                      <a:pt x="217" y="394"/>
                    </a:lnTo>
                    <a:lnTo>
                      <a:pt x="219" y="398"/>
                    </a:lnTo>
                    <a:lnTo>
                      <a:pt x="215" y="396"/>
                    </a:lnTo>
                    <a:lnTo>
                      <a:pt x="194" y="390"/>
                    </a:lnTo>
                    <a:lnTo>
                      <a:pt x="186" y="384"/>
                    </a:lnTo>
                    <a:lnTo>
                      <a:pt x="183" y="361"/>
                    </a:lnTo>
                    <a:lnTo>
                      <a:pt x="181" y="352"/>
                    </a:lnTo>
                    <a:lnTo>
                      <a:pt x="175" y="346"/>
                    </a:lnTo>
                    <a:lnTo>
                      <a:pt x="173" y="344"/>
                    </a:lnTo>
                    <a:lnTo>
                      <a:pt x="163" y="332"/>
                    </a:lnTo>
                    <a:lnTo>
                      <a:pt x="175" y="323"/>
                    </a:lnTo>
                    <a:lnTo>
                      <a:pt x="194" y="313"/>
                    </a:lnTo>
                    <a:lnTo>
                      <a:pt x="171" y="277"/>
                    </a:lnTo>
                    <a:lnTo>
                      <a:pt x="165" y="265"/>
                    </a:lnTo>
                    <a:lnTo>
                      <a:pt x="159" y="259"/>
                    </a:lnTo>
                    <a:lnTo>
                      <a:pt x="138" y="240"/>
                    </a:lnTo>
                    <a:lnTo>
                      <a:pt x="113" y="217"/>
                    </a:lnTo>
                    <a:lnTo>
                      <a:pt x="110" y="215"/>
                    </a:lnTo>
                    <a:lnTo>
                      <a:pt x="115" y="207"/>
                    </a:lnTo>
                    <a:lnTo>
                      <a:pt x="119" y="202"/>
                    </a:lnTo>
                    <a:lnTo>
                      <a:pt x="110" y="183"/>
                    </a:lnTo>
                    <a:lnTo>
                      <a:pt x="100" y="190"/>
                    </a:lnTo>
                    <a:lnTo>
                      <a:pt x="92" y="204"/>
                    </a:lnTo>
                    <a:lnTo>
                      <a:pt x="88" y="204"/>
                    </a:lnTo>
                    <a:lnTo>
                      <a:pt x="65" y="234"/>
                    </a:lnTo>
                    <a:lnTo>
                      <a:pt x="58" y="248"/>
                    </a:lnTo>
                    <a:lnTo>
                      <a:pt x="48" y="257"/>
                    </a:lnTo>
                    <a:lnTo>
                      <a:pt x="31" y="244"/>
                    </a:lnTo>
                    <a:lnTo>
                      <a:pt x="15" y="223"/>
                    </a:lnTo>
                    <a:lnTo>
                      <a:pt x="0" y="215"/>
                    </a:lnTo>
                    <a:lnTo>
                      <a:pt x="6" y="196"/>
                    </a:lnTo>
                    <a:lnTo>
                      <a:pt x="14" y="181"/>
                    </a:lnTo>
                    <a:lnTo>
                      <a:pt x="23" y="163"/>
                    </a:lnTo>
                    <a:lnTo>
                      <a:pt x="40" y="148"/>
                    </a:lnTo>
                    <a:lnTo>
                      <a:pt x="65" y="136"/>
                    </a:lnTo>
                    <a:lnTo>
                      <a:pt x="75" y="131"/>
                    </a:lnTo>
                    <a:lnTo>
                      <a:pt x="88" y="125"/>
                    </a:lnTo>
                    <a:lnTo>
                      <a:pt x="92" y="123"/>
                    </a:lnTo>
                    <a:lnTo>
                      <a:pt x="100" y="119"/>
                    </a:lnTo>
                    <a:lnTo>
                      <a:pt x="113" y="113"/>
                    </a:lnTo>
                    <a:lnTo>
                      <a:pt x="184" y="40"/>
                    </a:lnTo>
                    <a:lnTo>
                      <a:pt x="194" y="25"/>
                    </a:lnTo>
                    <a:lnTo>
                      <a:pt x="194" y="0"/>
                    </a:lnTo>
                    <a:lnTo>
                      <a:pt x="204" y="4"/>
                    </a:lnTo>
                    <a:lnTo>
                      <a:pt x="209" y="6"/>
                    </a:lnTo>
                    <a:lnTo>
                      <a:pt x="227" y="13"/>
                    </a:lnTo>
                    <a:lnTo>
                      <a:pt x="244" y="21"/>
                    </a:lnTo>
                    <a:lnTo>
                      <a:pt x="252" y="25"/>
                    </a:lnTo>
                    <a:lnTo>
                      <a:pt x="257" y="27"/>
                    </a:lnTo>
                    <a:lnTo>
                      <a:pt x="265" y="31"/>
                    </a:lnTo>
                    <a:lnTo>
                      <a:pt x="288" y="50"/>
                    </a:lnTo>
                    <a:lnTo>
                      <a:pt x="330" y="106"/>
                    </a:lnTo>
                    <a:lnTo>
                      <a:pt x="332" y="119"/>
                    </a:lnTo>
                    <a:lnTo>
                      <a:pt x="332" y="121"/>
                    </a:lnTo>
                    <a:lnTo>
                      <a:pt x="332" y="134"/>
                    </a:lnTo>
                    <a:lnTo>
                      <a:pt x="330" y="158"/>
                    </a:lnTo>
                    <a:lnTo>
                      <a:pt x="330" y="184"/>
                    </a:lnTo>
                    <a:lnTo>
                      <a:pt x="330" y="188"/>
                    </a:lnTo>
                    <a:lnTo>
                      <a:pt x="332" y="207"/>
                    </a:lnTo>
                    <a:lnTo>
                      <a:pt x="338" y="236"/>
                    </a:lnTo>
                    <a:lnTo>
                      <a:pt x="357" y="242"/>
                    </a:lnTo>
                    <a:lnTo>
                      <a:pt x="375" y="248"/>
                    </a:lnTo>
                    <a:lnTo>
                      <a:pt x="398" y="257"/>
                    </a:lnTo>
                    <a:lnTo>
                      <a:pt x="415" y="269"/>
                    </a:lnTo>
                    <a:lnTo>
                      <a:pt x="424" y="27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36" name="Freeform 24">
                <a:extLst>
                  <a:ext uri="{FF2B5EF4-FFF2-40B4-BE49-F238E27FC236}">
                    <a16:creationId xmlns:a16="http://schemas.microsoft.com/office/drawing/2014/main" id="{32C9487B-F9E6-4C98-A6A5-2FBB65753681}"/>
                  </a:ext>
                </a:extLst>
              </p:cNvPr>
              <p:cNvSpPr>
                <a:spLocks/>
              </p:cNvSpPr>
              <p:nvPr/>
            </p:nvSpPr>
            <p:spPr bwMode="gray">
              <a:xfrm>
                <a:off x="4341367" y="3793150"/>
                <a:ext cx="266159" cy="216536"/>
              </a:xfrm>
              <a:custGeom>
                <a:avLst/>
                <a:gdLst>
                  <a:gd name="T0" fmla="*/ 215 w 236"/>
                  <a:gd name="T1" fmla="*/ 114 h 192"/>
                  <a:gd name="T2" fmla="*/ 232 w 236"/>
                  <a:gd name="T3" fmla="*/ 135 h 192"/>
                  <a:gd name="T4" fmla="*/ 236 w 236"/>
                  <a:gd name="T5" fmla="*/ 139 h 192"/>
                  <a:gd name="T6" fmla="*/ 236 w 236"/>
                  <a:gd name="T7" fmla="*/ 144 h 192"/>
                  <a:gd name="T8" fmla="*/ 234 w 236"/>
                  <a:gd name="T9" fmla="*/ 146 h 192"/>
                  <a:gd name="T10" fmla="*/ 234 w 236"/>
                  <a:gd name="T11" fmla="*/ 150 h 192"/>
                  <a:gd name="T12" fmla="*/ 230 w 236"/>
                  <a:gd name="T13" fmla="*/ 150 h 192"/>
                  <a:gd name="T14" fmla="*/ 202 w 236"/>
                  <a:gd name="T15" fmla="*/ 146 h 192"/>
                  <a:gd name="T16" fmla="*/ 202 w 236"/>
                  <a:gd name="T17" fmla="*/ 165 h 192"/>
                  <a:gd name="T18" fmla="*/ 202 w 236"/>
                  <a:gd name="T19" fmla="*/ 173 h 192"/>
                  <a:gd name="T20" fmla="*/ 190 w 236"/>
                  <a:gd name="T21" fmla="*/ 192 h 192"/>
                  <a:gd name="T22" fmla="*/ 179 w 236"/>
                  <a:gd name="T23" fmla="*/ 179 h 192"/>
                  <a:gd name="T24" fmla="*/ 161 w 236"/>
                  <a:gd name="T25" fmla="*/ 164 h 192"/>
                  <a:gd name="T26" fmla="*/ 144 w 236"/>
                  <a:gd name="T27" fmla="*/ 156 h 192"/>
                  <a:gd name="T28" fmla="*/ 140 w 236"/>
                  <a:gd name="T29" fmla="*/ 165 h 192"/>
                  <a:gd name="T30" fmla="*/ 140 w 236"/>
                  <a:gd name="T31" fmla="*/ 173 h 192"/>
                  <a:gd name="T32" fmla="*/ 134 w 236"/>
                  <a:gd name="T33" fmla="*/ 169 h 192"/>
                  <a:gd name="T34" fmla="*/ 131 w 236"/>
                  <a:gd name="T35" fmla="*/ 167 h 192"/>
                  <a:gd name="T36" fmla="*/ 119 w 236"/>
                  <a:gd name="T37" fmla="*/ 164 h 192"/>
                  <a:gd name="T38" fmla="*/ 119 w 236"/>
                  <a:gd name="T39" fmla="*/ 148 h 192"/>
                  <a:gd name="T40" fmla="*/ 108 w 236"/>
                  <a:gd name="T41" fmla="*/ 142 h 192"/>
                  <a:gd name="T42" fmla="*/ 96 w 236"/>
                  <a:gd name="T43" fmla="*/ 144 h 192"/>
                  <a:gd name="T44" fmla="*/ 83 w 236"/>
                  <a:gd name="T45" fmla="*/ 139 h 192"/>
                  <a:gd name="T46" fmla="*/ 75 w 236"/>
                  <a:gd name="T47" fmla="*/ 127 h 192"/>
                  <a:gd name="T48" fmla="*/ 81 w 236"/>
                  <a:gd name="T49" fmla="*/ 123 h 192"/>
                  <a:gd name="T50" fmla="*/ 88 w 236"/>
                  <a:gd name="T51" fmla="*/ 119 h 192"/>
                  <a:gd name="T52" fmla="*/ 100 w 236"/>
                  <a:gd name="T53" fmla="*/ 116 h 192"/>
                  <a:gd name="T54" fmla="*/ 92 w 236"/>
                  <a:gd name="T55" fmla="*/ 98 h 192"/>
                  <a:gd name="T56" fmla="*/ 83 w 236"/>
                  <a:gd name="T57" fmla="*/ 87 h 192"/>
                  <a:gd name="T58" fmla="*/ 75 w 236"/>
                  <a:gd name="T59" fmla="*/ 92 h 192"/>
                  <a:gd name="T60" fmla="*/ 63 w 236"/>
                  <a:gd name="T61" fmla="*/ 100 h 192"/>
                  <a:gd name="T62" fmla="*/ 56 w 236"/>
                  <a:gd name="T63" fmla="*/ 104 h 192"/>
                  <a:gd name="T64" fmla="*/ 50 w 236"/>
                  <a:gd name="T65" fmla="*/ 114 h 192"/>
                  <a:gd name="T66" fmla="*/ 31 w 236"/>
                  <a:gd name="T67" fmla="*/ 104 h 192"/>
                  <a:gd name="T68" fmla="*/ 23 w 236"/>
                  <a:gd name="T69" fmla="*/ 106 h 192"/>
                  <a:gd name="T70" fmla="*/ 17 w 236"/>
                  <a:gd name="T71" fmla="*/ 102 h 192"/>
                  <a:gd name="T72" fmla="*/ 12 w 236"/>
                  <a:gd name="T73" fmla="*/ 102 h 192"/>
                  <a:gd name="T74" fmla="*/ 0 w 236"/>
                  <a:gd name="T75" fmla="*/ 91 h 192"/>
                  <a:gd name="T76" fmla="*/ 13 w 236"/>
                  <a:gd name="T77" fmla="*/ 60 h 192"/>
                  <a:gd name="T78" fmla="*/ 29 w 236"/>
                  <a:gd name="T79" fmla="*/ 54 h 192"/>
                  <a:gd name="T80" fmla="*/ 92 w 236"/>
                  <a:gd name="T81" fmla="*/ 0 h 192"/>
                  <a:gd name="T82" fmla="*/ 138 w 236"/>
                  <a:gd name="T83" fmla="*/ 50 h 192"/>
                  <a:gd name="T84" fmla="*/ 190 w 236"/>
                  <a:gd name="T85" fmla="*/ 75 h 192"/>
                  <a:gd name="T86" fmla="*/ 221 w 236"/>
                  <a:gd name="T87" fmla="*/ 10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6" h="192">
                    <a:moveTo>
                      <a:pt x="221" y="104"/>
                    </a:moveTo>
                    <a:lnTo>
                      <a:pt x="215" y="114"/>
                    </a:lnTo>
                    <a:lnTo>
                      <a:pt x="236" y="131"/>
                    </a:lnTo>
                    <a:lnTo>
                      <a:pt x="232" y="135"/>
                    </a:lnTo>
                    <a:lnTo>
                      <a:pt x="236" y="137"/>
                    </a:lnTo>
                    <a:lnTo>
                      <a:pt x="236" y="139"/>
                    </a:lnTo>
                    <a:lnTo>
                      <a:pt x="234" y="140"/>
                    </a:lnTo>
                    <a:lnTo>
                      <a:pt x="236" y="144"/>
                    </a:lnTo>
                    <a:lnTo>
                      <a:pt x="234" y="144"/>
                    </a:lnTo>
                    <a:lnTo>
                      <a:pt x="234" y="146"/>
                    </a:lnTo>
                    <a:lnTo>
                      <a:pt x="234" y="148"/>
                    </a:lnTo>
                    <a:lnTo>
                      <a:pt x="234" y="150"/>
                    </a:lnTo>
                    <a:lnTo>
                      <a:pt x="232" y="150"/>
                    </a:lnTo>
                    <a:lnTo>
                      <a:pt x="230" y="150"/>
                    </a:lnTo>
                    <a:lnTo>
                      <a:pt x="207" y="137"/>
                    </a:lnTo>
                    <a:lnTo>
                      <a:pt x="202" y="146"/>
                    </a:lnTo>
                    <a:lnTo>
                      <a:pt x="205" y="158"/>
                    </a:lnTo>
                    <a:lnTo>
                      <a:pt x="202" y="165"/>
                    </a:lnTo>
                    <a:lnTo>
                      <a:pt x="205" y="167"/>
                    </a:lnTo>
                    <a:lnTo>
                      <a:pt x="202" y="173"/>
                    </a:lnTo>
                    <a:lnTo>
                      <a:pt x="200" y="169"/>
                    </a:lnTo>
                    <a:lnTo>
                      <a:pt x="190" y="192"/>
                    </a:lnTo>
                    <a:lnTo>
                      <a:pt x="182" y="190"/>
                    </a:lnTo>
                    <a:lnTo>
                      <a:pt x="179" y="179"/>
                    </a:lnTo>
                    <a:lnTo>
                      <a:pt x="173" y="171"/>
                    </a:lnTo>
                    <a:lnTo>
                      <a:pt x="161" y="164"/>
                    </a:lnTo>
                    <a:lnTo>
                      <a:pt x="156" y="160"/>
                    </a:lnTo>
                    <a:lnTo>
                      <a:pt x="144" y="156"/>
                    </a:lnTo>
                    <a:lnTo>
                      <a:pt x="142" y="160"/>
                    </a:lnTo>
                    <a:lnTo>
                      <a:pt x="140" y="165"/>
                    </a:lnTo>
                    <a:lnTo>
                      <a:pt x="140" y="171"/>
                    </a:lnTo>
                    <a:lnTo>
                      <a:pt x="140" y="173"/>
                    </a:lnTo>
                    <a:lnTo>
                      <a:pt x="134" y="171"/>
                    </a:lnTo>
                    <a:lnTo>
                      <a:pt x="134" y="169"/>
                    </a:lnTo>
                    <a:lnTo>
                      <a:pt x="133" y="169"/>
                    </a:lnTo>
                    <a:lnTo>
                      <a:pt x="131" y="167"/>
                    </a:lnTo>
                    <a:lnTo>
                      <a:pt x="127" y="167"/>
                    </a:lnTo>
                    <a:lnTo>
                      <a:pt x="119" y="164"/>
                    </a:lnTo>
                    <a:lnTo>
                      <a:pt x="121" y="158"/>
                    </a:lnTo>
                    <a:lnTo>
                      <a:pt x="119" y="148"/>
                    </a:lnTo>
                    <a:lnTo>
                      <a:pt x="109" y="139"/>
                    </a:lnTo>
                    <a:lnTo>
                      <a:pt x="108" y="142"/>
                    </a:lnTo>
                    <a:lnTo>
                      <a:pt x="100" y="139"/>
                    </a:lnTo>
                    <a:lnTo>
                      <a:pt x="96" y="144"/>
                    </a:lnTo>
                    <a:lnTo>
                      <a:pt x="88" y="144"/>
                    </a:lnTo>
                    <a:lnTo>
                      <a:pt x="83" y="139"/>
                    </a:lnTo>
                    <a:lnTo>
                      <a:pt x="77" y="131"/>
                    </a:lnTo>
                    <a:lnTo>
                      <a:pt x="75" y="127"/>
                    </a:lnTo>
                    <a:lnTo>
                      <a:pt x="81" y="127"/>
                    </a:lnTo>
                    <a:lnTo>
                      <a:pt x="81" y="123"/>
                    </a:lnTo>
                    <a:lnTo>
                      <a:pt x="85" y="119"/>
                    </a:lnTo>
                    <a:lnTo>
                      <a:pt x="88" y="119"/>
                    </a:lnTo>
                    <a:lnTo>
                      <a:pt x="90" y="117"/>
                    </a:lnTo>
                    <a:lnTo>
                      <a:pt x="100" y="116"/>
                    </a:lnTo>
                    <a:lnTo>
                      <a:pt x="98" y="108"/>
                    </a:lnTo>
                    <a:lnTo>
                      <a:pt x="92" y="98"/>
                    </a:lnTo>
                    <a:lnTo>
                      <a:pt x="94" y="92"/>
                    </a:lnTo>
                    <a:lnTo>
                      <a:pt x="83" y="87"/>
                    </a:lnTo>
                    <a:lnTo>
                      <a:pt x="81" y="85"/>
                    </a:lnTo>
                    <a:lnTo>
                      <a:pt x="75" y="92"/>
                    </a:lnTo>
                    <a:lnTo>
                      <a:pt x="71" y="102"/>
                    </a:lnTo>
                    <a:lnTo>
                      <a:pt x="63" y="100"/>
                    </a:lnTo>
                    <a:lnTo>
                      <a:pt x="61" y="106"/>
                    </a:lnTo>
                    <a:lnTo>
                      <a:pt x="56" y="104"/>
                    </a:lnTo>
                    <a:lnTo>
                      <a:pt x="52" y="112"/>
                    </a:lnTo>
                    <a:lnTo>
                      <a:pt x="50" y="114"/>
                    </a:lnTo>
                    <a:lnTo>
                      <a:pt x="40" y="110"/>
                    </a:lnTo>
                    <a:lnTo>
                      <a:pt x="31" y="104"/>
                    </a:lnTo>
                    <a:lnTo>
                      <a:pt x="27" y="108"/>
                    </a:lnTo>
                    <a:lnTo>
                      <a:pt x="23" y="106"/>
                    </a:lnTo>
                    <a:lnTo>
                      <a:pt x="23" y="104"/>
                    </a:lnTo>
                    <a:lnTo>
                      <a:pt x="17" y="102"/>
                    </a:lnTo>
                    <a:lnTo>
                      <a:pt x="13" y="106"/>
                    </a:lnTo>
                    <a:lnTo>
                      <a:pt x="12" y="102"/>
                    </a:lnTo>
                    <a:lnTo>
                      <a:pt x="8" y="98"/>
                    </a:lnTo>
                    <a:lnTo>
                      <a:pt x="0" y="91"/>
                    </a:lnTo>
                    <a:lnTo>
                      <a:pt x="12" y="71"/>
                    </a:lnTo>
                    <a:lnTo>
                      <a:pt x="13" y="60"/>
                    </a:lnTo>
                    <a:lnTo>
                      <a:pt x="19" y="58"/>
                    </a:lnTo>
                    <a:lnTo>
                      <a:pt x="29" y="54"/>
                    </a:lnTo>
                    <a:lnTo>
                      <a:pt x="35" y="50"/>
                    </a:lnTo>
                    <a:lnTo>
                      <a:pt x="92" y="0"/>
                    </a:lnTo>
                    <a:lnTo>
                      <a:pt x="123" y="35"/>
                    </a:lnTo>
                    <a:lnTo>
                      <a:pt x="138" y="50"/>
                    </a:lnTo>
                    <a:lnTo>
                      <a:pt x="171" y="66"/>
                    </a:lnTo>
                    <a:lnTo>
                      <a:pt x="190" y="75"/>
                    </a:lnTo>
                    <a:lnTo>
                      <a:pt x="205" y="83"/>
                    </a:lnTo>
                    <a:lnTo>
                      <a:pt x="221" y="10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37" name="Freeform 25">
                <a:extLst>
                  <a:ext uri="{FF2B5EF4-FFF2-40B4-BE49-F238E27FC236}">
                    <a16:creationId xmlns:a16="http://schemas.microsoft.com/office/drawing/2014/main" id="{7525AE5A-ECAF-4D6D-9286-A69B6C443A59}"/>
                  </a:ext>
                </a:extLst>
              </p:cNvPr>
              <p:cNvSpPr>
                <a:spLocks/>
              </p:cNvSpPr>
              <p:nvPr/>
            </p:nvSpPr>
            <p:spPr bwMode="gray">
              <a:xfrm>
                <a:off x="4296256" y="3889013"/>
                <a:ext cx="250370" cy="138719"/>
              </a:xfrm>
              <a:custGeom>
                <a:avLst/>
                <a:gdLst>
                  <a:gd name="T0" fmla="*/ 217 w 222"/>
                  <a:gd name="T1" fmla="*/ 104 h 123"/>
                  <a:gd name="T2" fmla="*/ 201 w 222"/>
                  <a:gd name="T3" fmla="*/ 105 h 123"/>
                  <a:gd name="T4" fmla="*/ 190 w 222"/>
                  <a:gd name="T5" fmla="*/ 111 h 123"/>
                  <a:gd name="T6" fmla="*/ 173 w 222"/>
                  <a:gd name="T7" fmla="*/ 123 h 123"/>
                  <a:gd name="T8" fmla="*/ 157 w 222"/>
                  <a:gd name="T9" fmla="*/ 107 h 123"/>
                  <a:gd name="T10" fmla="*/ 130 w 222"/>
                  <a:gd name="T11" fmla="*/ 100 h 123"/>
                  <a:gd name="T12" fmla="*/ 105 w 222"/>
                  <a:gd name="T13" fmla="*/ 79 h 123"/>
                  <a:gd name="T14" fmla="*/ 86 w 222"/>
                  <a:gd name="T15" fmla="*/ 61 h 123"/>
                  <a:gd name="T16" fmla="*/ 77 w 222"/>
                  <a:gd name="T17" fmla="*/ 57 h 123"/>
                  <a:gd name="T18" fmla="*/ 57 w 222"/>
                  <a:gd name="T19" fmla="*/ 54 h 123"/>
                  <a:gd name="T20" fmla="*/ 30 w 222"/>
                  <a:gd name="T21" fmla="*/ 71 h 123"/>
                  <a:gd name="T22" fmla="*/ 5 w 222"/>
                  <a:gd name="T23" fmla="*/ 77 h 123"/>
                  <a:gd name="T24" fmla="*/ 5 w 222"/>
                  <a:gd name="T25" fmla="*/ 61 h 123"/>
                  <a:gd name="T26" fmla="*/ 0 w 222"/>
                  <a:gd name="T27" fmla="*/ 52 h 123"/>
                  <a:gd name="T28" fmla="*/ 23 w 222"/>
                  <a:gd name="T29" fmla="*/ 46 h 123"/>
                  <a:gd name="T30" fmla="*/ 40 w 222"/>
                  <a:gd name="T31" fmla="*/ 34 h 123"/>
                  <a:gd name="T32" fmla="*/ 53 w 222"/>
                  <a:gd name="T33" fmla="*/ 21 h 123"/>
                  <a:gd name="T34" fmla="*/ 63 w 222"/>
                  <a:gd name="T35" fmla="*/ 19 h 123"/>
                  <a:gd name="T36" fmla="*/ 67 w 222"/>
                  <a:gd name="T37" fmla="*/ 23 h 123"/>
                  <a:gd name="T38" fmla="*/ 80 w 222"/>
                  <a:gd name="T39" fmla="*/ 25 h 123"/>
                  <a:gd name="T40" fmla="*/ 92 w 222"/>
                  <a:gd name="T41" fmla="*/ 27 h 123"/>
                  <a:gd name="T42" fmla="*/ 101 w 222"/>
                  <a:gd name="T43" fmla="*/ 21 h 123"/>
                  <a:gd name="T44" fmla="*/ 111 w 222"/>
                  <a:gd name="T45" fmla="*/ 17 h 123"/>
                  <a:gd name="T46" fmla="*/ 121 w 222"/>
                  <a:gd name="T47" fmla="*/ 0 h 123"/>
                  <a:gd name="T48" fmla="*/ 134 w 222"/>
                  <a:gd name="T49" fmla="*/ 7 h 123"/>
                  <a:gd name="T50" fmla="*/ 138 w 222"/>
                  <a:gd name="T51" fmla="*/ 23 h 123"/>
                  <a:gd name="T52" fmla="*/ 130 w 222"/>
                  <a:gd name="T53" fmla="*/ 32 h 123"/>
                  <a:gd name="T54" fmla="*/ 125 w 222"/>
                  <a:gd name="T55" fmla="*/ 34 h 123"/>
                  <a:gd name="T56" fmla="*/ 121 w 222"/>
                  <a:gd name="T57" fmla="*/ 42 h 123"/>
                  <a:gd name="T58" fmla="*/ 117 w 222"/>
                  <a:gd name="T59" fmla="*/ 46 h 123"/>
                  <a:gd name="T60" fmla="*/ 128 w 222"/>
                  <a:gd name="T61" fmla="*/ 59 h 123"/>
                  <a:gd name="T62" fmla="*/ 140 w 222"/>
                  <a:gd name="T63" fmla="*/ 54 h 123"/>
                  <a:gd name="T64" fmla="*/ 149 w 222"/>
                  <a:gd name="T65" fmla="*/ 54 h 123"/>
                  <a:gd name="T66" fmla="*/ 161 w 222"/>
                  <a:gd name="T67" fmla="*/ 73 h 123"/>
                  <a:gd name="T68" fmla="*/ 167 w 222"/>
                  <a:gd name="T69" fmla="*/ 82 h 123"/>
                  <a:gd name="T70" fmla="*/ 173 w 222"/>
                  <a:gd name="T71" fmla="*/ 84 h 123"/>
                  <a:gd name="T72" fmla="*/ 174 w 222"/>
                  <a:gd name="T73" fmla="*/ 86 h 123"/>
                  <a:gd name="T74" fmla="*/ 180 w 222"/>
                  <a:gd name="T75" fmla="*/ 86 h 123"/>
                  <a:gd name="T76" fmla="*/ 182 w 222"/>
                  <a:gd name="T77" fmla="*/ 75 h 123"/>
                  <a:gd name="T78" fmla="*/ 196 w 222"/>
                  <a:gd name="T79" fmla="*/ 75 h 123"/>
                  <a:gd name="T80" fmla="*/ 213 w 222"/>
                  <a:gd name="T81" fmla="*/ 86 h 123"/>
                  <a:gd name="T82" fmla="*/ 222 w 222"/>
                  <a:gd name="T83" fmla="*/ 105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2" h="123">
                    <a:moveTo>
                      <a:pt x="222" y="105"/>
                    </a:moveTo>
                    <a:lnTo>
                      <a:pt x="217" y="104"/>
                    </a:lnTo>
                    <a:lnTo>
                      <a:pt x="215" y="111"/>
                    </a:lnTo>
                    <a:lnTo>
                      <a:pt x="201" y="105"/>
                    </a:lnTo>
                    <a:lnTo>
                      <a:pt x="199" y="113"/>
                    </a:lnTo>
                    <a:lnTo>
                      <a:pt x="190" y="111"/>
                    </a:lnTo>
                    <a:lnTo>
                      <a:pt x="182" y="111"/>
                    </a:lnTo>
                    <a:lnTo>
                      <a:pt x="173" y="123"/>
                    </a:lnTo>
                    <a:lnTo>
                      <a:pt x="159" y="121"/>
                    </a:lnTo>
                    <a:lnTo>
                      <a:pt x="157" y="107"/>
                    </a:lnTo>
                    <a:lnTo>
                      <a:pt x="148" y="105"/>
                    </a:lnTo>
                    <a:lnTo>
                      <a:pt x="130" y="100"/>
                    </a:lnTo>
                    <a:lnTo>
                      <a:pt x="121" y="94"/>
                    </a:lnTo>
                    <a:lnTo>
                      <a:pt x="105" y="79"/>
                    </a:lnTo>
                    <a:lnTo>
                      <a:pt x="88" y="63"/>
                    </a:lnTo>
                    <a:lnTo>
                      <a:pt x="86" y="61"/>
                    </a:lnTo>
                    <a:lnTo>
                      <a:pt x="80" y="59"/>
                    </a:lnTo>
                    <a:lnTo>
                      <a:pt x="77" y="57"/>
                    </a:lnTo>
                    <a:lnTo>
                      <a:pt x="69" y="55"/>
                    </a:lnTo>
                    <a:lnTo>
                      <a:pt x="57" y="54"/>
                    </a:lnTo>
                    <a:lnTo>
                      <a:pt x="42" y="61"/>
                    </a:lnTo>
                    <a:lnTo>
                      <a:pt x="30" y="71"/>
                    </a:lnTo>
                    <a:lnTo>
                      <a:pt x="21" y="75"/>
                    </a:lnTo>
                    <a:lnTo>
                      <a:pt x="5" y="77"/>
                    </a:lnTo>
                    <a:lnTo>
                      <a:pt x="5" y="67"/>
                    </a:lnTo>
                    <a:lnTo>
                      <a:pt x="5" y="61"/>
                    </a:lnTo>
                    <a:lnTo>
                      <a:pt x="4" y="55"/>
                    </a:lnTo>
                    <a:lnTo>
                      <a:pt x="0" y="52"/>
                    </a:lnTo>
                    <a:lnTo>
                      <a:pt x="9" y="48"/>
                    </a:lnTo>
                    <a:lnTo>
                      <a:pt x="23" y="46"/>
                    </a:lnTo>
                    <a:lnTo>
                      <a:pt x="27" y="42"/>
                    </a:lnTo>
                    <a:lnTo>
                      <a:pt x="40" y="34"/>
                    </a:lnTo>
                    <a:lnTo>
                      <a:pt x="52" y="27"/>
                    </a:lnTo>
                    <a:lnTo>
                      <a:pt x="53" y="21"/>
                    </a:lnTo>
                    <a:lnTo>
                      <a:pt x="57" y="17"/>
                    </a:lnTo>
                    <a:lnTo>
                      <a:pt x="63" y="19"/>
                    </a:lnTo>
                    <a:lnTo>
                      <a:pt x="63" y="21"/>
                    </a:lnTo>
                    <a:lnTo>
                      <a:pt x="67" y="23"/>
                    </a:lnTo>
                    <a:lnTo>
                      <a:pt x="71" y="19"/>
                    </a:lnTo>
                    <a:lnTo>
                      <a:pt x="80" y="25"/>
                    </a:lnTo>
                    <a:lnTo>
                      <a:pt x="90" y="29"/>
                    </a:lnTo>
                    <a:lnTo>
                      <a:pt x="92" y="27"/>
                    </a:lnTo>
                    <a:lnTo>
                      <a:pt x="96" y="19"/>
                    </a:lnTo>
                    <a:lnTo>
                      <a:pt x="101" y="21"/>
                    </a:lnTo>
                    <a:lnTo>
                      <a:pt x="103" y="15"/>
                    </a:lnTo>
                    <a:lnTo>
                      <a:pt x="111" y="17"/>
                    </a:lnTo>
                    <a:lnTo>
                      <a:pt x="115" y="7"/>
                    </a:lnTo>
                    <a:lnTo>
                      <a:pt x="121" y="0"/>
                    </a:lnTo>
                    <a:lnTo>
                      <a:pt x="123" y="2"/>
                    </a:lnTo>
                    <a:lnTo>
                      <a:pt x="134" y="7"/>
                    </a:lnTo>
                    <a:lnTo>
                      <a:pt x="132" y="13"/>
                    </a:lnTo>
                    <a:lnTo>
                      <a:pt x="138" y="23"/>
                    </a:lnTo>
                    <a:lnTo>
                      <a:pt x="140" y="31"/>
                    </a:lnTo>
                    <a:lnTo>
                      <a:pt x="130" y="32"/>
                    </a:lnTo>
                    <a:lnTo>
                      <a:pt x="128" y="34"/>
                    </a:lnTo>
                    <a:lnTo>
                      <a:pt x="125" y="34"/>
                    </a:lnTo>
                    <a:lnTo>
                      <a:pt x="121" y="38"/>
                    </a:lnTo>
                    <a:lnTo>
                      <a:pt x="121" y="42"/>
                    </a:lnTo>
                    <a:lnTo>
                      <a:pt x="115" y="42"/>
                    </a:lnTo>
                    <a:lnTo>
                      <a:pt x="117" y="46"/>
                    </a:lnTo>
                    <a:lnTo>
                      <a:pt x="123" y="54"/>
                    </a:lnTo>
                    <a:lnTo>
                      <a:pt x="128" y="59"/>
                    </a:lnTo>
                    <a:lnTo>
                      <a:pt x="136" y="59"/>
                    </a:lnTo>
                    <a:lnTo>
                      <a:pt x="140" y="54"/>
                    </a:lnTo>
                    <a:lnTo>
                      <a:pt x="148" y="57"/>
                    </a:lnTo>
                    <a:lnTo>
                      <a:pt x="149" y="54"/>
                    </a:lnTo>
                    <a:lnTo>
                      <a:pt x="159" y="63"/>
                    </a:lnTo>
                    <a:lnTo>
                      <a:pt x="161" y="73"/>
                    </a:lnTo>
                    <a:lnTo>
                      <a:pt x="159" y="79"/>
                    </a:lnTo>
                    <a:lnTo>
                      <a:pt x="167" y="82"/>
                    </a:lnTo>
                    <a:lnTo>
                      <a:pt x="171" y="82"/>
                    </a:lnTo>
                    <a:lnTo>
                      <a:pt x="173" y="84"/>
                    </a:lnTo>
                    <a:lnTo>
                      <a:pt x="174" y="84"/>
                    </a:lnTo>
                    <a:lnTo>
                      <a:pt x="174" y="86"/>
                    </a:lnTo>
                    <a:lnTo>
                      <a:pt x="180" y="88"/>
                    </a:lnTo>
                    <a:lnTo>
                      <a:pt x="180" y="86"/>
                    </a:lnTo>
                    <a:lnTo>
                      <a:pt x="180" y="80"/>
                    </a:lnTo>
                    <a:lnTo>
                      <a:pt x="182" y="75"/>
                    </a:lnTo>
                    <a:lnTo>
                      <a:pt x="184" y="71"/>
                    </a:lnTo>
                    <a:lnTo>
                      <a:pt x="196" y="75"/>
                    </a:lnTo>
                    <a:lnTo>
                      <a:pt x="201" y="79"/>
                    </a:lnTo>
                    <a:lnTo>
                      <a:pt x="213" y="86"/>
                    </a:lnTo>
                    <a:lnTo>
                      <a:pt x="219" y="94"/>
                    </a:lnTo>
                    <a:lnTo>
                      <a:pt x="222" y="10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38" name="Freeform 26">
                <a:extLst>
                  <a:ext uri="{FF2B5EF4-FFF2-40B4-BE49-F238E27FC236}">
                    <a16:creationId xmlns:a16="http://schemas.microsoft.com/office/drawing/2014/main" id="{0D6C6120-A76F-4CDC-A537-5B2CDAD2121A}"/>
                  </a:ext>
                </a:extLst>
              </p:cNvPr>
              <p:cNvSpPr>
                <a:spLocks/>
              </p:cNvSpPr>
              <p:nvPr/>
            </p:nvSpPr>
            <p:spPr bwMode="gray">
              <a:xfrm>
                <a:off x="4300767" y="3949914"/>
                <a:ext cx="244732" cy="165786"/>
              </a:xfrm>
              <a:custGeom>
                <a:avLst/>
                <a:gdLst>
                  <a:gd name="T0" fmla="*/ 195 w 217"/>
                  <a:gd name="T1" fmla="*/ 59 h 147"/>
                  <a:gd name="T2" fmla="*/ 203 w 217"/>
                  <a:gd name="T3" fmla="*/ 63 h 147"/>
                  <a:gd name="T4" fmla="*/ 217 w 217"/>
                  <a:gd name="T5" fmla="*/ 86 h 147"/>
                  <a:gd name="T6" fmla="*/ 211 w 217"/>
                  <a:gd name="T7" fmla="*/ 96 h 147"/>
                  <a:gd name="T8" fmla="*/ 203 w 217"/>
                  <a:gd name="T9" fmla="*/ 103 h 147"/>
                  <a:gd name="T10" fmla="*/ 203 w 217"/>
                  <a:gd name="T11" fmla="*/ 109 h 147"/>
                  <a:gd name="T12" fmla="*/ 201 w 217"/>
                  <a:gd name="T13" fmla="*/ 109 h 147"/>
                  <a:gd name="T14" fmla="*/ 203 w 217"/>
                  <a:gd name="T15" fmla="*/ 113 h 147"/>
                  <a:gd name="T16" fmla="*/ 188 w 217"/>
                  <a:gd name="T17" fmla="*/ 136 h 147"/>
                  <a:gd name="T18" fmla="*/ 172 w 217"/>
                  <a:gd name="T19" fmla="*/ 144 h 147"/>
                  <a:gd name="T20" fmla="*/ 167 w 217"/>
                  <a:gd name="T21" fmla="*/ 147 h 147"/>
                  <a:gd name="T22" fmla="*/ 163 w 217"/>
                  <a:gd name="T23" fmla="*/ 140 h 147"/>
                  <a:gd name="T24" fmla="*/ 149 w 217"/>
                  <a:gd name="T25" fmla="*/ 130 h 147"/>
                  <a:gd name="T26" fmla="*/ 140 w 217"/>
                  <a:gd name="T27" fmla="*/ 130 h 147"/>
                  <a:gd name="T28" fmla="*/ 134 w 217"/>
                  <a:gd name="T29" fmla="*/ 132 h 147"/>
                  <a:gd name="T30" fmla="*/ 130 w 217"/>
                  <a:gd name="T31" fmla="*/ 130 h 147"/>
                  <a:gd name="T32" fmla="*/ 117 w 217"/>
                  <a:gd name="T33" fmla="*/ 132 h 147"/>
                  <a:gd name="T34" fmla="*/ 99 w 217"/>
                  <a:gd name="T35" fmla="*/ 101 h 147"/>
                  <a:gd name="T36" fmla="*/ 103 w 217"/>
                  <a:gd name="T37" fmla="*/ 90 h 147"/>
                  <a:gd name="T38" fmla="*/ 92 w 217"/>
                  <a:gd name="T39" fmla="*/ 92 h 147"/>
                  <a:gd name="T40" fmla="*/ 88 w 217"/>
                  <a:gd name="T41" fmla="*/ 94 h 147"/>
                  <a:gd name="T42" fmla="*/ 76 w 217"/>
                  <a:gd name="T43" fmla="*/ 96 h 147"/>
                  <a:gd name="T44" fmla="*/ 74 w 217"/>
                  <a:gd name="T45" fmla="*/ 92 h 147"/>
                  <a:gd name="T46" fmla="*/ 74 w 217"/>
                  <a:gd name="T47" fmla="*/ 88 h 147"/>
                  <a:gd name="T48" fmla="*/ 74 w 217"/>
                  <a:gd name="T49" fmla="*/ 76 h 147"/>
                  <a:gd name="T50" fmla="*/ 73 w 217"/>
                  <a:gd name="T51" fmla="*/ 65 h 147"/>
                  <a:gd name="T52" fmla="*/ 73 w 217"/>
                  <a:gd name="T53" fmla="*/ 61 h 147"/>
                  <a:gd name="T54" fmla="*/ 73 w 217"/>
                  <a:gd name="T55" fmla="*/ 59 h 147"/>
                  <a:gd name="T56" fmla="*/ 55 w 217"/>
                  <a:gd name="T57" fmla="*/ 61 h 147"/>
                  <a:gd name="T58" fmla="*/ 28 w 217"/>
                  <a:gd name="T59" fmla="*/ 57 h 147"/>
                  <a:gd name="T60" fmla="*/ 13 w 217"/>
                  <a:gd name="T61" fmla="*/ 50 h 147"/>
                  <a:gd name="T62" fmla="*/ 1 w 217"/>
                  <a:gd name="T63" fmla="*/ 44 h 147"/>
                  <a:gd name="T64" fmla="*/ 0 w 217"/>
                  <a:gd name="T65" fmla="*/ 36 h 147"/>
                  <a:gd name="T66" fmla="*/ 1 w 217"/>
                  <a:gd name="T67" fmla="*/ 28 h 147"/>
                  <a:gd name="T68" fmla="*/ 1 w 217"/>
                  <a:gd name="T69" fmla="*/ 23 h 147"/>
                  <a:gd name="T70" fmla="*/ 17 w 217"/>
                  <a:gd name="T71" fmla="*/ 21 h 147"/>
                  <a:gd name="T72" fmla="*/ 26 w 217"/>
                  <a:gd name="T73" fmla="*/ 17 h 147"/>
                  <a:gd name="T74" fmla="*/ 38 w 217"/>
                  <a:gd name="T75" fmla="*/ 7 h 147"/>
                  <a:gd name="T76" fmla="*/ 53 w 217"/>
                  <a:gd name="T77" fmla="*/ 0 h 147"/>
                  <a:gd name="T78" fmla="*/ 65 w 217"/>
                  <a:gd name="T79" fmla="*/ 1 h 147"/>
                  <a:gd name="T80" fmla="*/ 73 w 217"/>
                  <a:gd name="T81" fmla="*/ 3 h 147"/>
                  <a:gd name="T82" fmla="*/ 76 w 217"/>
                  <a:gd name="T83" fmla="*/ 5 h 147"/>
                  <a:gd name="T84" fmla="*/ 82 w 217"/>
                  <a:gd name="T85" fmla="*/ 7 h 147"/>
                  <a:gd name="T86" fmla="*/ 84 w 217"/>
                  <a:gd name="T87" fmla="*/ 9 h 147"/>
                  <a:gd name="T88" fmla="*/ 101 w 217"/>
                  <a:gd name="T89" fmla="*/ 25 h 147"/>
                  <a:gd name="T90" fmla="*/ 117 w 217"/>
                  <a:gd name="T91" fmla="*/ 40 h 147"/>
                  <a:gd name="T92" fmla="*/ 126 w 217"/>
                  <a:gd name="T93" fmla="*/ 46 h 147"/>
                  <a:gd name="T94" fmla="*/ 144 w 217"/>
                  <a:gd name="T95" fmla="*/ 51 h 147"/>
                  <a:gd name="T96" fmla="*/ 153 w 217"/>
                  <a:gd name="T97" fmla="*/ 53 h 147"/>
                  <a:gd name="T98" fmla="*/ 155 w 217"/>
                  <a:gd name="T99" fmla="*/ 67 h 147"/>
                  <a:gd name="T100" fmla="*/ 169 w 217"/>
                  <a:gd name="T101" fmla="*/ 69 h 147"/>
                  <a:gd name="T102" fmla="*/ 178 w 217"/>
                  <a:gd name="T103" fmla="*/ 57 h 147"/>
                  <a:gd name="T104" fmla="*/ 186 w 217"/>
                  <a:gd name="T105" fmla="*/ 57 h 147"/>
                  <a:gd name="T106" fmla="*/ 195 w 217"/>
                  <a:gd name="T107" fmla="*/ 5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7" h="147">
                    <a:moveTo>
                      <a:pt x="195" y="59"/>
                    </a:moveTo>
                    <a:lnTo>
                      <a:pt x="203" y="63"/>
                    </a:lnTo>
                    <a:lnTo>
                      <a:pt x="217" y="86"/>
                    </a:lnTo>
                    <a:lnTo>
                      <a:pt x="211" y="96"/>
                    </a:lnTo>
                    <a:lnTo>
                      <a:pt x="203" y="103"/>
                    </a:lnTo>
                    <a:lnTo>
                      <a:pt x="203" y="109"/>
                    </a:lnTo>
                    <a:lnTo>
                      <a:pt x="201" y="109"/>
                    </a:lnTo>
                    <a:lnTo>
                      <a:pt x="203" y="113"/>
                    </a:lnTo>
                    <a:lnTo>
                      <a:pt x="188" y="136"/>
                    </a:lnTo>
                    <a:lnTo>
                      <a:pt x="172" y="144"/>
                    </a:lnTo>
                    <a:lnTo>
                      <a:pt x="167" y="147"/>
                    </a:lnTo>
                    <a:lnTo>
                      <a:pt x="163" y="140"/>
                    </a:lnTo>
                    <a:lnTo>
                      <a:pt x="149" y="130"/>
                    </a:lnTo>
                    <a:lnTo>
                      <a:pt x="140" y="130"/>
                    </a:lnTo>
                    <a:lnTo>
                      <a:pt x="134" y="132"/>
                    </a:lnTo>
                    <a:lnTo>
                      <a:pt x="130" y="130"/>
                    </a:lnTo>
                    <a:lnTo>
                      <a:pt x="117" y="132"/>
                    </a:lnTo>
                    <a:lnTo>
                      <a:pt x="99" y="101"/>
                    </a:lnTo>
                    <a:lnTo>
                      <a:pt x="103" y="90"/>
                    </a:lnTo>
                    <a:lnTo>
                      <a:pt x="92" y="92"/>
                    </a:lnTo>
                    <a:lnTo>
                      <a:pt x="88" y="94"/>
                    </a:lnTo>
                    <a:lnTo>
                      <a:pt x="76" y="96"/>
                    </a:lnTo>
                    <a:lnTo>
                      <a:pt x="74" y="92"/>
                    </a:lnTo>
                    <a:lnTo>
                      <a:pt x="74" y="88"/>
                    </a:lnTo>
                    <a:lnTo>
                      <a:pt x="74" y="76"/>
                    </a:lnTo>
                    <a:lnTo>
                      <a:pt x="73" y="65"/>
                    </a:lnTo>
                    <a:lnTo>
                      <a:pt x="73" y="61"/>
                    </a:lnTo>
                    <a:lnTo>
                      <a:pt x="73" y="59"/>
                    </a:lnTo>
                    <a:lnTo>
                      <a:pt x="55" y="61"/>
                    </a:lnTo>
                    <a:lnTo>
                      <a:pt x="28" y="57"/>
                    </a:lnTo>
                    <a:lnTo>
                      <a:pt x="13" y="50"/>
                    </a:lnTo>
                    <a:lnTo>
                      <a:pt x="1" y="44"/>
                    </a:lnTo>
                    <a:lnTo>
                      <a:pt x="0" y="36"/>
                    </a:lnTo>
                    <a:lnTo>
                      <a:pt x="1" y="28"/>
                    </a:lnTo>
                    <a:lnTo>
                      <a:pt x="1" y="23"/>
                    </a:lnTo>
                    <a:lnTo>
                      <a:pt x="17" y="21"/>
                    </a:lnTo>
                    <a:lnTo>
                      <a:pt x="26" y="17"/>
                    </a:lnTo>
                    <a:lnTo>
                      <a:pt x="38" y="7"/>
                    </a:lnTo>
                    <a:lnTo>
                      <a:pt x="53" y="0"/>
                    </a:lnTo>
                    <a:lnTo>
                      <a:pt x="65" y="1"/>
                    </a:lnTo>
                    <a:lnTo>
                      <a:pt x="73" y="3"/>
                    </a:lnTo>
                    <a:lnTo>
                      <a:pt x="76" y="5"/>
                    </a:lnTo>
                    <a:lnTo>
                      <a:pt x="82" y="7"/>
                    </a:lnTo>
                    <a:lnTo>
                      <a:pt x="84" y="9"/>
                    </a:lnTo>
                    <a:lnTo>
                      <a:pt x="101" y="25"/>
                    </a:lnTo>
                    <a:lnTo>
                      <a:pt x="117" y="40"/>
                    </a:lnTo>
                    <a:lnTo>
                      <a:pt x="126" y="46"/>
                    </a:lnTo>
                    <a:lnTo>
                      <a:pt x="144" y="51"/>
                    </a:lnTo>
                    <a:lnTo>
                      <a:pt x="153" y="53"/>
                    </a:lnTo>
                    <a:lnTo>
                      <a:pt x="155" y="67"/>
                    </a:lnTo>
                    <a:lnTo>
                      <a:pt x="169" y="69"/>
                    </a:lnTo>
                    <a:lnTo>
                      <a:pt x="178" y="57"/>
                    </a:lnTo>
                    <a:lnTo>
                      <a:pt x="186" y="57"/>
                    </a:lnTo>
                    <a:lnTo>
                      <a:pt x="195" y="5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39" name="Freeform 27">
                <a:extLst>
                  <a:ext uri="{FF2B5EF4-FFF2-40B4-BE49-F238E27FC236}">
                    <a16:creationId xmlns:a16="http://schemas.microsoft.com/office/drawing/2014/main" id="{2EBB7456-4518-4AF3-A631-FA4E5CE270C6}"/>
                  </a:ext>
                </a:extLst>
              </p:cNvPr>
              <p:cNvSpPr>
                <a:spLocks/>
              </p:cNvSpPr>
              <p:nvPr/>
            </p:nvSpPr>
            <p:spPr bwMode="gray">
              <a:xfrm>
                <a:off x="4047013" y="3724355"/>
                <a:ext cx="398112" cy="381194"/>
              </a:xfrm>
              <a:custGeom>
                <a:avLst/>
                <a:gdLst>
                  <a:gd name="T0" fmla="*/ 303 w 353"/>
                  <a:gd name="T1" fmla="*/ 301 h 338"/>
                  <a:gd name="T2" fmla="*/ 309 w 353"/>
                  <a:gd name="T3" fmla="*/ 334 h 338"/>
                  <a:gd name="T4" fmla="*/ 294 w 353"/>
                  <a:gd name="T5" fmla="*/ 330 h 338"/>
                  <a:gd name="T6" fmla="*/ 271 w 353"/>
                  <a:gd name="T7" fmla="*/ 328 h 338"/>
                  <a:gd name="T8" fmla="*/ 242 w 353"/>
                  <a:gd name="T9" fmla="*/ 338 h 338"/>
                  <a:gd name="T10" fmla="*/ 226 w 353"/>
                  <a:gd name="T11" fmla="*/ 330 h 338"/>
                  <a:gd name="T12" fmla="*/ 198 w 353"/>
                  <a:gd name="T13" fmla="*/ 317 h 338"/>
                  <a:gd name="T14" fmla="*/ 180 w 353"/>
                  <a:gd name="T15" fmla="*/ 317 h 338"/>
                  <a:gd name="T16" fmla="*/ 169 w 353"/>
                  <a:gd name="T17" fmla="*/ 315 h 338"/>
                  <a:gd name="T18" fmla="*/ 148 w 353"/>
                  <a:gd name="T19" fmla="*/ 311 h 338"/>
                  <a:gd name="T20" fmla="*/ 154 w 353"/>
                  <a:gd name="T21" fmla="*/ 286 h 338"/>
                  <a:gd name="T22" fmla="*/ 84 w 353"/>
                  <a:gd name="T23" fmla="*/ 286 h 338"/>
                  <a:gd name="T24" fmla="*/ 79 w 353"/>
                  <a:gd name="T25" fmla="*/ 278 h 338"/>
                  <a:gd name="T26" fmla="*/ 73 w 353"/>
                  <a:gd name="T27" fmla="*/ 269 h 338"/>
                  <a:gd name="T28" fmla="*/ 71 w 353"/>
                  <a:gd name="T29" fmla="*/ 257 h 338"/>
                  <a:gd name="T30" fmla="*/ 71 w 353"/>
                  <a:gd name="T31" fmla="*/ 253 h 338"/>
                  <a:gd name="T32" fmla="*/ 69 w 353"/>
                  <a:gd name="T33" fmla="*/ 250 h 338"/>
                  <a:gd name="T34" fmla="*/ 59 w 353"/>
                  <a:gd name="T35" fmla="*/ 253 h 338"/>
                  <a:gd name="T36" fmla="*/ 56 w 353"/>
                  <a:gd name="T37" fmla="*/ 251 h 338"/>
                  <a:gd name="T38" fmla="*/ 52 w 353"/>
                  <a:gd name="T39" fmla="*/ 251 h 338"/>
                  <a:gd name="T40" fmla="*/ 42 w 353"/>
                  <a:gd name="T41" fmla="*/ 250 h 338"/>
                  <a:gd name="T42" fmla="*/ 36 w 353"/>
                  <a:gd name="T43" fmla="*/ 248 h 338"/>
                  <a:gd name="T44" fmla="*/ 27 w 353"/>
                  <a:gd name="T45" fmla="*/ 246 h 338"/>
                  <a:gd name="T46" fmla="*/ 19 w 353"/>
                  <a:gd name="T47" fmla="*/ 228 h 338"/>
                  <a:gd name="T48" fmla="*/ 17 w 353"/>
                  <a:gd name="T49" fmla="*/ 217 h 338"/>
                  <a:gd name="T50" fmla="*/ 11 w 353"/>
                  <a:gd name="T51" fmla="*/ 188 h 338"/>
                  <a:gd name="T52" fmla="*/ 11 w 353"/>
                  <a:gd name="T53" fmla="*/ 180 h 338"/>
                  <a:gd name="T54" fmla="*/ 4 w 353"/>
                  <a:gd name="T55" fmla="*/ 175 h 338"/>
                  <a:gd name="T56" fmla="*/ 2 w 353"/>
                  <a:gd name="T57" fmla="*/ 165 h 338"/>
                  <a:gd name="T58" fmla="*/ 15 w 353"/>
                  <a:gd name="T59" fmla="*/ 134 h 338"/>
                  <a:gd name="T60" fmla="*/ 19 w 353"/>
                  <a:gd name="T61" fmla="*/ 125 h 338"/>
                  <a:gd name="T62" fmla="*/ 29 w 353"/>
                  <a:gd name="T63" fmla="*/ 90 h 338"/>
                  <a:gd name="T64" fmla="*/ 48 w 353"/>
                  <a:gd name="T65" fmla="*/ 73 h 338"/>
                  <a:gd name="T66" fmla="*/ 77 w 353"/>
                  <a:gd name="T67" fmla="*/ 48 h 338"/>
                  <a:gd name="T68" fmla="*/ 84 w 353"/>
                  <a:gd name="T69" fmla="*/ 42 h 338"/>
                  <a:gd name="T70" fmla="*/ 96 w 353"/>
                  <a:gd name="T71" fmla="*/ 36 h 338"/>
                  <a:gd name="T72" fmla="*/ 111 w 353"/>
                  <a:gd name="T73" fmla="*/ 23 h 338"/>
                  <a:gd name="T74" fmla="*/ 117 w 353"/>
                  <a:gd name="T75" fmla="*/ 17 h 338"/>
                  <a:gd name="T76" fmla="*/ 121 w 353"/>
                  <a:gd name="T77" fmla="*/ 0 h 338"/>
                  <a:gd name="T78" fmla="*/ 150 w 353"/>
                  <a:gd name="T79" fmla="*/ 4 h 338"/>
                  <a:gd name="T80" fmla="*/ 203 w 353"/>
                  <a:gd name="T81" fmla="*/ 13 h 338"/>
                  <a:gd name="T82" fmla="*/ 248 w 353"/>
                  <a:gd name="T83" fmla="*/ 27 h 338"/>
                  <a:gd name="T84" fmla="*/ 263 w 353"/>
                  <a:gd name="T85" fmla="*/ 31 h 338"/>
                  <a:gd name="T86" fmla="*/ 353 w 353"/>
                  <a:gd name="T87" fmla="*/ 61 h 338"/>
                  <a:gd name="T88" fmla="*/ 290 w 353"/>
                  <a:gd name="T89" fmla="*/ 115 h 338"/>
                  <a:gd name="T90" fmla="*/ 274 w 353"/>
                  <a:gd name="T91" fmla="*/ 121 h 338"/>
                  <a:gd name="T92" fmla="*/ 261 w 353"/>
                  <a:gd name="T93" fmla="*/ 152 h 338"/>
                  <a:gd name="T94" fmla="*/ 273 w 353"/>
                  <a:gd name="T95" fmla="*/ 163 h 338"/>
                  <a:gd name="T96" fmla="*/ 273 w 353"/>
                  <a:gd name="T97" fmla="*/ 173 h 338"/>
                  <a:gd name="T98" fmla="*/ 248 w 353"/>
                  <a:gd name="T99" fmla="*/ 188 h 338"/>
                  <a:gd name="T100" fmla="*/ 230 w 353"/>
                  <a:gd name="T101" fmla="*/ 194 h 338"/>
                  <a:gd name="T102" fmla="*/ 225 w 353"/>
                  <a:gd name="T103" fmla="*/ 201 h 338"/>
                  <a:gd name="T104" fmla="*/ 226 w 353"/>
                  <a:gd name="T105" fmla="*/ 213 h 338"/>
                  <a:gd name="T106" fmla="*/ 226 w 353"/>
                  <a:gd name="T107" fmla="*/ 228 h 338"/>
                  <a:gd name="T108" fmla="*/ 226 w 353"/>
                  <a:gd name="T109" fmla="*/ 244 h 338"/>
                  <a:gd name="T110" fmla="*/ 253 w 353"/>
                  <a:gd name="T111" fmla="*/ 257 h 338"/>
                  <a:gd name="T112" fmla="*/ 298 w 353"/>
                  <a:gd name="T113" fmla="*/ 259 h 338"/>
                  <a:gd name="T114" fmla="*/ 298 w 353"/>
                  <a:gd name="T115" fmla="*/ 265 h 338"/>
                  <a:gd name="T116" fmla="*/ 299 w 353"/>
                  <a:gd name="T117" fmla="*/ 288 h 338"/>
                  <a:gd name="T118" fmla="*/ 301 w 353"/>
                  <a:gd name="T119" fmla="*/ 296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3" h="338">
                    <a:moveTo>
                      <a:pt x="301" y="296"/>
                    </a:moveTo>
                    <a:lnTo>
                      <a:pt x="303" y="301"/>
                    </a:lnTo>
                    <a:lnTo>
                      <a:pt x="317" y="334"/>
                    </a:lnTo>
                    <a:lnTo>
                      <a:pt x="309" y="334"/>
                    </a:lnTo>
                    <a:lnTo>
                      <a:pt x="296" y="332"/>
                    </a:lnTo>
                    <a:lnTo>
                      <a:pt x="294" y="330"/>
                    </a:lnTo>
                    <a:lnTo>
                      <a:pt x="286" y="330"/>
                    </a:lnTo>
                    <a:lnTo>
                      <a:pt x="271" y="328"/>
                    </a:lnTo>
                    <a:lnTo>
                      <a:pt x="253" y="332"/>
                    </a:lnTo>
                    <a:lnTo>
                      <a:pt x="242" y="338"/>
                    </a:lnTo>
                    <a:lnTo>
                      <a:pt x="230" y="332"/>
                    </a:lnTo>
                    <a:lnTo>
                      <a:pt x="226" y="330"/>
                    </a:lnTo>
                    <a:lnTo>
                      <a:pt x="203" y="317"/>
                    </a:lnTo>
                    <a:lnTo>
                      <a:pt x="198" y="317"/>
                    </a:lnTo>
                    <a:lnTo>
                      <a:pt x="196" y="317"/>
                    </a:lnTo>
                    <a:lnTo>
                      <a:pt x="180" y="317"/>
                    </a:lnTo>
                    <a:lnTo>
                      <a:pt x="171" y="317"/>
                    </a:lnTo>
                    <a:lnTo>
                      <a:pt x="169" y="315"/>
                    </a:lnTo>
                    <a:lnTo>
                      <a:pt x="161" y="311"/>
                    </a:lnTo>
                    <a:lnTo>
                      <a:pt x="148" y="311"/>
                    </a:lnTo>
                    <a:lnTo>
                      <a:pt x="148" y="307"/>
                    </a:lnTo>
                    <a:lnTo>
                      <a:pt x="154" y="286"/>
                    </a:lnTo>
                    <a:lnTo>
                      <a:pt x="113" y="284"/>
                    </a:lnTo>
                    <a:lnTo>
                      <a:pt x="84" y="286"/>
                    </a:lnTo>
                    <a:lnTo>
                      <a:pt x="82" y="282"/>
                    </a:lnTo>
                    <a:lnTo>
                      <a:pt x="79" y="278"/>
                    </a:lnTo>
                    <a:lnTo>
                      <a:pt x="77" y="273"/>
                    </a:lnTo>
                    <a:lnTo>
                      <a:pt x="73" y="269"/>
                    </a:lnTo>
                    <a:lnTo>
                      <a:pt x="69" y="265"/>
                    </a:lnTo>
                    <a:lnTo>
                      <a:pt x="71" y="257"/>
                    </a:lnTo>
                    <a:lnTo>
                      <a:pt x="71" y="255"/>
                    </a:lnTo>
                    <a:lnTo>
                      <a:pt x="71" y="253"/>
                    </a:lnTo>
                    <a:lnTo>
                      <a:pt x="71" y="251"/>
                    </a:lnTo>
                    <a:lnTo>
                      <a:pt x="69" y="250"/>
                    </a:lnTo>
                    <a:lnTo>
                      <a:pt x="65" y="248"/>
                    </a:lnTo>
                    <a:lnTo>
                      <a:pt x="59" y="253"/>
                    </a:lnTo>
                    <a:lnTo>
                      <a:pt x="58" y="251"/>
                    </a:lnTo>
                    <a:lnTo>
                      <a:pt x="56" y="251"/>
                    </a:lnTo>
                    <a:lnTo>
                      <a:pt x="54" y="251"/>
                    </a:lnTo>
                    <a:lnTo>
                      <a:pt x="52" y="251"/>
                    </a:lnTo>
                    <a:lnTo>
                      <a:pt x="48" y="251"/>
                    </a:lnTo>
                    <a:lnTo>
                      <a:pt x="42" y="250"/>
                    </a:lnTo>
                    <a:lnTo>
                      <a:pt x="40" y="248"/>
                    </a:lnTo>
                    <a:lnTo>
                      <a:pt x="36" y="248"/>
                    </a:lnTo>
                    <a:lnTo>
                      <a:pt x="31" y="248"/>
                    </a:lnTo>
                    <a:lnTo>
                      <a:pt x="27" y="246"/>
                    </a:lnTo>
                    <a:lnTo>
                      <a:pt x="23" y="240"/>
                    </a:lnTo>
                    <a:lnTo>
                      <a:pt x="19" y="228"/>
                    </a:lnTo>
                    <a:lnTo>
                      <a:pt x="17" y="225"/>
                    </a:lnTo>
                    <a:lnTo>
                      <a:pt x="17" y="217"/>
                    </a:lnTo>
                    <a:lnTo>
                      <a:pt x="13" y="213"/>
                    </a:lnTo>
                    <a:lnTo>
                      <a:pt x="11" y="188"/>
                    </a:lnTo>
                    <a:lnTo>
                      <a:pt x="11" y="184"/>
                    </a:lnTo>
                    <a:lnTo>
                      <a:pt x="11" y="180"/>
                    </a:lnTo>
                    <a:lnTo>
                      <a:pt x="10" y="178"/>
                    </a:lnTo>
                    <a:lnTo>
                      <a:pt x="4" y="175"/>
                    </a:lnTo>
                    <a:lnTo>
                      <a:pt x="0" y="173"/>
                    </a:lnTo>
                    <a:lnTo>
                      <a:pt x="2" y="165"/>
                    </a:lnTo>
                    <a:lnTo>
                      <a:pt x="4" y="159"/>
                    </a:lnTo>
                    <a:lnTo>
                      <a:pt x="15" y="134"/>
                    </a:lnTo>
                    <a:lnTo>
                      <a:pt x="17" y="130"/>
                    </a:lnTo>
                    <a:lnTo>
                      <a:pt x="19" y="125"/>
                    </a:lnTo>
                    <a:lnTo>
                      <a:pt x="21" y="115"/>
                    </a:lnTo>
                    <a:lnTo>
                      <a:pt x="29" y="90"/>
                    </a:lnTo>
                    <a:lnTo>
                      <a:pt x="42" y="79"/>
                    </a:lnTo>
                    <a:lnTo>
                      <a:pt x="48" y="73"/>
                    </a:lnTo>
                    <a:lnTo>
                      <a:pt x="67" y="55"/>
                    </a:lnTo>
                    <a:lnTo>
                      <a:pt x="77" y="48"/>
                    </a:lnTo>
                    <a:lnTo>
                      <a:pt x="82" y="44"/>
                    </a:lnTo>
                    <a:lnTo>
                      <a:pt x="84" y="42"/>
                    </a:lnTo>
                    <a:lnTo>
                      <a:pt x="92" y="38"/>
                    </a:lnTo>
                    <a:lnTo>
                      <a:pt x="96" y="36"/>
                    </a:lnTo>
                    <a:lnTo>
                      <a:pt x="102" y="32"/>
                    </a:lnTo>
                    <a:lnTo>
                      <a:pt x="111" y="23"/>
                    </a:lnTo>
                    <a:lnTo>
                      <a:pt x="113" y="19"/>
                    </a:lnTo>
                    <a:lnTo>
                      <a:pt x="117" y="17"/>
                    </a:lnTo>
                    <a:lnTo>
                      <a:pt x="119" y="11"/>
                    </a:lnTo>
                    <a:lnTo>
                      <a:pt x="121" y="0"/>
                    </a:lnTo>
                    <a:lnTo>
                      <a:pt x="127" y="0"/>
                    </a:lnTo>
                    <a:lnTo>
                      <a:pt x="150" y="4"/>
                    </a:lnTo>
                    <a:lnTo>
                      <a:pt x="178" y="7"/>
                    </a:lnTo>
                    <a:lnTo>
                      <a:pt x="203" y="13"/>
                    </a:lnTo>
                    <a:lnTo>
                      <a:pt x="217" y="17"/>
                    </a:lnTo>
                    <a:lnTo>
                      <a:pt x="248" y="27"/>
                    </a:lnTo>
                    <a:lnTo>
                      <a:pt x="250" y="27"/>
                    </a:lnTo>
                    <a:lnTo>
                      <a:pt x="263" y="31"/>
                    </a:lnTo>
                    <a:lnTo>
                      <a:pt x="315" y="50"/>
                    </a:lnTo>
                    <a:lnTo>
                      <a:pt x="353" y="61"/>
                    </a:lnTo>
                    <a:lnTo>
                      <a:pt x="296" y="111"/>
                    </a:lnTo>
                    <a:lnTo>
                      <a:pt x="290" y="115"/>
                    </a:lnTo>
                    <a:lnTo>
                      <a:pt x="280" y="119"/>
                    </a:lnTo>
                    <a:lnTo>
                      <a:pt x="274" y="121"/>
                    </a:lnTo>
                    <a:lnTo>
                      <a:pt x="273" y="132"/>
                    </a:lnTo>
                    <a:lnTo>
                      <a:pt x="261" y="152"/>
                    </a:lnTo>
                    <a:lnTo>
                      <a:pt x="269" y="159"/>
                    </a:lnTo>
                    <a:lnTo>
                      <a:pt x="273" y="163"/>
                    </a:lnTo>
                    <a:lnTo>
                      <a:pt x="274" y="167"/>
                    </a:lnTo>
                    <a:lnTo>
                      <a:pt x="273" y="173"/>
                    </a:lnTo>
                    <a:lnTo>
                      <a:pt x="261" y="180"/>
                    </a:lnTo>
                    <a:lnTo>
                      <a:pt x="248" y="188"/>
                    </a:lnTo>
                    <a:lnTo>
                      <a:pt x="244" y="192"/>
                    </a:lnTo>
                    <a:lnTo>
                      <a:pt x="230" y="194"/>
                    </a:lnTo>
                    <a:lnTo>
                      <a:pt x="221" y="198"/>
                    </a:lnTo>
                    <a:lnTo>
                      <a:pt x="225" y="201"/>
                    </a:lnTo>
                    <a:lnTo>
                      <a:pt x="226" y="207"/>
                    </a:lnTo>
                    <a:lnTo>
                      <a:pt x="226" y="213"/>
                    </a:lnTo>
                    <a:lnTo>
                      <a:pt x="226" y="223"/>
                    </a:lnTo>
                    <a:lnTo>
                      <a:pt x="226" y="228"/>
                    </a:lnTo>
                    <a:lnTo>
                      <a:pt x="225" y="236"/>
                    </a:lnTo>
                    <a:lnTo>
                      <a:pt x="226" y="244"/>
                    </a:lnTo>
                    <a:lnTo>
                      <a:pt x="238" y="250"/>
                    </a:lnTo>
                    <a:lnTo>
                      <a:pt x="253" y="257"/>
                    </a:lnTo>
                    <a:lnTo>
                      <a:pt x="280" y="261"/>
                    </a:lnTo>
                    <a:lnTo>
                      <a:pt x="298" y="259"/>
                    </a:lnTo>
                    <a:lnTo>
                      <a:pt x="298" y="261"/>
                    </a:lnTo>
                    <a:lnTo>
                      <a:pt x="298" y="265"/>
                    </a:lnTo>
                    <a:lnTo>
                      <a:pt x="299" y="276"/>
                    </a:lnTo>
                    <a:lnTo>
                      <a:pt x="299" y="288"/>
                    </a:lnTo>
                    <a:lnTo>
                      <a:pt x="299" y="292"/>
                    </a:lnTo>
                    <a:lnTo>
                      <a:pt x="301" y="29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40" name="Freeform 28">
                <a:extLst>
                  <a:ext uri="{FF2B5EF4-FFF2-40B4-BE49-F238E27FC236}">
                    <a16:creationId xmlns:a16="http://schemas.microsoft.com/office/drawing/2014/main" id="{BA598019-2D60-4543-902E-2C3BFDE9F0C9}"/>
                  </a:ext>
                </a:extLst>
              </p:cNvPr>
              <p:cNvSpPr>
                <a:spLocks/>
              </p:cNvSpPr>
              <p:nvPr/>
            </p:nvSpPr>
            <p:spPr bwMode="gray">
              <a:xfrm>
                <a:off x="3380487" y="3501052"/>
                <a:ext cx="343977" cy="606753"/>
              </a:xfrm>
              <a:custGeom>
                <a:avLst/>
                <a:gdLst>
                  <a:gd name="T0" fmla="*/ 109 w 305"/>
                  <a:gd name="T1" fmla="*/ 444 h 538"/>
                  <a:gd name="T2" fmla="*/ 71 w 305"/>
                  <a:gd name="T3" fmla="*/ 365 h 538"/>
                  <a:gd name="T4" fmla="*/ 26 w 305"/>
                  <a:gd name="T5" fmla="*/ 338 h 538"/>
                  <a:gd name="T6" fmla="*/ 5 w 305"/>
                  <a:gd name="T7" fmla="*/ 330 h 538"/>
                  <a:gd name="T8" fmla="*/ 0 w 305"/>
                  <a:gd name="T9" fmla="*/ 317 h 538"/>
                  <a:gd name="T10" fmla="*/ 11 w 305"/>
                  <a:gd name="T11" fmla="*/ 282 h 538"/>
                  <a:gd name="T12" fmla="*/ 30 w 305"/>
                  <a:gd name="T13" fmla="*/ 252 h 538"/>
                  <a:gd name="T14" fmla="*/ 49 w 305"/>
                  <a:gd name="T15" fmla="*/ 215 h 538"/>
                  <a:gd name="T16" fmla="*/ 49 w 305"/>
                  <a:gd name="T17" fmla="*/ 200 h 538"/>
                  <a:gd name="T18" fmla="*/ 28 w 305"/>
                  <a:gd name="T19" fmla="*/ 163 h 538"/>
                  <a:gd name="T20" fmla="*/ 26 w 305"/>
                  <a:gd name="T21" fmla="*/ 134 h 538"/>
                  <a:gd name="T22" fmla="*/ 15 w 305"/>
                  <a:gd name="T23" fmla="*/ 0 h 538"/>
                  <a:gd name="T24" fmla="*/ 80 w 305"/>
                  <a:gd name="T25" fmla="*/ 36 h 538"/>
                  <a:gd name="T26" fmla="*/ 109 w 305"/>
                  <a:gd name="T27" fmla="*/ 54 h 538"/>
                  <a:gd name="T28" fmla="*/ 145 w 305"/>
                  <a:gd name="T29" fmla="*/ 73 h 538"/>
                  <a:gd name="T30" fmla="*/ 203 w 305"/>
                  <a:gd name="T31" fmla="*/ 102 h 538"/>
                  <a:gd name="T32" fmla="*/ 224 w 305"/>
                  <a:gd name="T33" fmla="*/ 113 h 538"/>
                  <a:gd name="T34" fmla="*/ 234 w 305"/>
                  <a:gd name="T35" fmla="*/ 127 h 538"/>
                  <a:gd name="T36" fmla="*/ 305 w 305"/>
                  <a:gd name="T37" fmla="*/ 163 h 538"/>
                  <a:gd name="T38" fmla="*/ 295 w 305"/>
                  <a:gd name="T39" fmla="*/ 177 h 538"/>
                  <a:gd name="T40" fmla="*/ 276 w 305"/>
                  <a:gd name="T41" fmla="*/ 186 h 538"/>
                  <a:gd name="T42" fmla="*/ 257 w 305"/>
                  <a:gd name="T43" fmla="*/ 213 h 538"/>
                  <a:gd name="T44" fmla="*/ 253 w 305"/>
                  <a:gd name="T45" fmla="*/ 229 h 538"/>
                  <a:gd name="T46" fmla="*/ 255 w 305"/>
                  <a:gd name="T47" fmla="*/ 242 h 538"/>
                  <a:gd name="T48" fmla="*/ 263 w 305"/>
                  <a:gd name="T49" fmla="*/ 269 h 538"/>
                  <a:gd name="T50" fmla="*/ 266 w 305"/>
                  <a:gd name="T51" fmla="*/ 300 h 538"/>
                  <a:gd name="T52" fmla="*/ 266 w 305"/>
                  <a:gd name="T53" fmla="*/ 317 h 538"/>
                  <a:gd name="T54" fmla="*/ 266 w 305"/>
                  <a:gd name="T55" fmla="*/ 336 h 538"/>
                  <a:gd name="T56" fmla="*/ 264 w 305"/>
                  <a:gd name="T57" fmla="*/ 363 h 538"/>
                  <a:gd name="T58" fmla="*/ 257 w 305"/>
                  <a:gd name="T59" fmla="*/ 394 h 538"/>
                  <a:gd name="T60" fmla="*/ 257 w 305"/>
                  <a:gd name="T61" fmla="*/ 413 h 538"/>
                  <a:gd name="T62" fmla="*/ 251 w 305"/>
                  <a:gd name="T63" fmla="*/ 424 h 538"/>
                  <a:gd name="T64" fmla="*/ 240 w 305"/>
                  <a:gd name="T65" fmla="*/ 474 h 538"/>
                  <a:gd name="T66" fmla="*/ 232 w 305"/>
                  <a:gd name="T67" fmla="*/ 517 h 538"/>
                  <a:gd name="T68" fmla="*/ 226 w 305"/>
                  <a:gd name="T69" fmla="*/ 526 h 538"/>
                  <a:gd name="T70" fmla="*/ 216 w 305"/>
                  <a:gd name="T71" fmla="*/ 538 h 538"/>
                  <a:gd name="T72" fmla="*/ 203 w 305"/>
                  <a:gd name="T73" fmla="*/ 524 h 538"/>
                  <a:gd name="T74" fmla="*/ 149 w 305"/>
                  <a:gd name="T75" fmla="*/ 436 h 538"/>
                  <a:gd name="T76" fmla="*/ 120 w 305"/>
                  <a:gd name="T77" fmla="*/ 457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5" h="538">
                    <a:moveTo>
                      <a:pt x="120" y="457"/>
                    </a:moveTo>
                    <a:lnTo>
                      <a:pt x="109" y="444"/>
                    </a:lnTo>
                    <a:lnTo>
                      <a:pt x="80" y="392"/>
                    </a:lnTo>
                    <a:lnTo>
                      <a:pt x="71" y="365"/>
                    </a:lnTo>
                    <a:lnTo>
                      <a:pt x="55" y="350"/>
                    </a:lnTo>
                    <a:lnTo>
                      <a:pt x="26" y="338"/>
                    </a:lnTo>
                    <a:lnTo>
                      <a:pt x="13" y="332"/>
                    </a:lnTo>
                    <a:lnTo>
                      <a:pt x="5" y="330"/>
                    </a:lnTo>
                    <a:lnTo>
                      <a:pt x="1" y="328"/>
                    </a:lnTo>
                    <a:lnTo>
                      <a:pt x="0" y="317"/>
                    </a:lnTo>
                    <a:lnTo>
                      <a:pt x="1" y="307"/>
                    </a:lnTo>
                    <a:lnTo>
                      <a:pt x="11" y="282"/>
                    </a:lnTo>
                    <a:lnTo>
                      <a:pt x="26" y="259"/>
                    </a:lnTo>
                    <a:lnTo>
                      <a:pt x="30" y="252"/>
                    </a:lnTo>
                    <a:lnTo>
                      <a:pt x="40" y="238"/>
                    </a:lnTo>
                    <a:lnTo>
                      <a:pt x="49" y="215"/>
                    </a:lnTo>
                    <a:lnTo>
                      <a:pt x="51" y="204"/>
                    </a:lnTo>
                    <a:lnTo>
                      <a:pt x="49" y="200"/>
                    </a:lnTo>
                    <a:lnTo>
                      <a:pt x="34" y="175"/>
                    </a:lnTo>
                    <a:lnTo>
                      <a:pt x="28" y="163"/>
                    </a:lnTo>
                    <a:lnTo>
                      <a:pt x="26" y="150"/>
                    </a:lnTo>
                    <a:lnTo>
                      <a:pt x="26" y="134"/>
                    </a:lnTo>
                    <a:lnTo>
                      <a:pt x="13" y="21"/>
                    </a:lnTo>
                    <a:lnTo>
                      <a:pt x="15" y="0"/>
                    </a:lnTo>
                    <a:lnTo>
                      <a:pt x="51" y="21"/>
                    </a:lnTo>
                    <a:lnTo>
                      <a:pt x="80" y="36"/>
                    </a:lnTo>
                    <a:lnTo>
                      <a:pt x="88" y="42"/>
                    </a:lnTo>
                    <a:lnTo>
                      <a:pt x="109" y="54"/>
                    </a:lnTo>
                    <a:lnTo>
                      <a:pt x="134" y="67"/>
                    </a:lnTo>
                    <a:lnTo>
                      <a:pt x="145" y="73"/>
                    </a:lnTo>
                    <a:lnTo>
                      <a:pt x="182" y="94"/>
                    </a:lnTo>
                    <a:lnTo>
                      <a:pt x="203" y="102"/>
                    </a:lnTo>
                    <a:lnTo>
                      <a:pt x="218" y="109"/>
                    </a:lnTo>
                    <a:lnTo>
                      <a:pt x="224" y="113"/>
                    </a:lnTo>
                    <a:lnTo>
                      <a:pt x="230" y="121"/>
                    </a:lnTo>
                    <a:lnTo>
                      <a:pt x="234" y="127"/>
                    </a:lnTo>
                    <a:lnTo>
                      <a:pt x="249" y="131"/>
                    </a:lnTo>
                    <a:lnTo>
                      <a:pt x="305" y="163"/>
                    </a:lnTo>
                    <a:lnTo>
                      <a:pt x="301" y="171"/>
                    </a:lnTo>
                    <a:lnTo>
                      <a:pt x="295" y="177"/>
                    </a:lnTo>
                    <a:lnTo>
                      <a:pt x="284" y="180"/>
                    </a:lnTo>
                    <a:lnTo>
                      <a:pt x="276" y="186"/>
                    </a:lnTo>
                    <a:lnTo>
                      <a:pt x="266" y="198"/>
                    </a:lnTo>
                    <a:lnTo>
                      <a:pt x="257" y="213"/>
                    </a:lnTo>
                    <a:lnTo>
                      <a:pt x="255" y="223"/>
                    </a:lnTo>
                    <a:lnTo>
                      <a:pt x="253" y="229"/>
                    </a:lnTo>
                    <a:lnTo>
                      <a:pt x="255" y="238"/>
                    </a:lnTo>
                    <a:lnTo>
                      <a:pt x="255" y="242"/>
                    </a:lnTo>
                    <a:lnTo>
                      <a:pt x="257" y="248"/>
                    </a:lnTo>
                    <a:lnTo>
                      <a:pt x="263" y="269"/>
                    </a:lnTo>
                    <a:lnTo>
                      <a:pt x="264" y="280"/>
                    </a:lnTo>
                    <a:lnTo>
                      <a:pt x="266" y="300"/>
                    </a:lnTo>
                    <a:lnTo>
                      <a:pt x="268" y="315"/>
                    </a:lnTo>
                    <a:lnTo>
                      <a:pt x="266" y="317"/>
                    </a:lnTo>
                    <a:lnTo>
                      <a:pt x="266" y="326"/>
                    </a:lnTo>
                    <a:lnTo>
                      <a:pt x="266" y="336"/>
                    </a:lnTo>
                    <a:lnTo>
                      <a:pt x="266" y="346"/>
                    </a:lnTo>
                    <a:lnTo>
                      <a:pt x="264" y="363"/>
                    </a:lnTo>
                    <a:lnTo>
                      <a:pt x="261" y="375"/>
                    </a:lnTo>
                    <a:lnTo>
                      <a:pt x="257" y="394"/>
                    </a:lnTo>
                    <a:lnTo>
                      <a:pt x="257" y="403"/>
                    </a:lnTo>
                    <a:lnTo>
                      <a:pt x="257" y="413"/>
                    </a:lnTo>
                    <a:lnTo>
                      <a:pt x="255" y="417"/>
                    </a:lnTo>
                    <a:lnTo>
                      <a:pt x="251" y="424"/>
                    </a:lnTo>
                    <a:lnTo>
                      <a:pt x="241" y="446"/>
                    </a:lnTo>
                    <a:lnTo>
                      <a:pt x="240" y="474"/>
                    </a:lnTo>
                    <a:lnTo>
                      <a:pt x="240" y="501"/>
                    </a:lnTo>
                    <a:lnTo>
                      <a:pt x="232" y="517"/>
                    </a:lnTo>
                    <a:lnTo>
                      <a:pt x="230" y="521"/>
                    </a:lnTo>
                    <a:lnTo>
                      <a:pt x="226" y="526"/>
                    </a:lnTo>
                    <a:lnTo>
                      <a:pt x="224" y="528"/>
                    </a:lnTo>
                    <a:lnTo>
                      <a:pt x="216" y="538"/>
                    </a:lnTo>
                    <a:lnTo>
                      <a:pt x="209" y="532"/>
                    </a:lnTo>
                    <a:lnTo>
                      <a:pt x="203" y="524"/>
                    </a:lnTo>
                    <a:lnTo>
                      <a:pt x="161" y="432"/>
                    </a:lnTo>
                    <a:lnTo>
                      <a:pt x="149" y="436"/>
                    </a:lnTo>
                    <a:lnTo>
                      <a:pt x="134" y="446"/>
                    </a:lnTo>
                    <a:lnTo>
                      <a:pt x="120" y="45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41" name="Freeform 29">
                <a:extLst>
                  <a:ext uri="{FF2B5EF4-FFF2-40B4-BE49-F238E27FC236}">
                    <a16:creationId xmlns:a16="http://schemas.microsoft.com/office/drawing/2014/main" id="{BC8FD96E-AAB9-4615-921B-400F869A4528}"/>
                  </a:ext>
                </a:extLst>
              </p:cNvPr>
              <p:cNvSpPr>
                <a:spLocks/>
              </p:cNvSpPr>
              <p:nvPr/>
            </p:nvSpPr>
            <p:spPr bwMode="gray">
              <a:xfrm>
                <a:off x="3414321" y="3780745"/>
                <a:ext cx="806373" cy="757877"/>
              </a:xfrm>
              <a:custGeom>
                <a:avLst/>
                <a:gdLst>
                  <a:gd name="T0" fmla="*/ 572 w 715"/>
                  <a:gd name="T1" fmla="*/ 130 h 672"/>
                  <a:gd name="T2" fmla="*/ 578 w 715"/>
                  <a:gd name="T3" fmla="*/ 167 h 672"/>
                  <a:gd name="T4" fmla="*/ 588 w 715"/>
                  <a:gd name="T5" fmla="*/ 196 h 672"/>
                  <a:gd name="T6" fmla="*/ 603 w 715"/>
                  <a:gd name="T7" fmla="*/ 200 h 672"/>
                  <a:gd name="T8" fmla="*/ 617 w 715"/>
                  <a:gd name="T9" fmla="*/ 201 h 672"/>
                  <a:gd name="T10" fmla="*/ 630 w 715"/>
                  <a:gd name="T11" fmla="*/ 200 h 672"/>
                  <a:gd name="T12" fmla="*/ 632 w 715"/>
                  <a:gd name="T13" fmla="*/ 207 h 672"/>
                  <a:gd name="T14" fmla="*/ 640 w 715"/>
                  <a:gd name="T15" fmla="*/ 228 h 672"/>
                  <a:gd name="T16" fmla="*/ 715 w 715"/>
                  <a:gd name="T17" fmla="*/ 236 h 672"/>
                  <a:gd name="T18" fmla="*/ 707 w 715"/>
                  <a:gd name="T19" fmla="*/ 273 h 672"/>
                  <a:gd name="T20" fmla="*/ 665 w 715"/>
                  <a:gd name="T21" fmla="*/ 284 h 672"/>
                  <a:gd name="T22" fmla="*/ 626 w 715"/>
                  <a:gd name="T23" fmla="*/ 288 h 672"/>
                  <a:gd name="T24" fmla="*/ 584 w 715"/>
                  <a:gd name="T25" fmla="*/ 334 h 672"/>
                  <a:gd name="T26" fmla="*/ 563 w 715"/>
                  <a:gd name="T27" fmla="*/ 355 h 672"/>
                  <a:gd name="T28" fmla="*/ 557 w 715"/>
                  <a:gd name="T29" fmla="*/ 401 h 672"/>
                  <a:gd name="T30" fmla="*/ 571 w 715"/>
                  <a:gd name="T31" fmla="*/ 428 h 672"/>
                  <a:gd name="T32" fmla="*/ 557 w 715"/>
                  <a:gd name="T33" fmla="*/ 470 h 672"/>
                  <a:gd name="T34" fmla="*/ 553 w 715"/>
                  <a:gd name="T35" fmla="*/ 509 h 672"/>
                  <a:gd name="T36" fmla="*/ 547 w 715"/>
                  <a:gd name="T37" fmla="*/ 545 h 672"/>
                  <a:gd name="T38" fmla="*/ 521 w 715"/>
                  <a:gd name="T39" fmla="*/ 538 h 672"/>
                  <a:gd name="T40" fmla="*/ 509 w 715"/>
                  <a:gd name="T41" fmla="*/ 526 h 672"/>
                  <a:gd name="T42" fmla="*/ 490 w 715"/>
                  <a:gd name="T43" fmla="*/ 509 h 672"/>
                  <a:gd name="T44" fmla="*/ 473 w 715"/>
                  <a:gd name="T45" fmla="*/ 505 h 672"/>
                  <a:gd name="T46" fmla="*/ 455 w 715"/>
                  <a:gd name="T47" fmla="*/ 511 h 672"/>
                  <a:gd name="T48" fmla="*/ 438 w 715"/>
                  <a:gd name="T49" fmla="*/ 524 h 672"/>
                  <a:gd name="T50" fmla="*/ 444 w 715"/>
                  <a:gd name="T51" fmla="*/ 538 h 672"/>
                  <a:gd name="T52" fmla="*/ 371 w 715"/>
                  <a:gd name="T53" fmla="*/ 638 h 672"/>
                  <a:gd name="T54" fmla="*/ 329 w 715"/>
                  <a:gd name="T55" fmla="*/ 645 h 672"/>
                  <a:gd name="T56" fmla="*/ 377 w 715"/>
                  <a:gd name="T57" fmla="*/ 518 h 672"/>
                  <a:gd name="T58" fmla="*/ 421 w 715"/>
                  <a:gd name="T59" fmla="*/ 522 h 672"/>
                  <a:gd name="T60" fmla="*/ 432 w 715"/>
                  <a:gd name="T61" fmla="*/ 501 h 672"/>
                  <a:gd name="T62" fmla="*/ 419 w 715"/>
                  <a:gd name="T63" fmla="*/ 495 h 672"/>
                  <a:gd name="T64" fmla="*/ 302 w 715"/>
                  <a:gd name="T65" fmla="*/ 420 h 672"/>
                  <a:gd name="T66" fmla="*/ 302 w 715"/>
                  <a:gd name="T67" fmla="*/ 405 h 672"/>
                  <a:gd name="T68" fmla="*/ 79 w 715"/>
                  <a:gd name="T69" fmla="*/ 457 h 672"/>
                  <a:gd name="T70" fmla="*/ 179 w 715"/>
                  <a:gd name="T71" fmla="*/ 419 h 672"/>
                  <a:gd name="T72" fmla="*/ 114 w 715"/>
                  <a:gd name="T73" fmla="*/ 301 h 672"/>
                  <a:gd name="T74" fmla="*/ 110 w 715"/>
                  <a:gd name="T75" fmla="*/ 232 h 672"/>
                  <a:gd name="T76" fmla="*/ 131 w 715"/>
                  <a:gd name="T77" fmla="*/ 184 h 672"/>
                  <a:gd name="T78" fmla="*/ 194 w 715"/>
                  <a:gd name="T79" fmla="*/ 280 h 672"/>
                  <a:gd name="T80" fmla="*/ 210 w 715"/>
                  <a:gd name="T81" fmla="*/ 253 h 672"/>
                  <a:gd name="T82" fmla="*/ 225 w 715"/>
                  <a:gd name="T83" fmla="*/ 169 h 672"/>
                  <a:gd name="T84" fmla="*/ 231 w 715"/>
                  <a:gd name="T85" fmla="*/ 127 h 672"/>
                  <a:gd name="T86" fmla="*/ 236 w 715"/>
                  <a:gd name="T87" fmla="*/ 78 h 672"/>
                  <a:gd name="T88" fmla="*/ 234 w 715"/>
                  <a:gd name="T89" fmla="*/ 32 h 672"/>
                  <a:gd name="T90" fmla="*/ 254 w 715"/>
                  <a:gd name="T91" fmla="*/ 17 h 672"/>
                  <a:gd name="T92" fmla="*/ 307 w 715"/>
                  <a:gd name="T93" fmla="*/ 59 h 672"/>
                  <a:gd name="T94" fmla="*/ 377 w 715"/>
                  <a:gd name="T95" fmla="*/ 84 h 672"/>
                  <a:gd name="T96" fmla="*/ 384 w 715"/>
                  <a:gd name="T97" fmla="*/ 57 h 672"/>
                  <a:gd name="T98" fmla="*/ 403 w 715"/>
                  <a:gd name="T99" fmla="*/ 42 h 672"/>
                  <a:gd name="T100" fmla="*/ 436 w 715"/>
                  <a:gd name="T101" fmla="*/ 77 h 672"/>
                  <a:gd name="T102" fmla="*/ 448 w 715"/>
                  <a:gd name="T103" fmla="*/ 71 h 672"/>
                  <a:gd name="T104" fmla="*/ 475 w 715"/>
                  <a:gd name="T105" fmla="*/ 77 h 672"/>
                  <a:gd name="T106" fmla="*/ 480 w 715"/>
                  <a:gd name="T107" fmla="*/ 92 h 672"/>
                  <a:gd name="T108" fmla="*/ 509 w 715"/>
                  <a:gd name="T109" fmla="*/ 105 h 672"/>
                  <a:gd name="T110" fmla="*/ 530 w 715"/>
                  <a:gd name="T111" fmla="*/ 111 h 672"/>
                  <a:gd name="T112" fmla="*/ 553 w 715"/>
                  <a:gd name="T113" fmla="*/ 117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15" h="672">
                    <a:moveTo>
                      <a:pt x="561" y="123"/>
                    </a:moveTo>
                    <a:lnTo>
                      <a:pt x="565" y="125"/>
                    </a:lnTo>
                    <a:lnTo>
                      <a:pt x="571" y="128"/>
                    </a:lnTo>
                    <a:lnTo>
                      <a:pt x="572" y="130"/>
                    </a:lnTo>
                    <a:lnTo>
                      <a:pt x="572" y="134"/>
                    </a:lnTo>
                    <a:lnTo>
                      <a:pt x="572" y="138"/>
                    </a:lnTo>
                    <a:lnTo>
                      <a:pt x="574" y="163"/>
                    </a:lnTo>
                    <a:lnTo>
                      <a:pt x="578" y="167"/>
                    </a:lnTo>
                    <a:lnTo>
                      <a:pt x="578" y="175"/>
                    </a:lnTo>
                    <a:lnTo>
                      <a:pt x="580" y="178"/>
                    </a:lnTo>
                    <a:lnTo>
                      <a:pt x="584" y="190"/>
                    </a:lnTo>
                    <a:lnTo>
                      <a:pt x="588" y="196"/>
                    </a:lnTo>
                    <a:lnTo>
                      <a:pt x="592" y="198"/>
                    </a:lnTo>
                    <a:lnTo>
                      <a:pt x="597" y="198"/>
                    </a:lnTo>
                    <a:lnTo>
                      <a:pt x="601" y="198"/>
                    </a:lnTo>
                    <a:lnTo>
                      <a:pt x="603" y="200"/>
                    </a:lnTo>
                    <a:lnTo>
                      <a:pt x="609" y="201"/>
                    </a:lnTo>
                    <a:lnTo>
                      <a:pt x="613" y="201"/>
                    </a:lnTo>
                    <a:lnTo>
                      <a:pt x="615" y="201"/>
                    </a:lnTo>
                    <a:lnTo>
                      <a:pt x="617" y="201"/>
                    </a:lnTo>
                    <a:lnTo>
                      <a:pt x="619" y="201"/>
                    </a:lnTo>
                    <a:lnTo>
                      <a:pt x="620" y="203"/>
                    </a:lnTo>
                    <a:lnTo>
                      <a:pt x="626" y="198"/>
                    </a:lnTo>
                    <a:lnTo>
                      <a:pt x="630" y="200"/>
                    </a:lnTo>
                    <a:lnTo>
                      <a:pt x="632" y="201"/>
                    </a:lnTo>
                    <a:lnTo>
                      <a:pt x="632" y="203"/>
                    </a:lnTo>
                    <a:lnTo>
                      <a:pt x="632" y="205"/>
                    </a:lnTo>
                    <a:lnTo>
                      <a:pt x="632" y="207"/>
                    </a:lnTo>
                    <a:lnTo>
                      <a:pt x="630" y="215"/>
                    </a:lnTo>
                    <a:lnTo>
                      <a:pt x="634" y="219"/>
                    </a:lnTo>
                    <a:lnTo>
                      <a:pt x="638" y="223"/>
                    </a:lnTo>
                    <a:lnTo>
                      <a:pt x="640" y="228"/>
                    </a:lnTo>
                    <a:lnTo>
                      <a:pt x="643" y="232"/>
                    </a:lnTo>
                    <a:lnTo>
                      <a:pt x="645" y="236"/>
                    </a:lnTo>
                    <a:lnTo>
                      <a:pt x="674" y="234"/>
                    </a:lnTo>
                    <a:lnTo>
                      <a:pt x="715" y="236"/>
                    </a:lnTo>
                    <a:lnTo>
                      <a:pt x="709" y="257"/>
                    </a:lnTo>
                    <a:lnTo>
                      <a:pt x="709" y="261"/>
                    </a:lnTo>
                    <a:lnTo>
                      <a:pt x="709" y="265"/>
                    </a:lnTo>
                    <a:lnTo>
                      <a:pt x="707" y="273"/>
                    </a:lnTo>
                    <a:lnTo>
                      <a:pt x="703" y="286"/>
                    </a:lnTo>
                    <a:lnTo>
                      <a:pt x="703" y="290"/>
                    </a:lnTo>
                    <a:lnTo>
                      <a:pt x="688" y="288"/>
                    </a:lnTo>
                    <a:lnTo>
                      <a:pt x="665" y="284"/>
                    </a:lnTo>
                    <a:lnTo>
                      <a:pt x="642" y="282"/>
                    </a:lnTo>
                    <a:lnTo>
                      <a:pt x="634" y="282"/>
                    </a:lnTo>
                    <a:lnTo>
                      <a:pt x="630" y="284"/>
                    </a:lnTo>
                    <a:lnTo>
                      <a:pt x="626" y="288"/>
                    </a:lnTo>
                    <a:lnTo>
                      <a:pt x="615" y="301"/>
                    </a:lnTo>
                    <a:lnTo>
                      <a:pt x="599" y="321"/>
                    </a:lnTo>
                    <a:lnTo>
                      <a:pt x="590" y="330"/>
                    </a:lnTo>
                    <a:lnTo>
                      <a:pt x="584" y="334"/>
                    </a:lnTo>
                    <a:lnTo>
                      <a:pt x="572" y="342"/>
                    </a:lnTo>
                    <a:lnTo>
                      <a:pt x="569" y="344"/>
                    </a:lnTo>
                    <a:lnTo>
                      <a:pt x="567" y="347"/>
                    </a:lnTo>
                    <a:lnTo>
                      <a:pt x="563" y="355"/>
                    </a:lnTo>
                    <a:lnTo>
                      <a:pt x="551" y="372"/>
                    </a:lnTo>
                    <a:lnTo>
                      <a:pt x="547" y="382"/>
                    </a:lnTo>
                    <a:lnTo>
                      <a:pt x="551" y="388"/>
                    </a:lnTo>
                    <a:lnTo>
                      <a:pt x="557" y="401"/>
                    </a:lnTo>
                    <a:lnTo>
                      <a:pt x="561" y="407"/>
                    </a:lnTo>
                    <a:lnTo>
                      <a:pt x="567" y="417"/>
                    </a:lnTo>
                    <a:lnTo>
                      <a:pt x="569" y="426"/>
                    </a:lnTo>
                    <a:lnTo>
                      <a:pt x="571" y="428"/>
                    </a:lnTo>
                    <a:lnTo>
                      <a:pt x="569" y="432"/>
                    </a:lnTo>
                    <a:lnTo>
                      <a:pt x="561" y="451"/>
                    </a:lnTo>
                    <a:lnTo>
                      <a:pt x="557" y="467"/>
                    </a:lnTo>
                    <a:lnTo>
                      <a:pt x="557" y="470"/>
                    </a:lnTo>
                    <a:lnTo>
                      <a:pt x="557" y="480"/>
                    </a:lnTo>
                    <a:lnTo>
                      <a:pt x="559" y="492"/>
                    </a:lnTo>
                    <a:lnTo>
                      <a:pt x="555" y="497"/>
                    </a:lnTo>
                    <a:lnTo>
                      <a:pt x="553" y="509"/>
                    </a:lnTo>
                    <a:lnTo>
                      <a:pt x="553" y="524"/>
                    </a:lnTo>
                    <a:lnTo>
                      <a:pt x="553" y="530"/>
                    </a:lnTo>
                    <a:lnTo>
                      <a:pt x="553" y="538"/>
                    </a:lnTo>
                    <a:lnTo>
                      <a:pt x="547" y="545"/>
                    </a:lnTo>
                    <a:lnTo>
                      <a:pt x="540" y="553"/>
                    </a:lnTo>
                    <a:lnTo>
                      <a:pt x="540" y="555"/>
                    </a:lnTo>
                    <a:lnTo>
                      <a:pt x="519" y="541"/>
                    </a:lnTo>
                    <a:lnTo>
                      <a:pt x="521" y="538"/>
                    </a:lnTo>
                    <a:lnTo>
                      <a:pt x="517" y="536"/>
                    </a:lnTo>
                    <a:lnTo>
                      <a:pt x="513" y="538"/>
                    </a:lnTo>
                    <a:lnTo>
                      <a:pt x="507" y="530"/>
                    </a:lnTo>
                    <a:lnTo>
                      <a:pt x="509" y="526"/>
                    </a:lnTo>
                    <a:lnTo>
                      <a:pt x="505" y="520"/>
                    </a:lnTo>
                    <a:lnTo>
                      <a:pt x="498" y="526"/>
                    </a:lnTo>
                    <a:lnTo>
                      <a:pt x="484" y="518"/>
                    </a:lnTo>
                    <a:lnTo>
                      <a:pt x="490" y="509"/>
                    </a:lnTo>
                    <a:lnTo>
                      <a:pt x="478" y="501"/>
                    </a:lnTo>
                    <a:lnTo>
                      <a:pt x="476" y="503"/>
                    </a:lnTo>
                    <a:lnTo>
                      <a:pt x="473" y="503"/>
                    </a:lnTo>
                    <a:lnTo>
                      <a:pt x="473" y="505"/>
                    </a:lnTo>
                    <a:lnTo>
                      <a:pt x="467" y="507"/>
                    </a:lnTo>
                    <a:lnTo>
                      <a:pt x="463" y="509"/>
                    </a:lnTo>
                    <a:lnTo>
                      <a:pt x="459" y="507"/>
                    </a:lnTo>
                    <a:lnTo>
                      <a:pt x="455" y="511"/>
                    </a:lnTo>
                    <a:lnTo>
                      <a:pt x="451" y="513"/>
                    </a:lnTo>
                    <a:lnTo>
                      <a:pt x="448" y="513"/>
                    </a:lnTo>
                    <a:lnTo>
                      <a:pt x="444" y="513"/>
                    </a:lnTo>
                    <a:lnTo>
                      <a:pt x="438" y="524"/>
                    </a:lnTo>
                    <a:lnTo>
                      <a:pt x="436" y="526"/>
                    </a:lnTo>
                    <a:lnTo>
                      <a:pt x="440" y="530"/>
                    </a:lnTo>
                    <a:lnTo>
                      <a:pt x="442" y="532"/>
                    </a:lnTo>
                    <a:lnTo>
                      <a:pt x="444" y="538"/>
                    </a:lnTo>
                    <a:lnTo>
                      <a:pt x="434" y="543"/>
                    </a:lnTo>
                    <a:lnTo>
                      <a:pt x="427" y="547"/>
                    </a:lnTo>
                    <a:lnTo>
                      <a:pt x="373" y="636"/>
                    </a:lnTo>
                    <a:lnTo>
                      <a:pt x="371" y="638"/>
                    </a:lnTo>
                    <a:lnTo>
                      <a:pt x="365" y="634"/>
                    </a:lnTo>
                    <a:lnTo>
                      <a:pt x="359" y="634"/>
                    </a:lnTo>
                    <a:lnTo>
                      <a:pt x="342" y="622"/>
                    </a:lnTo>
                    <a:lnTo>
                      <a:pt x="329" y="645"/>
                    </a:lnTo>
                    <a:lnTo>
                      <a:pt x="361" y="664"/>
                    </a:lnTo>
                    <a:lnTo>
                      <a:pt x="357" y="672"/>
                    </a:lnTo>
                    <a:lnTo>
                      <a:pt x="307" y="639"/>
                    </a:lnTo>
                    <a:lnTo>
                      <a:pt x="377" y="518"/>
                    </a:lnTo>
                    <a:lnTo>
                      <a:pt x="398" y="526"/>
                    </a:lnTo>
                    <a:lnTo>
                      <a:pt x="405" y="530"/>
                    </a:lnTo>
                    <a:lnTo>
                      <a:pt x="411" y="526"/>
                    </a:lnTo>
                    <a:lnTo>
                      <a:pt x="421" y="522"/>
                    </a:lnTo>
                    <a:lnTo>
                      <a:pt x="419" y="518"/>
                    </a:lnTo>
                    <a:lnTo>
                      <a:pt x="419" y="516"/>
                    </a:lnTo>
                    <a:lnTo>
                      <a:pt x="428" y="501"/>
                    </a:lnTo>
                    <a:lnTo>
                      <a:pt x="432" y="501"/>
                    </a:lnTo>
                    <a:lnTo>
                      <a:pt x="434" y="495"/>
                    </a:lnTo>
                    <a:lnTo>
                      <a:pt x="432" y="493"/>
                    </a:lnTo>
                    <a:lnTo>
                      <a:pt x="430" y="490"/>
                    </a:lnTo>
                    <a:lnTo>
                      <a:pt x="419" y="495"/>
                    </a:lnTo>
                    <a:lnTo>
                      <a:pt x="317" y="434"/>
                    </a:lnTo>
                    <a:lnTo>
                      <a:pt x="298" y="420"/>
                    </a:lnTo>
                    <a:lnTo>
                      <a:pt x="300" y="419"/>
                    </a:lnTo>
                    <a:lnTo>
                      <a:pt x="302" y="420"/>
                    </a:lnTo>
                    <a:lnTo>
                      <a:pt x="306" y="415"/>
                    </a:lnTo>
                    <a:lnTo>
                      <a:pt x="323" y="426"/>
                    </a:lnTo>
                    <a:lnTo>
                      <a:pt x="327" y="420"/>
                    </a:lnTo>
                    <a:lnTo>
                      <a:pt x="302" y="405"/>
                    </a:lnTo>
                    <a:lnTo>
                      <a:pt x="294" y="420"/>
                    </a:lnTo>
                    <a:lnTo>
                      <a:pt x="281" y="442"/>
                    </a:lnTo>
                    <a:lnTo>
                      <a:pt x="221" y="541"/>
                    </a:lnTo>
                    <a:lnTo>
                      <a:pt x="79" y="457"/>
                    </a:lnTo>
                    <a:lnTo>
                      <a:pt x="0" y="409"/>
                    </a:lnTo>
                    <a:lnTo>
                      <a:pt x="29" y="359"/>
                    </a:lnTo>
                    <a:lnTo>
                      <a:pt x="67" y="353"/>
                    </a:lnTo>
                    <a:lnTo>
                      <a:pt x="179" y="419"/>
                    </a:lnTo>
                    <a:lnTo>
                      <a:pt x="204" y="434"/>
                    </a:lnTo>
                    <a:lnTo>
                      <a:pt x="236" y="376"/>
                    </a:lnTo>
                    <a:lnTo>
                      <a:pt x="125" y="309"/>
                    </a:lnTo>
                    <a:lnTo>
                      <a:pt x="114" y="301"/>
                    </a:lnTo>
                    <a:lnTo>
                      <a:pt x="133" y="265"/>
                    </a:lnTo>
                    <a:lnTo>
                      <a:pt x="135" y="263"/>
                    </a:lnTo>
                    <a:lnTo>
                      <a:pt x="129" y="248"/>
                    </a:lnTo>
                    <a:lnTo>
                      <a:pt x="110" y="232"/>
                    </a:lnTo>
                    <a:lnTo>
                      <a:pt x="90" y="209"/>
                    </a:lnTo>
                    <a:lnTo>
                      <a:pt x="104" y="198"/>
                    </a:lnTo>
                    <a:lnTo>
                      <a:pt x="119" y="188"/>
                    </a:lnTo>
                    <a:lnTo>
                      <a:pt x="131" y="184"/>
                    </a:lnTo>
                    <a:lnTo>
                      <a:pt x="173" y="276"/>
                    </a:lnTo>
                    <a:lnTo>
                      <a:pt x="179" y="284"/>
                    </a:lnTo>
                    <a:lnTo>
                      <a:pt x="186" y="290"/>
                    </a:lnTo>
                    <a:lnTo>
                      <a:pt x="194" y="280"/>
                    </a:lnTo>
                    <a:lnTo>
                      <a:pt x="196" y="278"/>
                    </a:lnTo>
                    <a:lnTo>
                      <a:pt x="200" y="273"/>
                    </a:lnTo>
                    <a:lnTo>
                      <a:pt x="202" y="269"/>
                    </a:lnTo>
                    <a:lnTo>
                      <a:pt x="210" y="253"/>
                    </a:lnTo>
                    <a:lnTo>
                      <a:pt x="210" y="226"/>
                    </a:lnTo>
                    <a:lnTo>
                      <a:pt x="211" y="198"/>
                    </a:lnTo>
                    <a:lnTo>
                      <a:pt x="221" y="176"/>
                    </a:lnTo>
                    <a:lnTo>
                      <a:pt x="225" y="169"/>
                    </a:lnTo>
                    <a:lnTo>
                      <a:pt x="227" y="165"/>
                    </a:lnTo>
                    <a:lnTo>
                      <a:pt x="227" y="155"/>
                    </a:lnTo>
                    <a:lnTo>
                      <a:pt x="227" y="146"/>
                    </a:lnTo>
                    <a:lnTo>
                      <a:pt x="231" y="127"/>
                    </a:lnTo>
                    <a:lnTo>
                      <a:pt x="234" y="115"/>
                    </a:lnTo>
                    <a:lnTo>
                      <a:pt x="236" y="98"/>
                    </a:lnTo>
                    <a:lnTo>
                      <a:pt x="236" y="88"/>
                    </a:lnTo>
                    <a:lnTo>
                      <a:pt x="236" y="78"/>
                    </a:lnTo>
                    <a:lnTo>
                      <a:pt x="236" y="69"/>
                    </a:lnTo>
                    <a:lnTo>
                      <a:pt x="238" y="67"/>
                    </a:lnTo>
                    <a:lnTo>
                      <a:pt x="236" y="52"/>
                    </a:lnTo>
                    <a:lnTo>
                      <a:pt x="234" y="32"/>
                    </a:lnTo>
                    <a:lnTo>
                      <a:pt x="233" y="21"/>
                    </a:lnTo>
                    <a:lnTo>
                      <a:pt x="227" y="0"/>
                    </a:lnTo>
                    <a:lnTo>
                      <a:pt x="233" y="4"/>
                    </a:lnTo>
                    <a:lnTo>
                      <a:pt x="254" y="17"/>
                    </a:lnTo>
                    <a:lnTo>
                      <a:pt x="267" y="27"/>
                    </a:lnTo>
                    <a:lnTo>
                      <a:pt x="294" y="46"/>
                    </a:lnTo>
                    <a:lnTo>
                      <a:pt x="300" y="52"/>
                    </a:lnTo>
                    <a:lnTo>
                      <a:pt x="307" y="59"/>
                    </a:lnTo>
                    <a:lnTo>
                      <a:pt x="342" y="69"/>
                    </a:lnTo>
                    <a:lnTo>
                      <a:pt x="365" y="78"/>
                    </a:lnTo>
                    <a:lnTo>
                      <a:pt x="373" y="82"/>
                    </a:lnTo>
                    <a:lnTo>
                      <a:pt x="377" y="84"/>
                    </a:lnTo>
                    <a:lnTo>
                      <a:pt x="392" y="82"/>
                    </a:lnTo>
                    <a:lnTo>
                      <a:pt x="388" y="73"/>
                    </a:lnTo>
                    <a:lnTo>
                      <a:pt x="382" y="59"/>
                    </a:lnTo>
                    <a:lnTo>
                      <a:pt x="384" y="57"/>
                    </a:lnTo>
                    <a:lnTo>
                      <a:pt x="384" y="52"/>
                    </a:lnTo>
                    <a:lnTo>
                      <a:pt x="378" y="36"/>
                    </a:lnTo>
                    <a:lnTo>
                      <a:pt x="392" y="30"/>
                    </a:lnTo>
                    <a:lnTo>
                      <a:pt x="403" y="42"/>
                    </a:lnTo>
                    <a:lnTo>
                      <a:pt x="419" y="55"/>
                    </a:lnTo>
                    <a:lnTo>
                      <a:pt x="430" y="61"/>
                    </a:lnTo>
                    <a:lnTo>
                      <a:pt x="434" y="69"/>
                    </a:lnTo>
                    <a:lnTo>
                      <a:pt x="436" y="77"/>
                    </a:lnTo>
                    <a:lnTo>
                      <a:pt x="436" y="82"/>
                    </a:lnTo>
                    <a:lnTo>
                      <a:pt x="440" y="86"/>
                    </a:lnTo>
                    <a:lnTo>
                      <a:pt x="442" y="78"/>
                    </a:lnTo>
                    <a:lnTo>
                      <a:pt x="448" y="71"/>
                    </a:lnTo>
                    <a:lnTo>
                      <a:pt x="459" y="59"/>
                    </a:lnTo>
                    <a:lnTo>
                      <a:pt x="463" y="55"/>
                    </a:lnTo>
                    <a:lnTo>
                      <a:pt x="471" y="61"/>
                    </a:lnTo>
                    <a:lnTo>
                      <a:pt x="475" y="77"/>
                    </a:lnTo>
                    <a:lnTo>
                      <a:pt x="478" y="80"/>
                    </a:lnTo>
                    <a:lnTo>
                      <a:pt x="480" y="84"/>
                    </a:lnTo>
                    <a:lnTo>
                      <a:pt x="476" y="90"/>
                    </a:lnTo>
                    <a:lnTo>
                      <a:pt x="480" y="92"/>
                    </a:lnTo>
                    <a:lnTo>
                      <a:pt x="486" y="94"/>
                    </a:lnTo>
                    <a:lnTo>
                      <a:pt x="494" y="94"/>
                    </a:lnTo>
                    <a:lnTo>
                      <a:pt x="501" y="96"/>
                    </a:lnTo>
                    <a:lnTo>
                      <a:pt x="509" y="105"/>
                    </a:lnTo>
                    <a:lnTo>
                      <a:pt x="511" y="103"/>
                    </a:lnTo>
                    <a:lnTo>
                      <a:pt x="517" y="109"/>
                    </a:lnTo>
                    <a:lnTo>
                      <a:pt x="526" y="113"/>
                    </a:lnTo>
                    <a:lnTo>
                      <a:pt x="530" y="111"/>
                    </a:lnTo>
                    <a:lnTo>
                      <a:pt x="538" y="109"/>
                    </a:lnTo>
                    <a:lnTo>
                      <a:pt x="544" y="109"/>
                    </a:lnTo>
                    <a:lnTo>
                      <a:pt x="547" y="111"/>
                    </a:lnTo>
                    <a:lnTo>
                      <a:pt x="553" y="117"/>
                    </a:lnTo>
                    <a:lnTo>
                      <a:pt x="561" y="123"/>
                    </a:lnTo>
                    <a:close/>
                  </a:path>
                </a:pathLst>
              </a:custGeom>
              <a:solidFill>
                <a:schemeClr val="accent6">
                  <a:lumMod val="40000"/>
                  <a:lumOff val="60000"/>
                </a:schemeClr>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42" name="Freeform 30">
                <a:extLst>
                  <a:ext uri="{FF2B5EF4-FFF2-40B4-BE49-F238E27FC236}">
                    <a16:creationId xmlns:a16="http://schemas.microsoft.com/office/drawing/2014/main" id="{E5CFFF3A-2D32-4042-BEB1-0578D396C521}"/>
                  </a:ext>
                </a:extLst>
              </p:cNvPr>
              <p:cNvSpPr>
                <a:spLocks noEditPoints="1"/>
              </p:cNvSpPr>
              <p:nvPr/>
            </p:nvSpPr>
            <p:spPr bwMode="gray">
              <a:xfrm>
                <a:off x="2924858" y="3357822"/>
                <a:ext cx="563897" cy="693593"/>
              </a:xfrm>
              <a:custGeom>
                <a:avLst/>
                <a:gdLst>
                  <a:gd name="T0" fmla="*/ 50 w 500"/>
                  <a:gd name="T1" fmla="*/ 507 h 615"/>
                  <a:gd name="T2" fmla="*/ 123 w 500"/>
                  <a:gd name="T3" fmla="*/ 565 h 615"/>
                  <a:gd name="T4" fmla="*/ 131 w 500"/>
                  <a:gd name="T5" fmla="*/ 582 h 615"/>
                  <a:gd name="T6" fmla="*/ 20 w 500"/>
                  <a:gd name="T7" fmla="*/ 492 h 615"/>
                  <a:gd name="T8" fmla="*/ 27 w 500"/>
                  <a:gd name="T9" fmla="*/ 496 h 615"/>
                  <a:gd name="T10" fmla="*/ 31 w 500"/>
                  <a:gd name="T11" fmla="*/ 505 h 615"/>
                  <a:gd name="T12" fmla="*/ 46 w 500"/>
                  <a:gd name="T13" fmla="*/ 507 h 615"/>
                  <a:gd name="T14" fmla="*/ 430 w 500"/>
                  <a:gd name="T15" fmla="*/ 261 h 615"/>
                  <a:gd name="T16" fmla="*/ 438 w 500"/>
                  <a:gd name="T17" fmla="*/ 302 h 615"/>
                  <a:gd name="T18" fmla="*/ 453 w 500"/>
                  <a:gd name="T19" fmla="*/ 342 h 615"/>
                  <a:gd name="T20" fmla="*/ 430 w 500"/>
                  <a:gd name="T21" fmla="*/ 386 h 615"/>
                  <a:gd name="T22" fmla="*/ 404 w 500"/>
                  <a:gd name="T23" fmla="*/ 444 h 615"/>
                  <a:gd name="T24" fmla="*/ 394 w 500"/>
                  <a:gd name="T25" fmla="*/ 461 h 615"/>
                  <a:gd name="T26" fmla="*/ 388 w 500"/>
                  <a:gd name="T27" fmla="*/ 496 h 615"/>
                  <a:gd name="T28" fmla="*/ 430 w 500"/>
                  <a:gd name="T29" fmla="*/ 484 h 615"/>
                  <a:gd name="T30" fmla="*/ 457 w 500"/>
                  <a:gd name="T31" fmla="*/ 502 h 615"/>
                  <a:gd name="T32" fmla="*/ 461 w 500"/>
                  <a:gd name="T33" fmla="*/ 607 h 615"/>
                  <a:gd name="T34" fmla="*/ 365 w 500"/>
                  <a:gd name="T35" fmla="*/ 586 h 615"/>
                  <a:gd name="T36" fmla="*/ 334 w 500"/>
                  <a:gd name="T37" fmla="*/ 586 h 615"/>
                  <a:gd name="T38" fmla="*/ 188 w 500"/>
                  <a:gd name="T39" fmla="*/ 475 h 615"/>
                  <a:gd name="T40" fmla="*/ 215 w 500"/>
                  <a:gd name="T41" fmla="*/ 415 h 615"/>
                  <a:gd name="T42" fmla="*/ 261 w 500"/>
                  <a:gd name="T43" fmla="*/ 300 h 615"/>
                  <a:gd name="T44" fmla="*/ 246 w 500"/>
                  <a:gd name="T45" fmla="*/ 309 h 615"/>
                  <a:gd name="T46" fmla="*/ 167 w 500"/>
                  <a:gd name="T47" fmla="*/ 473 h 615"/>
                  <a:gd name="T48" fmla="*/ 175 w 500"/>
                  <a:gd name="T49" fmla="*/ 519 h 615"/>
                  <a:gd name="T50" fmla="*/ 187 w 500"/>
                  <a:gd name="T51" fmla="*/ 544 h 615"/>
                  <a:gd name="T52" fmla="*/ 194 w 500"/>
                  <a:gd name="T53" fmla="*/ 575 h 615"/>
                  <a:gd name="T54" fmla="*/ 68 w 500"/>
                  <a:gd name="T55" fmla="*/ 486 h 615"/>
                  <a:gd name="T56" fmla="*/ 33 w 500"/>
                  <a:gd name="T57" fmla="*/ 484 h 615"/>
                  <a:gd name="T58" fmla="*/ 12 w 500"/>
                  <a:gd name="T59" fmla="*/ 484 h 615"/>
                  <a:gd name="T60" fmla="*/ 2 w 500"/>
                  <a:gd name="T61" fmla="*/ 436 h 615"/>
                  <a:gd name="T62" fmla="*/ 108 w 500"/>
                  <a:gd name="T63" fmla="*/ 421 h 615"/>
                  <a:gd name="T64" fmla="*/ 114 w 500"/>
                  <a:gd name="T65" fmla="*/ 384 h 615"/>
                  <a:gd name="T66" fmla="*/ 106 w 500"/>
                  <a:gd name="T67" fmla="*/ 323 h 615"/>
                  <a:gd name="T68" fmla="*/ 164 w 500"/>
                  <a:gd name="T69" fmla="*/ 273 h 615"/>
                  <a:gd name="T70" fmla="*/ 165 w 500"/>
                  <a:gd name="T71" fmla="*/ 231 h 615"/>
                  <a:gd name="T72" fmla="*/ 156 w 500"/>
                  <a:gd name="T73" fmla="*/ 163 h 615"/>
                  <a:gd name="T74" fmla="*/ 125 w 500"/>
                  <a:gd name="T75" fmla="*/ 127 h 615"/>
                  <a:gd name="T76" fmla="*/ 123 w 500"/>
                  <a:gd name="T77" fmla="*/ 115 h 615"/>
                  <a:gd name="T78" fmla="*/ 133 w 500"/>
                  <a:gd name="T79" fmla="*/ 98 h 615"/>
                  <a:gd name="T80" fmla="*/ 175 w 500"/>
                  <a:gd name="T81" fmla="*/ 98 h 615"/>
                  <a:gd name="T82" fmla="*/ 200 w 500"/>
                  <a:gd name="T83" fmla="*/ 85 h 615"/>
                  <a:gd name="T84" fmla="*/ 260 w 500"/>
                  <a:gd name="T85" fmla="*/ 44 h 615"/>
                  <a:gd name="T86" fmla="*/ 313 w 500"/>
                  <a:gd name="T87" fmla="*/ 88 h 615"/>
                  <a:gd name="T88" fmla="*/ 361 w 500"/>
                  <a:gd name="T89" fmla="*/ 94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0" h="615">
                    <a:moveTo>
                      <a:pt x="46" y="507"/>
                    </a:moveTo>
                    <a:lnTo>
                      <a:pt x="50" y="509"/>
                    </a:lnTo>
                    <a:lnTo>
                      <a:pt x="50" y="507"/>
                    </a:lnTo>
                    <a:lnTo>
                      <a:pt x="52" y="505"/>
                    </a:lnTo>
                    <a:lnTo>
                      <a:pt x="60" y="509"/>
                    </a:lnTo>
                    <a:lnTo>
                      <a:pt x="123" y="565"/>
                    </a:lnTo>
                    <a:lnTo>
                      <a:pt x="114" y="576"/>
                    </a:lnTo>
                    <a:lnTo>
                      <a:pt x="131" y="578"/>
                    </a:lnTo>
                    <a:lnTo>
                      <a:pt x="131" y="582"/>
                    </a:lnTo>
                    <a:lnTo>
                      <a:pt x="75" y="580"/>
                    </a:lnTo>
                    <a:lnTo>
                      <a:pt x="20" y="580"/>
                    </a:lnTo>
                    <a:lnTo>
                      <a:pt x="20" y="492"/>
                    </a:lnTo>
                    <a:lnTo>
                      <a:pt x="23" y="492"/>
                    </a:lnTo>
                    <a:lnTo>
                      <a:pt x="27" y="492"/>
                    </a:lnTo>
                    <a:lnTo>
                      <a:pt x="27" y="496"/>
                    </a:lnTo>
                    <a:lnTo>
                      <a:pt x="29" y="500"/>
                    </a:lnTo>
                    <a:lnTo>
                      <a:pt x="29" y="503"/>
                    </a:lnTo>
                    <a:lnTo>
                      <a:pt x="31" y="505"/>
                    </a:lnTo>
                    <a:lnTo>
                      <a:pt x="37" y="505"/>
                    </a:lnTo>
                    <a:lnTo>
                      <a:pt x="43" y="505"/>
                    </a:lnTo>
                    <a:lnTo>
                      <a:pt x="46" y="507"/>
                    </a:lnTo>
                    <a:close/>
                    <a:moveTo>
                      <a:pt x="419" y="127"/>
                    </a:moveTo>
                    <a:lnTo>
                      <a:pt x="417" y="148"/>
                    </a:lnTo>
                    <a:lnTo>
                      <a:pt x="430" y="261"/>
                    </a:lnTo>
                    <a:lnTo>
                      <a:pt x="430" y="277"/>
                    </a:lnTo>
                    <a:lnTo>
                      <a:pt x="432" y="290"/>
                    </a:lnTo>
                    <a:lnTo>
                      <a:pt x="438" y="302"/>
                    </a:lnTo>
                    <a:lnTo>
                      <a:pt x="453" y="327"/>
                    </a:lnTo>
                    <a:lnTo>
                      <a:pt x="455" y="331"/>
                    </a:lnTo>
                    <a:lnTo>
                      <a:pt x="453" y="342"/>
                    </a:lnTo>
                    <a:lnTo>
                      <a:pt x="444" y="365"/>
                    </a:lnTo>
                    <a:lnTo>
                      <a:pt x="434" y="379"/>
                    </a:lnTo>
                    <a:lnTo>
                      <a:pt x="430" y="386"/>
                    </a:lnTo>
                    <a:lnTo>
                      <a:pt x="415" y="409"/>
                    </a:lnTo>
                    <a:lnTo>
                      <a:pt x="405" y="434"/>
                    </a:lnTo>
                    <a:lnTo>
                      <a:pt x="404" y="444"/>
                    </a:lnTo>
                    <a:lnTo>
                      <a:pt x="405" y="455"/>
                    </a:lnTo>
                    <a:lnTo>
                      <a:pt x="402" y="455"/>
                    </a:lnTo>
                    <a:lnTo>
                      <a:pt x="394" y="461"/>
                    </a:lnTo>
                    <a:lnTo>
                      <a:pt x="379" y="482"/>
                    </a:lnTo>
                    <a:lnTo>
                      <a:pt x="379" y="488"/>
                    </a:lnTo>
                    <a:lnTo>
                      <a:pt x="388" y="496"/>
                    </a:lnTo>
                    <a:lnTo>
                      <a:pt x="402" y="498"/>
                    </a:lnTo>
                    <a:lnTo>
                      <a:pt x="417" y="486"/>
                    </a:lnTo>
                    <a:lnTo>
                      <a:pt x="430" y="484"/>
                    </a:lnTo>
                    <a:lnTo>
                      <a:pt x="446" y="490"/>
                    </a:lnTo>
                    <a:lnTo>
                      <a:pt x="455" y="498"/>
                    </a:lnTo>
                    <a:lnTo>
                      <a:pt x="457" y="502"/>
                    </a:lnTo>
                    <a:lnTo>
                      <a:pt x="500" y="598"/>
                    </a:lnTo>
                    <a:lnTo>
                      <a:pt x="494" y="605"/>
                    </a:lnTo>
                    <a:lnTo>
                      <a:pt x="461" y="607"/>
                    </a:lnTo>
                    <a:lnTo>
                      <a:pt x="428" y="615"/>
                    </a:lnTo>
                    <a:lnTo>
                      <a:pt x="367" y="594"/>
                    </a:lnTo>
                    <a:lnTo>
                      <a:pt x="365" y="586"/>
                    </a:lnTo>
                    <a:lnTo>
                      <a:pt x="375" y="565"/>
                    </a:lnTo>
                    <a:lnTo>
                      <a:pt x="361" y="563"/>
                    </a:lnTo>
                    <a:lnTo>
                      <a:pt x="334" y="586"/>
                    </a:lnTo>
                    <a:lnTo>
                      <a:pt x="240" y="567"/>
                    </a:lnTo>
                    <a:lnTo>
                      <a:pt x="215" y="559"/>
                    </a:lnTo>
                    <a:lnTo>
                      <a:pt x="188" y="475"/>
                    </a:lnTo>
                    <a:lnTo>
                      <a:pt x="192" y="452"/>
                    </a:lnTo>
                    <a:lnTo>
                      <a:pt x="198" y="440"/>
                    </a:lnTo>
                    <a:lnTo>
                      <a:pt x="215" y="415"/>
                    </a:lnTo>
                    <a:lnTo>
                      <a:pt x="244" y="367"/>
                    </a:lnTo>
                    <a:lnTo>
                      <a:pt x="252" y="338"/>
                    </a:lnTo>
                    <a:lnTo>
                      <a:pt x="261" y="300"/>
                    </a:lnTo>
                    <a:lnTo>
                      <a:pt x="254" y="292"/>
                    </a:lnTo>
                    <a:lnTo>
                      <a:pt x="248" y="298"/>
                    </a:lnTo>
                    <a:lnTo>
                      <a:pt x="246" y="309"/>
                    </a:lnTo>
                    <a:lnTo>
                      <a:pt x="233" y="344"/>
                    </a:lnTo>
                    <a:lnTo>
                      <a:pt x="179" y="430"/>
                    </a:lnTo>
                    <a:lnTo>
                      <a:pt x="167" y="473"/>
                    </a:lnTo>
                    <a:lnTo>
                      <a:pt x="144" y="517"/>
                    </a:lnTo>
                    <a:lnTo>
                      <a:pt x="154" y="525"/>
                    </a:lnTo>
                    <a:lnTo>
                      <a:pt x="175" y="519"/>
                    </a:lnTo>
                    <a:lnTo>
                      <a:pt x="171" y="507"/>
                    </a:lnTo>
                    <a:lnTo>
                      <a:pt x="175" y="505"/>
                    </a:lnTo>
                    <a:lnTo>
                      <a:pt x="187" y="544"/>
                    </a:lnTo>
                    <a:lnTo>
                      <a:pt x="192" y="557"/>
                    </a:lnTo>
                    <a:lnTo>
                      <a:pt x="196" y="573"/>
                    </a:lnTo>
                    <a:lnTo>
                      <a:pt x="194" y="575"/>
                    </a:lnTo>
                    <a:lnTo>
                      <a:pt x="185" y="571"/>
                    </a:lnTo>
                    <a:lnTo>
                      <a:pt x="137" y="548"/>
                    </a:lnTo>
                    <a:lnTo>
                      <a:pt x="68" y="486"/>
                    </a:lnTo>
                    <a:lnTo>
                      <a:pt x="66" y="484"/>
                    </a:lnTo>
                    <a:lnTo>
                      <a:pt x="56" y="484"/>
                    </a:lnTo>
                    <a:lnTo>
                      <a:pt x="33" y="484"/>
                    </a:lnTo>
                    <a:lnTo>
                      <a:pt x="33" y="480"/>
                    </a:lnTo>
                    <a:lnTo>
                      <a:pt x="20" y="480"/>
                    </a:lnTo>
                    <a:lnTo>
                      <a:pt x="12" y="484"/>
                    </a:lnTo>
                    <a:lnTo>
                      <a:pt x="2" y="465"/>
                    </a:lnTo>
                    <a:lnTo>
                      <a:pt x="4" y="450"/>
                    </a:lnTo>
                    <a:lnTo>
                      <a:pt x="2" y="436"/>
                    </a:lnTo>
                    <a:lnTo>
                      <a:pt x="0" y="425"/>
                    </a:lnTo>
                    <a:lnTo>
                      <a:pt x="89" y="419"/>
                    </a:lnTo>
                    <a:lnTo>
                      <a:pt x="108" y="421"/>
                    </a:lnTo>
                    <a:lnTo>
                      <a:pt x="108" y="407"/>
                    </a:lnTo>
                    <a:lnTo>
                      <a:pt x="110" y="402"/>
                    </a:lnTo>
                    <a:lnTo>
                      <a:pt x="114" y="384"/>
                    </a:lnTo>
                    <a:lnTo>
                      <a:pt x="116" y="361"/>
                    </a:lnTo>
                    <a:lnTo>
                      <a:pt x="114" y="346"/>
                    </a:lnTo>
                    <a:lnTo>
                      <a:pt x="106" y="323"/>
                    </a:lnTo>
                    <a:lnTo>
                      <a:pt x="177" y="306"/>
                    </a:lnTo>
                    <a:lnTo>
                      <a:pt x="171" y="292"/>
                    </a:lnTo>
                    <a:lnTo>
                      <a:pt x="164" y="273"/>
                    </a:lnTo>
                    <a:lnTo>
                      <a:pt x="164" y="267"/>
                    </a:lnTo>
                    <a:lnTo>
                      <a:pt x="164" y="259"/>
                    </a:lnTo>
                    <a:lnTo>
                      <a:pt x="165" y="231"/>
                    </a:lnTo>
                    <a:lnTo>
                      <a:pt x="165" y="183"/>
                    </a:lnTo>
                    <a:lnTo>
                      <a:pt x="164" y="171"/>
                    </a:lnTo>
                    <a:lnTo>
                      <a:pt x="156" y="163"/>
                    </a:lnTo>
                    <a:lnTo>
                      <a:pt x="144" y="140"/>
                    </a:lnTo>
                    <a:lnTo>
                      <a:pt x="133" y="133"/>
                    </a:lnTo>
                    <a:lnTo>
                      <a:pt x="125" y="127"/>
                    </a:lnTo>
                    <a:lnTo>
                      <a:pt x="123" y="121"/>
                    </a:lnTo>
                    <a:lnTo>
                      <a:pt x="123" y="117"/>
                    </a:lnTo>
                    <a:lnTo>
                      <a:pt x="123" y="115"/>
                    </a:lnTo>
                    <a:lnTo>
                      <a:pt x="125" y="112"/>
                    </a:lnTo>
                    <a:lnTo>
                      <a:pt x="127" y="106"/>
                    </a:lnTo>
                    <a:lnTo>
                      <a:pt x="133" y="98"/>
                    </a:lnTo>
                    <a:lnTo>
                      <a:pt x="133" y="92"/>
                    </a:lnTo>
                    <a:lnTo>
                      <a:pt x="162" y="96"/>
                    </a:lnTo>
                    <a:lnTo>
                      <a:pt x="175" y="98"/>
                    </a:lnTo>
                    <a:lnTo>
                      <a:pt x="188" y="100"/>
                    </a:lnTo>
                    <a:lnTo>
                      <a:pt x="200" y="100"/>
                    </a:lnTo>
                    <a:lnTo>
                      <a:pt x="200" y="85"/>
                    </a:lnTo>
                    <a:lnTo>
                      <a:pt x="200" y="0"/>
                    </a:lnTo>
                    <a:lnTo>
                      <a:pt x="235" y="21"/>
                    </a:lnTo>
                    <a:lnTo>
                      <a:pt x="260" y="44"/>
                    </a:lnTo>
                    <a:lnTo>
                      <a:pt x="277" y="62"/>
                    </a:lnTo>
                    <a:lnTo>
                      <a:pt x="298" y="81"/>
                    </a:lnTo>
                    <a:lnTo>
                      <a:pt x="313" y="88"/>
                    </a:lnTo>
                    <a:lnTo>
                      <a:pt x="331" y="90"/>
                    </a:lnTo>
                    <a:lnTo>
                      <a:pt x="348" y="92"/>
                    </a:lnTo>
                    <a:lnTo>
                      <a:pt x="361" y="94"/>
                    </a:lnTo>
                    <a:lnTo>
                      <a:pt x="382" y="106"/>
                    </a:lnTo>
                    <a:lnTo>
                      <a:pt x="419" y="12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43" name="Freeform 31">
                <a:extLst>
                  <a:ext uri="{FF2B5EF4-FFF2-40B4-BE49-F238E27FC236}">
                    <a16:creationId xmlns:a16="http://schemas.microsoft.com/office/drawing/2014/main" id="{5C9FD0CF-CE40-4D4F-A701-00A2938785B9}"/>
                  </a:ext>
                </a:extLst>
              </p:cNvPr>
              <p:cNvSpPr>
                <a:spLocks/>
              </p:cNvSpPr>
              <p:nvPr/>
            </p:nvSpPr>
            <p:spPr bwMode="gray">
              <a:xfrm>
                <a:off x="3574468" y="3405189"/>
                <a:ext cx="672165" cy="514274"/>
              </a:xfrm>
              <a:custGeom>
                <a:avLst/>
                <a:gdLst>
                  <a:gd name="T0" fmla="*/ 582 w 596"/>
                  <a:gd name="T1" fmla="*/ 173 h 456"/>
                  <a:gd name="T2" fmla="*/ 549 w 596"/>
                  <a:gd name="T3" fmla="*/ 221 h 456"/>
                  <a:gd name="T4" fmla="*/ 546 w 596"/>
                  <a:gd name="T5" fmla="*/ 241 h 456"/>
                  <a:gd name="T6" fmla="*/ 546 w 596"/>
                  <a:gd name="T7" fmla="*/ 258 h 456"/>
                  <a:gd name="T8" fmla="*/ 540 w 596"/>
                  <a:gd name="T9" fmla="*/ 283 h 456"/>
                  <a:gd name="T10" fmla="*/ 532 w 596"/>
                  <a:gd name="T11" fmla="*/ 302 h 456"/>
                  <a:gd name="T12" fmla="*/ 515 w 596"/>
                  <a:gd name="T13" fmla="*/ 319 h 456"/>
                  <a:gd name="T14" fmla="*/ 501 w 596"/>
                  <a:gd name="T15" fmla="*/ 327 h 456"/>
                  <a:gd name="T16" fmla="*/ 467 w 596"/>
                  <a:gd name="T17" fmla="*/ 356 h 456"/>
                  <a:gd name="T18" fmla="*/ 440 w 596"/>
                  <a:gd name="T19" fmla="*/ 398 h 456"/>
                  <a:gd name="T20" fmla="*/ 434 w 596"/>
                  <a:gd name="T21" fmla="*/ 417 h 456"/>
                  <a:gd name="T22" fmla="*/ 419 w 596"/>
                  <a:gd name="T23" fmla="*/ 456 h 456"/>
                  <a:gd name="T24" fmla="*/ 402 w 596"/>
                  <a:gd name="T25" fmla="*/ 442 h 456"/>
                  <a:gd name="T26" fmla="*/ 384 w 596"/>
                  <a:gd name="T27" fmla="*/ 446 h 456"/>
                  <a:gd name="T28" fmla="*/ 367 w 596"/>
                  <a:gd name="T29" fmla="*/ 438 h 456"/>
                  <a:gd name="T30" fmla="*/ 344 w 596"/>
                  <a:gd name="T31" fmla="*/ 427 h 456"/>
                  <a:gd name="T32" fmla="*/ 338 w 596"/>
                  <a:gd name="T33" fmla="*/ 417 h 456"/>
                  <a:gd name="T34" fmla="*/ 329 w 596"/>
                  <a:gd name="T35" fmla="*/ 394 h 456"/>
                  <a:gd name="T36" fmla="*/ 306 w 596"/>
                  <a:gd name="T37" fmla="*/ 404 h 456"/>
                  <a:gd name="T38" fmla="*/ 294 w 596"/>
                  <a:gd name="T39" fmla="*/ 415 h 456"/>
                  <a:gd name="T40" fmla="*/ 288 w 596"/>
                  <a:gd name="T41" fmla="*/ 394 h 456"/>
                  <a:gd name="T42" fmla="*/ 250 w 596"/>
                  <a:gd name="T43" fmla="*/ 363 h 456"/>
                  <a:gd name="T44" fmla="*/ 242 w 596"/>
                  <a:gd name="T45" fmla="*/ 390 h 456"/>
                  <a:gd name="T46" fmla="*/ 250 w 596"/>
                  <a:gd name="T47" fmla="*/ 415 h 456"/>
                  <a:gd name="T48" fmla="*/ 223 w 596"/>
                  <a:gd name="T49" fmla="*/ 411 h 456"/>
                  <a:gd name="T50" fmla="*/ 158 w 596"/>
                  <a:gd name="T51" fmla="*/ 385 h 456"/>
                  <a:gd name="T52" fmla="*/ 112 w 596"/>
                  <a:gd name="T53" fmla="*/ 350 h 456"/>
                  <a:gd name="T54" fmla="*/ 83 w 596"/>
                  <a:gd name="T55" fmla="*/ 327 h 456"/>
                  <a:gd name="T56" fmla="*/ 83 w 596"/>
                  <a:gd name="T57" fmla="*/ 308 h 456"/>
                  <a:gd name="T58" fmla="*/ 104 w 596"/>
                  <a:gd name="T59" fmla="*/ 271 h 456"/>
                  <a:gd name="T60" fmla="*/ 129 w 596"/>
                  <a:gd name="T61" fmla="*/ 256 h 456"/>
                  <a:gd name="T62" fmla="*/ 62 w 596"/>
                  <a:gd name="T63" fmla="*/ 212 h 456"/>
                  <a:gd name="T64" fmla="*/ 46 w 596"/>
                  <a:gd name="T65" fmla="*/ 194 h 456"/>
                  <a:gd name="T66" fmla="*/ 16 w 596"/>
                  <a:gd name="T67" fmla="*/ 169 h 456"/>
                  <a:gd name="T68" fmla="*/ 21 w 596"/>
                  <a:gd name="T69" fmla="*/ 152 h 456"/>
                  <a:gd name="T70" fmla="*/ 8 w 596"/>
                  <a:gd name="T71" fmla="*/ 110 h 456"/>
                  <a:gd name="T72" fmla="*/ 18 w 596"/>
                  <a:gd name="T73" fmla="*/ 79 h 456"/>
                  <a:gd name="T74" fmla="*/ 20 w 596"/>
                  <a:gd name="T75" fmla="*/ 56 h 456"/>
                  <a:gd name="T76" fmla="*/ 10 w 596"/>
                  <a:gd name="T77" fmla="*/ 52 h 456"/>
                  <a:gd name="T78" fmla="*/ 4 w 596"/>
                  <a:gd name="T79" fmla="*/ 43 h 456"/>
                  <a:gd name="T80" fmla="*/ 2 w 596"/>
                  <a:gd name="T81" fmla="*/ 35 h 456"/>
                  <a:gd name="T82" fmla="*/ 39 w 596"/>
                  <a:gd name="T83" fmla="*/ 25 h 456"/>
                  <a:gd name="T84" fmla="*/ 75 w 596"/>
                  <a:gd name="T85" fmla="*/ 8 h 456"/>
                  <a:gd name="T86" fmla="*/ 92 w 596"/>
                  <a:gd name="T87" fmla="*/ 33 h 456"/>
                  <a:gd name="T88" fmla="*/ 121 w 596"/>
                  <a:gd name="T89" fmla="*/ 50 h 456"/>
                  <a:gd name="T90" fmla="*/ 148 w 596"/>
                  <a:gd name="T91" fmla="*/ 71 h 456"/>
                  <a:gd name="T92" fmla="*/ 177 w 596"/>
                  <a:gd name="T93" fmla="*/ 75 h 456"/>
                  <a:gd name="T94" fmla="*/ 248 w 596"/>
                  <a:gd name="T95" fmla="*/ 58 h 456"/>
                  <a:gd name="T96" fmla="*/ 261 w 596"/>
                  <a:gd name="T97" fmla="*/ 31 h 456"/>
                  <a:gd name="T98" fmla="*/ 252 w 596"/>
                  <a:gd name="T99" fmla="*/ 6 h 456"/>
                  <a:gd name="T100" fmla="*/ 288 w 596"/>
                  <a:gd name="T101" fmla="*/ 0 h 456"/>
                  <a:gd name="T102" fmla="*/ 321 w 596"/>
                  <a:gd name="T103" fmla="*/ 0 h 456"/>
                  <a:gd name="T104" fmla="*/ 359 w 596"/>
                  <a:gd name="T105" fmla="*/ 8 h 456"/>
                  <a:gd name="T106" fmla="*/ 488 w 596"/>
                  <a:gd name="T107" fmla="*/ 87 h 456"/>
                  <a:gd name="T108" fmla="*/ 521 w 596"/>
                  <a:gd name="T109" fmla="*/ 77 h 456"/>
                  <a:gd name="T110" fmla="*/ 525 w 596"/>
                  <a:gd name="T111" fmla="*/ 110 h 456"/>
                  <a:gd name="T112" fmla="*/ 553 w 596"/>
                  <a:gd name="T113" fmla="*/ 125 h 456"/>
                  <a:gd name="T114" fmla="*/ 590 w 596"/>
                  <a:gd name="T115" fmla="*/ 15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96" h="456">
                    <a:moveTo>
                      <a:pt x="596" y="148"/>
                    </a:moveTo>
                    <a:lnTo>
                      <a:pt x="592" y="160"/>
                    </a:lnTo>
                    <a:lnTo>
                      <a:pt x="582" y="173"/>
                    </a:lnTo>
                    <a:lnTo>
                      <a:pt x="574" y="185"/>
                    </a:lnTo>
                    <a:lnTo>
                      <a:pt x="559" y="208"/>
                    </a:lnTo>
                    <a:lnTo>
                      <a:pt x="549" y="221"/>
                    </a:lnTo>
                    <a:lnTo>
                      <a:pt x="548" y="229"/>
                    </a:lnTo>
                    <a:lnTo>
                      <a:pt x="546" y="237"/>
                    </a:lnTo>
                    <a:lnTo>
                      <a:pt x="546" y="241"/>
                    </a:lnTo>
                    <a:lnTo>
                      <a:pt x="544" y="244"/>
                    </a:lnTo>
                    <a:lnTo>
                      <a:pt x="546" y="254"/>
                    </a:lnTo>
                    <a:lnTo>
                      <a:pt x="546" y="258"/>
                    </a:lnTo>
                    <a:lnTo>
                      <a:pt x="544" y="264"/>
                    </a:lnTo>
                    <a:lnTo>
                      <a:pt x="544" y="269"/>
                    </a:lnTo>
                    <a:lnTo>
                      <a:pt x="540" y="283"/>
                    </a:lnTo>
                    <a:lnTo>
                      <a:pt x="538" y="294"/>
                    </a:lnTo>
                    <a:lnTo>
                      <a:pt x="536" y="300"/>
                    </a:lnTo>
                    <a:lnTo>
                      <a:pt x="532" y="302"/>
                    </a:lnTo>
                    <a:lnTo>
                      <a:pt x="530" y="306"/>
                    </a:lnTo>
                    <a:lnTo>
                      <a:pt x="521" y="315"/>
                    </a:lnTo>
                    <a:lnTo>
                      <a:pt x="515" y="319"/>
                    </a:lnTo>
                    <a:lnTo>
                      <a:pt x="511" y="321"/>
                    </a:lnTo>
                    <a:lnTo>
                      <a:pt x="503" y="325"/>
                    </a:lnTo>
                    <a:lnTo>
                      <a:pt x="501" y="327"/>
                    </a:lnTo>
                    <a:lnTo>
                      <a:pt x="496" y="331"/>
                    </a:lnTo>
                    <a:lnTo>
                      <a:pt x="486" y="338"/>
                    </a:lnTo>
                    <a:lnTo>
                      <a:pt x="467" y="356"/>
                    </a:lnTo>
                    <a:lnTo>
                      <a:pt x="461" y="362"/>
                    </a:lnTo>
                    <a:lnTo>
                      <a:pt x="448" y="373"/>
                    </a:lnTo>
                    <a:lnTo>
                      <a:pt x="440" y="398"/>
                    </a:lnTo>
                    <a:lnTo>
                      <a:pt x="438" y="408"/>
                    </a:lnTo>
                    <a:lnTo>
                      <a:pt x="436" y="413"/>
                    </a:lnTo>
                    <a:lnTo>
                      <a:pt x="434" y="417"/>
                    </a:lnTo>
                    <a:lnTo>
                      <a:pt x="423" y="442"/>
                    </a:lnTo>
                    <a:lnTo>
                      <a:pt x="421" y="448"/>
                    </a:lnTo>
                    <a:lnTo>
                      <a:pt x="419" y="456"/>
                    </a:lnTo>
                    <a:lnTo>
                      <a:pt x="411" y="450"/>
                    </a:lnTo>
                    <a:lnTo>
                      <a:pt x="405" y="444"/>
                    </a:lnTo>
                    <a:lnTo>
                      <a:pt x="402" y="442"/>
                    </a:lnTo>
                    <a:lnTo>
                      <a:pt x="396" y="442"/>
                    </a:lnTo>
                    <a:lnTo>
                      <a:pt x="388" y="444"/>
                    </a:lnTo>
                    <a:lnTo>
                      <a:pt x="384" y="446"/>
                    </a:lnTo>
                    <a:lnTo>
                      <a:pt x="375" y="442"/>
                    </a:lnTo>
                    <a:lnTo>
                      <a:pt x="369" y="436"/>
                    </a:lnTo>
                    <a:lnTo>
                      <a:pt x="367" y="438"/>
                    </a:lnTo>
                    <a:lnTo>
                      <a:pt x="359" y="429"/>
                    </a:lnTo>
                    <a:lnTo>
                      <a:pt x="352" y="427"/>
                    </a:lnTo>
                    <a:lnTo>
                      <a:pt x="344" y="427"/>
                    </a:lnTo>
                    <a:lnTo>
                      <a:pt x="338" y="425"/>
                    </a:lnTo>
                    <a:lnTo>
                      <a:pt x="334" y="423"/>
                    </a:lnTo>
                    <a:lnTo>
                      <a:pt x="338" y="417"/>
                    </a:lnTo>
                    <a:lnTo>
                      <a:pt x="336" y="413"/>
                    </a:lnTo>
                    <a:lnTo>
                      <a:pt x="333" y="410"/>
                    </a:lnTo>
                    <a:lnTo>
                      <a:pt x="329" y="394"/>
                    </a:lnTo>
                    <a:lnTo>
                      <a:pt x="321" y="388"/>
                    </a:lnTo>
                    <a:lnTo>
                      <a:pt x="317" y="392"/>
                    </a:lnTo>
                    <a:lnTo>
                      <a:pt x="306" y="404"/>
                    </a:lnTo>
                    <a:lnTo>
                      <a:pt x="300" y="411"/>
                    </a:lnTo>
                    <a:lnTo>
                      <a:pt x="298" y="419"/>
                    </a:lnTo>
                    <a:lnTo>
                      <a:pt x="294" y="415"/>
                    </a:lnTo>
                    <a:lnTo>
                      <a:pt x="294" y="410"/>
                    </a:lnTo>
                    <a:lnTo>
                      <a:pt x="292" y="402"/>
                    </a:lnTo>
                    <a:lnTo>
                      <a:pt x="288" y="394"/>
                    </a:lnTo>
                    <a:lnTo>
                      <a:pt x="277" y="388"/>
                    </a:lnTo>
                    <a:lnTo>
                      <a:pt x="261" y="375"/>
                    </a:lnTo>
                    <a:lnTo>
                      <a:pt x="250" y="363"/>
                    </a:lnTo>
                    <a:lnTo>
                      <a:pt x="236" y="369"/>
                    </a:lnTo>
                    <a:lnTo>
                      <a:pt x="242" y="385"/>
                    </a:lnTo>
                    <a:lnTo>
                      <a:pt x="242" y="390"/>
                    </a:lnTo>
                    <a:lnTo>
                      <a:pt x="240" y="392"/>
                    </a:lnTo>
                    <a:lnTo>
                      <a:pt x="246" y="406"/>
                    </a:lnTo>
                    <a:lnTo>
                      <a:pt x="250" y="415"/>
                    </a:lnTo>
                    <a:lnTo>
                      <a:pt x="235" y="417"/>
                    </a:lnTo>
                    <a:lnTo>
                      <a:pt x="231" y="415"/>
                    </a:lnTo>
                    <a:lnTo>
                      <a:pt x="223" y="411"/>
                    </a:lnTo>
                    <a:lnTo>
                      <a:pt x="200" y="402"/>
                    </a:lnTo>
                    <a:lnTo>
                      <a:pt x="165" y="392"/>
                    </a:lnTo>
                    <a:lnTo>
                      <a:pt x="158" y="385"/>
                    </a:lnTo>
                    <a:lnTo>
                      <a:pt x="152" y="379"/>
                    </a:lnTo>
                    <a:lnTo>
                      <a:pt x="125" y="360"/>
                    </a:lnTo>
                    <a:lnTo>
                      <a:pt x="112" y="350"/>
                    </a:lnTo>
                    <a:lnTo>
                      <a:pt x="91" y="337"/>
                    </a:lnTo>
                    <a:lnTo>
                      <a:pt x="85" y="333"/>
                    </a:lnTo>
                    <a:lnTo>
                      <a:pt x="83" y="327"/>
                    </a:lnTo>
                    <a:lnTo>
                      <a:pt x="83" y="323"/>
                    </a:lnTo>
                    <a:lnTo>
                      <a:pt x="81" y="314"/>
                    </a:lnTo>
                    <a:lnTo>
                      <a:pt x="83" y="308"/>
                    </a:lnTo>
                    <a:lnTo>
                      <a:pt x="85" y="298"/>
                    </a:lnTo>
                    <a:lnTo>
                      <a:pt x="94" y="283"/>
                    </a:lnTo>
                    <a:lnTo>
                      <a:pt x="104" y="271"/>
                    </a:lnTo>
                    <a:lnTo>
                      <a:pt x="112" y="265"/>
                    </a:lnTo>
                    <a:lnTo>
                      <a:pt x="123" y="262"/>
                    </a:lnTo>
                    <a:lnTo>
                      <a:pt x="129" y="256"/>
                    </a:lnTo>
                    <a:lnTo>
                      <a:pt x="133" y="248"/>
                    </a:lnTo>
                    <a:lnTo>
                      <a:pt x="77" y="216"/>
                    </a:lnTo>
                    <a:lnTo>
                      <a:pt x="62" y="212"/>
                    </a:lnTo>
                    <a:lnTo>
                      <a:pt x="58" y="206"/>
                    </a:lnTo>
                    <a:lnTo>
                      <a:pt x="52" y="198"/>
                    </a:lnTo>
                    <a:lnTo>
                      <a:pt x="46" y="194"/>
                    </a:lnTo>
                    <a:lnTo>
                      <a:pt x="31" y="187"/>
                    </a:lnTo>
                    <a:lnTo>
                      <a:pt x="10" y="179"/>
                    </a:lnTo>
                    <a:lnTo>
                      <a:pt x="16" y="169"/>
                    </a:lnTo>
                    <a:lnTo>
                      <a:pt x="25" y="166"/>
                    </a:lnTo>
                    <a:lnTo>
                      <a:pt x="25" y="148"/>
                    </a:lnTo>
                    <a:lnTo>
                      <a:pt x="21" y="152"/>
                    </a:lnTo>
                    <a:lnTo>
                      <a:pt x="14" y="141"/>
                    </a:lnTo>
                    <a:lnTo>
                      <a:pt x="10" y="123"/>
                    </a:lnTo>
                    <a:lnTo>
                      <a:pt x="8" y="110"/>
                    </a:lnTo>
                    <a:lnTo>
                      <a:pt x="14" y="108"/>
                    </a:lnTo>
                    <a:lnTo>
                      <a:pt x="18" y="91"/>
                    </a:lnTo>
                    <a:lnTo>
                      <a:pt x="18" y="79"/>
                    </a:lnTo>
                    <a:lnTo>
                      <a:pt x="31" y="79"/>
                    </a:lnTo>
                    <a:lnTo>
                      <a:pt x="27" y="66"/>
                    </a:lnTo>
                    <a:lnTo>
                      <a:pt x="20" y="56"/>
                    </a:lnTo>
                    <a:lnTo>
                      <a:pt x="16" y="54"/>
                    </a:lnTo>
                    <a:lnTo>
                      <a:pt x="12" y="54"/>
                    </a:lnTo>
                    <a:lnTo>
                      <a:pt x="10" y="52"/>
                    </a:lnTo>
                    <a:lnTo>
                      <a:pt x="8" y="48"/>
                    </a:lnTo>
                    <a:lnTo>
                      <a:pt x="6" y="45"/>
                    </a:lnTo>
                    <a:lnTo>
                      <a:pt x="4" y="43"/>
                    </a:lnTo>
                    <a:lnTo>
                      <a:pt x="2" y="41"/>
                    </a:lnTo>
                    <a:lnTo>
                      <a:pt x="0" y="39"/>
                    </a:lnTo>
                    <a:lnTo>
                      <a:pt x="2" y="35"/>
                    </a:lnTo>
                    <a:lnTo>
                      <a:pt x="4" y="29"/>
                    </a:lnTo>
                    <a:lnTo>
                      <a:pt x="21" y="27"/>
                    </a:lnTo>
                    <a:lnTo>
                      <a:pt x="39" y="25"/>
                    </a:lnTo>
                    <a:lnTo>
                      <a:pt x="50" y="22"/>
                    </a:lnTo>
                    <a:lnTo>
                      <a:pt x="60" y="16"/>
                    </a:lnTo>
                    <a:lnTo>
                      <a:pt x="75" y="8"/>
                    </a:lnTo>
                    <a:lnTo>
                      <a:pt x="85" y="20"/>
                    </a:lnTo>
                    <a:lnTo>
                      <a:pt x="89" y="27"/>
                    </a:lnTo>
                    <a:lnTo>
                      <a:pt x="92" y="33"/>
                    </a:lnTo>
                    <a:lnTo>
                      <a:pt x="96" y="37"/>
                    </a:lnTo>
                    <a:lnTo>
                      <a:pt x="102" y="41"/>
                    </a:lnTo>
                    <a:lnTo>
                      <a:pt x="121" y="50"/>
                    </a:lnTo>
                    <a:lnTo>
                      <a:pt x="131" y="56"/>
                    </a:lnTo>
                    <a:lnTo>
                      <a:pt x="139" y="62"/>
                    </a:lnTo>
                    <a:lnTo>
                      <a:pt x="148" y="71"/>
                    </a:lnTo>
                    <a:lnTo>
                      <a:pt x="158" y="83"/>
                    </a:lnTo>
                    <a:lnTo>
                      <a:pt x="169" y="77"/>
                    </a:lnTo>
                    <a:lnTo>
                      <a:pt x="177" y="75"/>
                    </a:lnTo>
                    <a:lnTo>
                      <a:pt x="192" y="77"/>
                    </a:lnTo>
                    <a:lnTo>
                      <a:pt x="198" y="75"/>
                    </a:lnTo>
                    <a:lnTo>
                      <a:pt x="248" y="58"/>
                    </a:lnTo>
                    <a:lnTo>
                      <a:pt x="265" y="46"/>
                    </a:lnTo>
                    <a:lnTo>
                      <a:pt x="265" y="43"/>
                    </a:lnTo>
                    <a:lnTo>
                      <a:pt x="261" y="31"/>
                    </a:lnTo>
                    <a:lnTo>
                      <a:pt x="246" y="18"/>
                    </a:lnTo>
                    <a:lnTo>
                      <a:pt x="244" y="12"/>
                    </a:lnTo>
                    <a:lnTo>
                      <a:pt x="252" y="6"/>
                    </a:lnTo>
                    <a:lnTo>
                      <a:pt x="267" y="4"/>
                    </a:lnTo>
                    <a:lnTo>
                      <a:pt x="279" y="2"/>
                    </a:lnTo>
                    <a:lnTo>
                      <a:pt x="288" y="0"/>
                    </a:lnTo>
                    <a:lnTo>
                      <a:pt x="304" y="2"/>
                    </a:lnTo>
                    <a:lnTo>
                      <a:pt x="309" y="0"/>
                    </a:lnTo>
                    <a:lnTo>
                      <a:pt x="321" y="0"/>
                    </a:lnTo>
                    <a:lnTo>
                      <a:pt x="334" y="0"/>
                    </a:lnTo>
                    <a:lnTo>
                      <a:pt x="352" y="4"/>
                    </a:lnTo>
                    <a:lnTo>
                      <a:pt x="359" y="8"/>
                    </a:lnTo>
                    <a:lnTo>
                      <a:pt x="446" y="93"/>
                    </a:lnTo>
                    <a:lnTo>
                      <a:pt x="463" y="91"/>
                    </a:lnTo>
                    <a:lnTo>
                      <a:pt x="488" y="87"/>
                    </a:lnTo>
                    <a:lnTo>
                      <a:pt x="501" y="83"/>
                    </a:lnTo>
                    <a:lnTo>
                      <a:pt x="511" y="77"/>
                    </a:lnTo>
                    <a:lnTo>
                      <a:pt x="521" y="77"/>
                    </a:lnTo>
                    <a:lnTo>
                      <a:pt x="523" y="85"/>
                    </a:lnTo>
                    <a:lnTo>
                      <a:pt x="523" y="98"/>
                    </a:lnTo>
                    <a:lnTo>
                      <a:pt x="525" y="110"/>
                    </a:lnTo>
                    <a:lnTo>
                      <a:pt x="532" y="116"/>
                    </a:lnTo>
                    <a:lnTo>
                      <a:pt x="540" y="119"/>
                    </a:lnTo>
                    <a:lnTo>
                      <a:pt x="553" y="125"/>
                    </a:lnTo>
                    <a:lnTo>
                      <a:pt x="563" y="133"/>
                    </a:lnTo>
                    <a:lnTo>
                      <a:pt x="573" y="143"/>
                    </a:lnTo>
                    <a:lnTo>
                      <a:pt x="590" y="150"/>
                    </a:lnTo>
                    <a:lnTo>
                      <a:pt x="596" y="14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44" name="Freeform 32">
                <a:extLst>
                  <a:ext uri="{FF2B5EF4-FFF2-40B4-BE49-F238E27FC236}">
                    <a16:creationId xmlns:a16="http://schemas.microsoft.com/office/drawing/2014/main" id="{109AC8D8-C247-41DE-9BD9-4950E4C25477}"/>
                  </a:ext>
                </a:extLst>
              </p:cNvPr>
              <p:cNvSpPr>
                <a:spLocks/>
              </p:cNvSpPr>
              <p:nvPr/>
            </p:nvSpPr>
            <p:spPr bwMode="gray">
              <a:xfrm>
                <a:off x="3249663" y="3039784"/>
                <a:ext cx="409389" cy="567280"/>
              </a:xfrm>
              <a:custGeom>
                <a:avLst/>
                <a:gdLst>
                  <a:gd name="T0" fmla="*/ 261 w 363"/>
                  <a:gd name="T1" fmla="*/ 482 h 503"/>
                  <a:gd name="T2" fmla="*/ 225 w 363"/>
                  <a:gd name="T3" fmla="*/ 463 h 503"/>
                  <a:gd name="T4" fmla="*/ 196 w 363"/>
                  <a:gd name="T5" fmla="*/ 445 h 503"/>
                  <a:gd name="T6" fmla="*/ 131 w 363"/>
                  <a:gd name="T7" fmla="*/ 409 h 503"/>
                  <a:gd name="T8" fmla="*/ 73 w 363"/>
                  <a:gd name="T9" fmla="*/ 376 h 503"/>
                  <a:gd name="T10" fmla="*/ 43 w 363"/>
                  <a:gd name="T11" fmla="*/ 372 h 503"/>
                  <a:gd name="T12" fmla="*/ 10 w 363"/>
                  <a:gd name="T13" fmla="*/ 363 h 503"/>
                  <a:gd name="T14" fmla="*/ 20 w 363"/>
                  <a:gd name="T15" fmla="*/ 336 h 503"/>
                  <a:gd name="T16" fmla="*/ 12 w 363"/>
                  <a:gd name="T17" fmla="*/ 299 h 503"/>
                  <a:gd name="T18" fmla="*/ 0 w 363"/>
                  <a:gd name="T19" fmla="*/ 259 h 503"/>
                  <a:gd name="T20" fmla="*/ 18 w 363"/>
                  <a:gd name="T21" fmla="*/ 230 h 503"/>
                  <a:gd name="T22" fmla="*/ 54 w 363"/>
                  <a:gd name="T23" fmla="*/ 190 h 503"/>
                  <a:gd name="T24" fmla="*/ 71 w 363"/>
                  <a:gd name="T25" fmla="*/ 173 h 503"/>
                  <a:gd name="T26" fmla="*/ 104 w 363"/>
                  <a:gd name="T27" fmla="*/ 136 h 503"/>
                  <a:gd name="T28" fmla="*/ 139 w 363"/>
                  <a:gd name="T29" fmla="*/ 105 h 503"/>
                  <a:gd name="T30" fmla="*/ 160 w 363"/>
                  <a:gd name="T31" fmla="*/ 86 h 503"/>
                  <a:gd name="T32" fmla="*/ 171 w 363"/>
                  <a:gd name="T33" fmla="*/ 63 h 503"/>
                  <a:gd name="T34" fmla="*/ 181 w 363"/>
                  <a:gd name="T35" fmla="*/ 44 h 503"/>
                  <a:gd name="T36" fmla="*/ 194 w 363"/>
                  <a:gd name="T37" fmla="*/ 32 h 503"/>
                  <a:gd name="T38" fmla="*/ 210 w 363"/>
                  <a:gd name="T39" fmla="*/ 27 h 503"/>
                  <a:gd name="T40" fmla="*/ 219 w 363"/>
                  <a:gd name="T41" fmla="*/ 21 h 503"/>
                  <a:gd name="T42" fmla="*/ 244 w 363"/>
                  <a:gd name="T43" fmla="*/ 9 h 503"/>
                  <a:gd name="T44" fmla="*/ 265 w 363"/>
                  <a:gd name="T45" fmla="*/ 0 h 503"/>
                  <a:gd name="T46" fmla="*/ 277 w 363"/>
                  <a:gd name="T47" fmla="*/ 29 h 503"/>
                  <a:gd name="T48" fmla="*/ 283 w 363"/>
                  <a:gd name="T49" fmla="*/ 65 h 503"/>
                  <a:gd name="T50" fmla="*/ 292 w 363"/>
                  <a:gd name="T51" fmla="*/ 98 h 503"/>
                  <a:gd name="T52" fmla="*/ 309 w 363"/>
                  <a:gd name="T53" fmla="*/ 127 h 503"/>
                  <a:gd name="T54" fmla="*/ 332 w 363"/>
                  <a:gd name="T55" fmla="*/ 161 h 503"/>
                  <a:gd name="T56" fmla="*/ 334 w 363"/>
                  <a:gd name="T57" fmla="*/ 169 h 503"/>
                  <a:gd name="T58" fmla="*/ 332 w 363"/>
                  <a:gd name="T59" fmla="*/ 184 h 503"/>
                  <a:gd name="T60" fmla="*/ 331 w 363"/>
                  <a:gd name="T61" fmla="*/ 200 h 503"/>
                  <a:gd name="T62" fmla="*/ 332 w 363"/>
                  <a:gd name="T63" fmla="*/ 236 h 503"/>
                  <a:gd name="T64" fmla="*/ 346 w 363"/>
                  <a:gd name="T65" fmla="*/ 261 h 503"/>
                  <a:gd name="T66" fmla="*/ 356 w 363"/>
                  <a:gd name="T67" fmla="*/ 276 h 503"/>
                  <a:gd name="T68" fmla="*/ 359 w 363"/>
                  <a:gd name="T69" fmla="*/ 303 h 503"/>
                  <a:gd name="T70" fmla="*/ 363 w 363"/>
                  <a:gd name="T71" fmla="*/ 332 h 503"/>
                  <a:gd name="T72" fmla="*/ 338 w 363"/>
                  <a:gd name="T73" fmla="*/ 346 h 503"/>
                  <a:gd name="T74" fmla="*/ 309 w 363"/>
                  <a:gd name="T75" fmla="*/ 351 h 503"/>
                  <a:gd name="T76" fmla="*/ 290 w 363"/>
                  <a:gd name="T77" fmla="*/ 359 h 503"/>
                  <a:gd name="T78" fmla="*/ 290 w 363"/>
                  <a:gd name="T79" fmla="*/ 365 h 503"/>
                  <a:gd name="T80" fmla="*/ 294 w 363"/>
                  <a:gd name="T81" fmla="*/ 369 h 503"/>
                  <a:gd name="T82" fmla="*/ 298 w 363"/>
                  <a:gd name="T83" fmla="*/ 376 h 503"/>
                  <a:gd name="T84" fmla="*/ 304 w 363"/>
                  <a:gd name="T85" fmla="*/ 378 h 503"/>
                  <a:gd name="T86" fmla="*/ 315 w 363"/>
                  <a:gd name="T87" fmla="*/ 390 h 503"/>
                  <a:gd name="T88" fmla="*/ 306 w 363"/>
                  <a:gd name="T89" fmla="*/ 403 h 503"/>
                  <a:gd name="T90" fmla="*/ 302 w 363"/>
                  <a:gd name="T91" fmla="*/ 432 h 503"/>
                  <a:gd name="T92" fmla="*/ 298 w 363"/>
                  <a:gd name="T93" fmla="*/ 447 h 503"/>
                  <a:gd name="T94" fmla="*/ 309 w 363"/>
                  <a:gd name="T95" fmla="*/ 476 h 503"/>
                  <a:gd name="T96" fmla="*/ 313 w 363"/>
                  <a:gd name="T97" fmla="*/ 490 h 503"/>
                  <a:gd name="T98" fmla="*/ 298 w 363"/>
                  <a:gd name="T99" fmla="*/ 503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63" h="503">
                    <a:moveTo>
                      <a:pt x="298" y="503"/>
                    </a:moveTo>
                    <a:lnTo>
                      <a:pt x="261" y="482"/>
                    </a:lnTo>
                    <a:lnTo>
                      <a:pt x="250" y="476"/>
                    </a:lnTo>
                    <a:lnTo>
                      <a:pt x="225" y="463"/>
                    </a:lnTo>
                    <a:lnTo>
                      <a:pt x="204" y="451"/>
                    </a:lnTo>
                    <a:lnTo>
                      <a:pt x="196" y="445"/>
                    </a:lnTo>
                    <a:lnTo>
                      <a:pt x="167" y="430"/>
                    </a:lnTo>
                    <a:lnTo>
                      <a:pt x="131" y="409"/>
                    </a:lnTo>
                    <a:lnTo>
                      <a:pt x="94" y="388"/>
                    </a:lnTo>
                    <a:lnTo>
                      <a:pt x="73" y="376"/>
                    </a:lnTo>
                    <a:lnTo>
                      <a:pt x="60" y="374"/>
                    </a:lnTo>
                    <a:lnTo>
                      <a:pt x="43" y="372"/>
                    </a:lnTo>
                    <a:lnTo>
                      <a:pt x="25" y="370"/>
                    </a:lnTo>
                    <a:lnTo>
                      <a:pt x="10" y="363"/>
                    </a:lnTo>
                    <a:lnTo>
                      <a:pt x="16" y="349"/>
                    </a:lnTo>
                    <a:lnTo>
                      <a:pt x="20" y="336"/>
                    </a:lnTo>
                    <a:lnTo>
                      <a:pt x="18" y="322"/>
                    </a:lnTo>
                    <a:lnTo>
                      <a:pt x="12" y="299"/>
                    </a:lnTo>
                    <a:lnTo>
                      <a:pt x="0" y="276"/>
                    </a:lnTo>
                    <a:lnTo>
                      <a:pt x="0" y="259"/>
                    </a:lnTo>
                    <a:lnTo>
                      <a:pt x="4" y="246"/>
                    </a:lnTo>
                    <a:lnTo>
                      <a:pt x="18" y="230"/>
                    </a:lnTo>
                    <a:lnTo>
                      <a:pt x="33" y="217"/>
                    </a:lnTo>
                    <a:lnTo>
                      <a:pt x="54" y="190"/>
                    </a:lnTo>
                    <a:lnTo>
                      <a:pt x="60" y="182"/>
                    </a:lnTo>
                    <a:lnTo>
                      <a:pt x="71" y="173"/>
                    </a:lnTo>
                    <a:lnTo>
                      <a:pt x="87" y="153"/>
                    </a:lnTo>
                    <a:lnTo>
                      <a:pt x="104" y="136"/>
                    </a:lnTo>
                    <a:lnTo>
                      <a:pt x="131" y="113"/>
                    </a:lnTo>
                    <a:lnTo>
                      <a:pt x="139" y="105"/>
                    </a:lnTo>
                    <a:lnTo>
                      <a:pt x="148" y="98"/>
                    </a:lnTo>
                    <a:lnTo>
                      <a:pt x="160" y="86"/>
                    </a:lnTo>
                    <a:lnTo>
                      <a:pt x="167" y="71"/>
                    </a:lnTo>
                    <a:lnTo>
                      <a:pt x="171" y="63"/>
                    </a:lnTo>
                    <a:lnTo>
                      <a:pt x="175" y="52"/>
                    </a:lnTo>
                    <a:lnTo>
                      <a:pt x="181" y="44"/>
                    </a:lnTo>
                    <a:lnTo>
                      <a:pt x="185" y="36"/>
                    </a:lnTo>
                    <a:lnTo>
                      <a:pt x="194" y="32"/>
                    </a:lnTo>
                    <a:lnTo>
                      <a:pt x="200" y="30"/>
                    </a:lnTo>
                    <a:lnTo>
                      <a:pt x="210" y="27"/>
                    </a:lnTo>
                    <a:lnTo>
                      <a:pt x="213" y="25"/>
                    </a:lnTo>
                    <a:lnTo>
                      <a:pt x="219" y="21"/>
                    </a:lnTo>
                    <a:lnTo>
                      <a:pt x="229" y="17"/>
                    </a:lnTo>
                    <a:lnTo>
                      <a:pt x="244" y="9"/>
                    </a:lnTo>
                    <a:lnTo>
                      <a:pt x="252" y="5"/>
                    </a:lnTo>
                    <a:lnTo>
                      <a:pt x="265" y="0"/>
                    </a:lnTo>
                    <a:lnTo>
                      <a:pt x="273" y="15"/>
                    </a:lnTo>
                    <a:lnTo>
                      <a:pt x="277" y="29"/>
                    </a:lnTo>
                    <a:lnTo>
                      <a:pt x="281" y="61"/>
                    </a:lnTo>
                    <a:lnTo>
                      <a:pt x="283" y="65"/>
                    </a:lnTo>
                    <a:lnTo>
                      <a:pt x="286" y="80"/>
                    </a:lnTo>
                    <a:lnTo>
                      <a:pt x="292" y="98"/>
                    </a:lnTo>
                    <a:lnTo>
                      <a:pt x="298" y="113"/>
                    </a:lnTo>
                    <a:lnTo>
                      <a:pt x="309" y="127"/>
                    </a:lnTo>
                    <a:lnTo>
                      <a:pt x="325" y="150"/>
                    </a:lnTo>
                    <a:lnTo>
                      <a:pt x="332" y="161"/>
                    </a:lnTo>
                    <a:lnTo>
                      <a:pt x="334" y="165"/>
                    </a:lnTo>
                    <a:lnTo>
                      <a:pt x="334" y="169"/>
                    </a:lnTo>
                    <a:lnTo>
                      <a:pt x="334" y="175"/>
                    </a:lnTo>
                    <a:lnTo>
                      <a:pt x="332" y="184"/>
                    </a:lnTo>
                    <a:lnTo>
                      <a:pt x="331" y="192"/>
                    </a:lnTo>
                    <a:lnTo>
                      <a:pt x="331" y="200"/>
                    </a:lnTo>
                    <a:lnTo>
                      <a:pt x="331" y="211"/>
                    </a:lnTo>
                    <a:lnTo>
                      <a:pt x="332" y="236"/>
                    </a:lnTo>
                    <a:lnTo>
                      <a:pt x="340" y="248"/>
                    </a:lnTo>
                    <a:lnTo>
                      <a:pt x="346" y="261"/>
                    </a:lnTo>
                    <a:lnTo>
                      <a:pt x="354" y="276"/>
                    </a:lnTo>
                    <a:lnTo>
                      <a:pt x="356" y="276"/>
                    </a:lnTo>
                    <a:lnTo>
                      <a:pt x="357" y="286"/>
                    </a:lnTo>
                    <a:lnTo>
                      <a:pt x="359" y="303"/>
                    </a:lnTo>
                    <a:lnTo>
                      <a:pt x="361" y="326"/>
                    </a:lnTo>
                    <a:lnTo>
                      <a:pt x="363" y="332"/>
                    </a:lnTo>
                    <a:lnTo>
                      <a:pt x="348" y="340"/>
                    </a:lnTo>
                    <a:lnTo>
                      <a:pt x="338" y="346"/>
                    </a:lnTo>
                    <a:lnTo>
                      <a:pt x="327" y="349"/>
                    </a:lnTo>
                    <a:lnTo>
                      <a:pt x="309" y="351"/>
                    </a:lnTo>
                    <a:lnTo>
                      <a:pt x="292" y="353"/>
                    </a:lnTo>
                    <a:lnTo>
                      <a:pt x="290" y="359"/>
                    </a:lnTo>
                    <a:lnTo>
                      <a:pt x="288" y="363"/>
                    </a:lnTo>
                    <a:lnTo>
                      <a:pt x="290" y="365"/>
                    </a:lnTo>
                    <a:lnTo>
                      <a:pt x="292" y="367"/>
                    </a:lnTo>
                    <a:lnTo>
                      <a:pt x="294" y="369"/>
                    </a:lnTo>
                    <a:lnTo>
                      <a:pt x="296" y="372"/>
                    </a:lnTo>
                    <a:lnTo>
                      <a:pt x="298" y="376"/>
                    </a:lnTo>
                    <a:lnTo>
                      <a:pt x="300" y="378"/>
                    </a:lnTo>
                    <a:lnTo>
                      <a:pt x="304" y="378"/>
                    </a:lnTo>
                    <a:lnTo>
                      <a:pt x="308" y="380"/>
                    </a:lnTo>
                    <a:lnTo>
                      <a:pt x="315" y="390"/>
                    </a:lnTo>
                    <a:lnTo>
                      <a:pt x="319" y="403"/>
                    </a:lnTo>
                    <a:lnTo>
                      <a:pt x="306" y="403"/>
                    </a:lnTo>
                    <a:lnTo>
                      <a:pt x="306" y="415"/>
                    </a:lnTo>
                    <a:lnTo>
                      <a:pt x="302" y="432"/>
                    </a:lnTo>
                    <a:lnTo>
                      <a:pt x="296" y="434"/>
                    </a:lnTo>
                    <a:lnTo>
                      <a:pt x="298" y="447"/>
                    </a:lnTo>
                    <a:lnTo>
                      <a:pt x="302" y="465"/>
                    </a:lnTo>
                    <a:lnTo>
                      <a:pt x="309" y="476"/>
                    </a:lnTo>
                    <a:lnTo>
                      <a:pt x="313" y="472"/>
                    </a:lnTo>
                    <a:lnTo>
                      <a:pt x="313" y="490"/>
                    </a:lnTo>
                    <a:lnTo>
                      <a:pt x="304" y="493"/>
                    </a:lnTo>
                    <a:lnTo>
                      <a:pt x="298" y="50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45" name="Freeform 33">
                <a:extLst>
                  <a:ext uri="{FF2B5EF4-FFF2-40B4-BE49-F238E27FC236}">
                    <a16:creationId xmlns:a16="http://schemas.microsoft.com/office/drawing/2014/main" id="{173682A3-035B-46E5-B8F9-A2841BC199D0}"/>
                  </a:ext>
                </a:extLst>
              </p:cNvPr>
              <p:cNvSpPr>
                <a:spLocks/>
              </p:cNvSpPr>
              <p:nvPr/>
            </p:nvSpPr>
            <p:spPr bwMode="gray">
              <a:xfrm>
                <a:off x="2879747" y="3045424"/>
                <a:ext cx="517658" cy="403750"/>
              </a:xfrm>
              <a:custGeom>
                <a:avLst/>
                <a:gdLst>
                  <a:gd name="T0" fmla="*/ 338 w 459"/>
                  <a:gd name="T1" fmla="*/ 358 h 358"/>
                  <a:gd name="T2" fmla="*/ 317 w 459"/>
                  <a:gd name="T3" fmla="*/ 339 h 358"/>
                  <a:gd name="T4" fmla="*/ 300 w 459"/>
                  <a:gd name="T5" fmla="*/ 321 h 358"/>
                  <a:gd name="T6" fmla="*/ 275 w 459"/>
                  <a:gd name="T7" fmla="*/ 298 h 358"/>
                  <a:gd name="T8" fmla="*/ 240 w 459"/>
                  <a:gd name="T9" fmla="*/ 277 h 358"/>
                  <a:gd name="T10" fmla="*/ 230 w 459"/>
                  <a:gd name="T11" fmla="*/ 271 h 358"/>
                  <a:gd name="T12" fmla="*/ 205 w 459"/>
                  <a:gd name="T13" fmla="*/ 262 h 358"/>
                  <a:gd name="T14" fmla="*/ 194 w 459"/>
                  <a:gd name="T15" fmla="*/ 260 h 358"/>
                  <a:gd name="T16" fmla="*/ 173 w 459"/>
                  <a:gd name="T17" fmla="*/ 256 h 358"/>
                  <a:gd name="T18" fmla="*/ 142 w 459"/>
                  <a:gd name="T19" fmla="*/ 254 h 358"/>
                  <a:gd name="T20" fmla="*/ 134 w 459"/>
                  <a:gd name="T21" fmla="*/ 252 h 358"/>
                  <a:gd name="T22" fmla="*/ 123 w 459"/>
                  <a:gd name="T23" fmla="*/ 250 h 358"/>
                  <a:gd name="T24" fmla="*/ 109 w 459"/>
                  <a:gd name="T25" fmla="*/ 244 h 358"/>
                  <a:gd name="T26" fmla="*/ 92 w 459"/>
                  <a:gd name="T27" fmla="*/ 237 h 358"/>
                  <a:gd name="T28" fmla="*/ 27 w 459"/>
                  <a:gd name="T29" fmla="*/ 181 h 358"/>
                  <a:gd name="T30" fmla="*/ 13 w 459"/>
                  <a:gd name="T31" fmla="*/ 177 h 358"/>
                  <a:gd name="T32" fmla="*/ 0 w 459"/>
                  <a:gd name="T33" fmla="*/ 175 h 358"/>
                  <a:gd name="T34" fmla="*/ 10 w 459"/>
                  <a:gd name="T35" fmla="*/ 162 h 358"/>
                  <a:gd name="T36" fmla="*/ 23 w 459"/>
                  <a:gd name="T37" fmla="*/ 146 h 358"/>
                  <a:gd name="T38" fmla="*/ 42 w 459"/>
                  <a:gd name="T39" fmla="*/ 135 h 358"/>
                  <a:gd name="T40" fmla="*/ 157 w 459"/>
                  <a:gd name="T41" fmla="*/ 100 h 358"/>
                  <a:gd name="T42" fmla="*/ 175 w 459"/>
                  <a:gd name="T43" fmla="*/ 93 h 358"/>
                  <a:gd name="T44" fmla="*/ 194 w 459"/>
                  <a:gd name="T45" fmla="*/ 85 h 358"/>
                  <a:gd name="T46" fmla="*/ 228 w 459"/>
                  <a:gd name="T47" fmla="*/ 58 h 358"/>
                  <a:gd name="T48" fmla="*/ 273 w 459"/>
                  <a:gd name="T49" fmla="*/ 14 h 358"/>
                  <a:gd name="T50" fmla="*/ 288 w 459"/>
                  <a:gd name="T51" fmla="*/ 0 h 358"/>
                  <a:gd name="T52" fmla="*/ 307 w 459"/>
                  <a:gd name="T53" fmla="*/ 22 h 358"/>
                  <a:gd name="T54" fmla="*/ 326 w 459"/>
                  <a:gd name="T55" fmla="*/ 39 h 358"/>
                  <a:gd name="T56" fmla="*/ 344 w 459"/>
                  <a:gd name="T57" fmla="*/ 52 h 358"/>
                  <a:gd name="T58" fmla="*/ 355 w 459"/>
                  <a:gd name="T59" fmla="*/ 58 h 358"/>
                  <a:gd name="T60" fmla="*/ 371 w 459"/>
                  <a:gd name="T61" fmla="*/ 66 h 358"/>
                  <a:gd name="T62" fmla="*/ 392 w 459"/>
                  <a:gd name="T63" fmla="*/ 72 h 358"/>
                  <a:gd name="T64" fmla="*/ 409 w 459"/>
                  <a:gd name="T65" fmla="*/ 75 h 358"/>
                  <a:gd name="T66" fmla="*/ 419 w 459"/>
                  <a:gd name="T67" fmla="*/ 79 h 358"/>
                  <a:gd name="T68" fmla="*/ 432 w 459"/>
                  <a:gd name="T69" fmla="*/ 87 h 358"/>
                  <a:gd name="T70" fmla="*/ 449 w 459"/>
                  <a:gd name="T71" fmla="*/ 100 h 358"/>
                  <a:gd name="T72" fmla="*/ 459 w 459"/>
                  <a:gd name="T73" fmla="*/ 108 h 358"/>
                  <a:gd name="T74" fmla="*/ 432 w 459"/>
                  <a:gd name="T75" fmla="*/ 131 h 358"/>
                  <a:gd name="T76" fmla="*/ 415 w 459"/>
                  <a:gd name="T77" fmla="*/ 148 h 358"/>
                  <a:gd name="T78" fmla="*/ 399 w 459"/>
                  <a:gd name="T79" fmla="*/ 168 h 358"/>
                  <a:gd name="T80" fmla="*/ 388 w 459"/>
                  <a:gd name="T81" fmla="*/ 177 h 358"/>
                  <a:gd name="T82" fmla="*/ 382 w 459"/>
                  <a:gd name="T83" fmla="*/ 185 h 358"/>
                  <a:gd name="T84" fmla="*/ 361 w 459"/>
                  <a:gd name="T85" fmla="*/ 212 h 358"/>
                  <a:gd name="T86" fmla="*/ 346 w 459"/>
                  <a:gd name="T87" fmla="*/ 225 h 358"/>
                  <a:gd name="T88" fmla="*/ 332 w 459"/>
                  <a:gd name="T89" fmla="*/ 241 h 358"/>
                  <a:gd name="T90" fmla="*/ 328 w 459"/>
                  <a:gd name="T91" fmla="*/ 254 h 358"/>
                  <a:gd name="T92" fmla="*/ 328 w 459"/>
                  <a:gd name="T93" fmla="*/ 271 h 358"/>
                  <a:gd name="T94" fmla="*/ 340 w 459"/>
                  <a:gd name="T95" fmla="*/ 294 h 358"/>
                  <a:gd name="T96" fmla="*/ 346 w 459"/>
                  <a:gd name="T97" fmla="*/ 317 h 358"/>
                  <a:gd name="T98" fmla="*/ 348 w 459"/>
                  <a:gd name="T99" fmla="*/ 331 h 358"/>
                  <a:gd name="T100" fmla="*/ 344 w 459"/>
                  <a:gd name="T101" fmla="*/ 344 h 358"/>
                  <a:gd name="T102" fmla="*/ 338 w 459"/>
                  <a:gd name="T103"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9" h="358">
                    <a:moveTo>
                      <a:pt x="338" y="358"/>
                    </a:moveTo>
                    <a:lnTo>
                      <a:pt x="317" y="339"/>
                    </a:lnTo>
                    <a:lnTo>
                      <a:pt x="300" y="321"/>
                    </a:lnTo>
                    <a:lnTo>
                      <a:pt x="275" y="298"/>
                    </a:lnTo>
                    <a:lnTo>
                      <a:pt x="240" y="277"/>
                    </a:lnTo>
                    <a:lnTo>
                      <a:pt x="230" y="271"/>
                    </a:lnTo>
                    <a:lnTo>
                      <a:pt x="205" y="262"/>
                    </a:lnTo>
                    <a:lnTo>
                      <a:pt x="194" y="260"/>
                    </a:lnTo>
                    <a:lnTo>
                      <a:pt x="173" y="256"/>
                    </a:lnTo>
                    <a:lnTo>
                      <a:pt x="142" y="254"/>
                    </a:lnTo>
                    <a:lnTo>
                      <a:pt x="134" y="252"/>
                    </a:lnTo>
                    <a:lnTo>
                      <a:pt x="123" y="250"/>
                    </a:lnTo>
                    <a:lnTo>
                      <a:pt x="109" y="244"/>
                    </a:lnTo>
                    <a:lnTo>
                      <a:pt x="92" y="237"/>
                    </a:lnTo>
                    <a:lnTo>
                      <a:pt x="27" y="181"/>
                    </a:lnTo>
                    <a:lnTo>
                      <a:pt x="13" y="177"/>
                    </a:lnTo>
                    <a:lnTo>
                      <a:pt x="0" y="175"/>
                    </a:lnTo>
                    <a:lnTo>
                      <a:pt x="10" y="162"/>
                    </a:lnTo>
                    <a:lnTo>
                      <a:pt x="23" y="146"/>
                    </a:lnTo>
                    <a:lnTo>
                      <a:pt x="42" y="135"/>
                    </a:lnTo>
                    <a:lnTo>
                      <a:pt x="157" y="100"/>
                    </a:lnTo>
                    <a:lnTo>
                      <a:pt x="175" y="93"/>
                    </a:lnTo>
                    <a:lnTo>
                      <a:pt x="194" y="85"/>
                    </a:lnTo>
                    <a:lnTo>
                      <a:pt x="228" y="58"/>
                    </a:lnTo>
                    <a:lnTo>
                      <a:pt x="273" y="14"/>
                    </a:lnTo>
                    <a:lnTo>
                      <a:pt x="288" y="0"/>
                    </a:lnTo>
                    <a:lnTo>
                      <a:pt x="307" y="22"/>
                    </a:lnTo>
                    <a:lnTo>
                      <a:pt x="326" y="39"/>
                    </a:lnTo>
                    <a:lnTo>
                      <a:pt x="344" y="52"/>
                    </a:lnTo>
                    <a:lnTo>
                      <a:pt x="355" y="58"/>
                    </a:lnTo>
                    <a:lnTo>
                      <a:pt x="371" y="66"/>
                    </a:lnTo>
                    <a:lnTo>
                      <a:pt x="392" y="72"/>
                    </a:lnTo>
                    <a:lnTo>
                      <a:pt x="409" y="75"/>
                    </a:lnTo>
                    <a:lnTo>
                      <a:pt x="419" y="79"/>
                    </a:lnTo>
                    <a:lnTo>
                      <a:pt x="432" y="87"/>
                    </a:lnTo>
                    <a:lnTo>
                      <a:pt x="449" y="100"/>
                    </a:lnTo>
                    <a:lnTo>
                      <a:pt x="459" y="108"/>
                    </a:lnTo>
                    <a:lnTo>
                      <a:pt x="432" y="131"/>
                    </a:lnTo>
                    <a:lnTo>
                      <a:pt x="415" y="148"/>
                    </a:lnTo>
                    <a:lnTo>
                      <a:pt x="399" y="168"/>
                    </a:lnTo>
                    <a:lnTo>
                      <a:pt x="388" y="177"/>
                    </a:lnTo>
                    <a:lnTo>
                      <a:pt x="382" y="185"/>
                    </a:lnTo>
                    <a:lnTo>
                      <a:pt x="361" y="212"/>
                    </a:lnTo>
                    <a:lnTo>
                      <a:pt x="346" y="225"/>
                    </a:lnTo>
                    <a:lnTo>
                      <a:pt x="332" y="241"/>
                    </a:lnTo>
                    <a:lnTo>
                      <a:pt x="328" y="254"/>
                    </a:lnTo>
                    <a:lnTo>
                      <a:pt x="328" y="271"/>
                    </a:lnTo>
                    <a:lnTo>
                      <a:pt x="340" y="294"/>
                    </a:lnTo>
                    <a:lnTo>
                      <a:pt x="346" y="317"/>
                    </a:lnTo>
                    <a:lnTo>
                      <a:pt x="348" y="331"/>
                    </a:lnTo>
                    <a:lnTo>
                      <a:pt x="344" y="344"/>
                    </a:lnTo>
                    <a:lnTo>
                      <a:pt x="338" y="35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46" name="Freeform 34">
                <a:extLst>
                  <a:ext uri="{FF2B5EF4-FFF2-40B4-BE49-F238E27FC236}">
                    <a16:creationId xmlns:a16="http://schemas.microsoft.com/office/drawing/2014/main" id="{1606D5AD-306F-4ECB-AE15-438C3857F385}"/>
                  </a:ext>
                </a:extLst>
              </p:cNvPr>
              <p:cNvSpPr>
                <a:spLocks/>
              </p:cNvSpPr>
              <p:nvPr/>
            </p:nvSpPr>
            <p:spPr bwMode="gray">
              <a:xfrm>
                <a:off x="3204551" y="2727386"/>
                <a:ext cx="343977" cy="439839"/>
              </a:xfrm>
              <a:custGeom>
                <a:avLst/>
                <a:gdLst>
                  <a:gd name="T0" fmla="*/ 246 w 305"/>
                  <a:gd name="T1" fmla="*/ 188 h 390"/>
                  <a:gd name="T2" fmla="*/ 257 w 305"/>
                  <a:gd name="T3" fmla="*/ 208 h 390"/>
                  <a:gd name="T4" fmla="*/ 276 w 305"/>
                  <a:gd name="T5" fmla="*/ 229 h 390"/>
                  <a:gd name="T6" fmla="*/ 294 w 305"/>
                  <a:gd name="T7" fmla="*/ 256 h 390"/>
                  <a:gd name="T8" fmla="*/ 292 w 305"/>
                  <a:gd name="T9" fmla="*/ 282 h 390"/>
                  <a:gd name="T10" fmla="*/ 269 w 305"/>
                  <a:gd name="T11" fmla="*/ 294 h 390"/>
                  <a:gd name="T12" fmla="*/ 253 w 305"/>
                  <a:gd name="T13" fmla="*/ 302 h 390"/>
                  <a:gd name="T14" fmla="*/ 240 w 305"/>
                  <a:gd name="T15" fmla="*/ 307 h 390"/>
                  <a:gd name="T16" fmla="*/ 225 w 305"/>
                  <a:gd name="T17" fmla="*/ 313 h 390"/>
                  <a:gd name="T18" fmla="*/ 215 w 305"/>
                  <a:gd name="T19" fmla="*/ 329 h 390"/>
                  <a:gd name="T20" fmla="*/ 207 w 305"/>
                  <a:gd name="T21" fmla="*/ 348 h 390"/>
                  <a:gd name="T22" fmla="*/ 188 w 305"/>
                  <a:gd name="T23" fmla="*/ 375 h 390"/>
                  <a:gd name="T24" fmla="*/ 171 w 305"/>
                  <a:gd name="T25" fmla="*/ 390 h 390"/>
                  <a:gd name="T26" fmla="*/ 144 w 305"/>
                  <a:gd name="T27" fmla="*/ 369 h 390"/>
                  <a:gd name="T28" fmla="*/ 121 w 305"/>
                  <a:gd name="T29" fmla="*/ 357 h 390"/>
                  <a:gd name="T30" fmla="*/ 83 w 305"/>
                  <a:gd name="T31" fmla="*/ 348 h 390"/>
                  <a:gd name="T32" fmla="*/ 56 w 305"/>
                  <a:gd name="T33" fmla="*/ 334 h 390"/>
                  <a:gd name="T34" fmla="*/ 19 w 305"/>
                  <a:gd name="T35" fmla="*/ 304 h 390"/>
                  <a:gd name="T36" fmla="*/ 75 w 305"/>
                  <a:gd name="T37" fmla="*/ 219 h 390"/>
                  <a:gd name="T38" fmla="*/ 81 w 305"/>
                  <a:gd name="T39" fmla="*/ 173 h 390"/>
                  <a:gd name="T40" fmla="*/ 81 w 305"/>
                  <a:gd name="T41" fmla="*/ 148 h 390"/>
                  <a:gd name="T42" fmla="*/ 104 w 305"/>
                  <a:gd name="T43" fmla="*/ 108 h 390"/>
                  <a:gd name="T44" fmla="*/ 111 w 305"/>
                  <a:gd name="T45" fmla="*/ 63 h 390"/>
                  <a:gd name="T46" fmla="*/ 123 w 305"/>
                  <a:gd name="T47" fmla="*/ 21 h 390"/>
                  <a:gd name="T48" fmla="*/ 154 w 305"/>
                  <a:gd name="T49" fmla="*/ 0 h 390"/>
                  <a:gd name="T50" fmla="*/ 194 w 305"/>
                  <a:gd name="T51" fmla="*/ 6 h 390"/>
                  <a:gd name="T52" fmla="*/ 215 w 305"/>
                  <a:gd name="T53" fmla="*/ 21 h 390"/>
                  <a:gd name="T54" fmla="*/ 209 w 305"/>
                  <a:gd name="T55" fmla="*/ 46 h 390"/>
                  <a:gd name="T56" fmla="*/ 205 w 305"/>
                  <a:gd name="T57" fmla="*/ 67 h 390"/>
                  <a:gd name="T58" fmla="*/ 209 w 305"/>
                  <a:gd name="T59" fmla="*/ 96 h 390"/>
                  <a:gd name="T60" fmla="*/ 219 w 305"/>
                  <a:gd name="T61" fmla="*/ 163 h 390"/>
                  <a:gd name="T62" fmla="*/ 227 w 305"/>
                  <a:gd name="T63" fmla="*/ 179 h 390"/>
                  <a:gd name="T64" fmla="*/ 242 w 305"/>
                  <a:gd name="T65" fmla="*/ 179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5" h="390">
                    <a:moveTo>
                      <a:pt x="242" y="179"/>
                    </a:moveTo>
                    <a:lnTo>
                      <a:pt x="246" y="188"/>
                    </a:lnTo>
                    <a:lnTo>
                      <a:pt x="250" y="196"/>
                    </a:lnTo>
                    <a:lnTo>
                      <a:pt x="257" y="208"/>
                    </a:lnTo>
                    <a:lnTo>
                      <a:pt x="263" y="215"/>
                    </a:lnTo>
                    <a:lnTo>
                      <a:pt x="276" y="229"/>
                    </a:lnTo>
                    <a:lnTo>
                      <a:pt x="282" y="236"/>
                    </a:lnTo>
                    <a:lnTo>
                      <a:pt x="294" y="256"/>
                    </a:lnTo>
                    <a:lnTo>
                      <a:pt x="305" y="277"/>
                    </a:lnTo>
                    <a:lnTo>
                      <a:pt x="292" y="282"/>
                    </a:lnTo>
                    <a:lnTo>
                      <a:pt x="284" y="286"/>
                    </a:lnTo>
                    <a:lnTo>
                      <a:pt x="269" y="294"/>
                    </a:lnTo>
                    <a:lnTo>
                      <a:pt x="259" y="298"/>
                    </a:lnTo>
                    <a:lnTo>
                      <a:pt x="253" y="302"/>
                    </a:lnTo>
                    <a:lnTo>
                      <a:pt x="250" y="304"/>
                    </a:lnTo>
                    <a:lnTo>
                      <a:pt x="240" y="307"/>
                    </a:lnTo>
                    <a:lnTo>
                      <a:pt x="234" y="309"/>
                    </a:lnTo>
                    <a:lnTo>
                      <a:pt x="225" y="313"/>
                    </a:lnTo>
                    <a:lnTo>
                      <a:pt x="221" y="321"/>
                    </a:lnTo>
                    <a:lnTo>
                      <a:pt x="215" y="329"/>
                    </a:lnTo>
                    <a:lnTo>
                      <a:pt x="211" y="340"/>
                    </a:lnTo>
                    <a:lnTo>
                      <a:pt x="207" y="348"/>
                    </a:lnTo>
                    <a:lnTo>
                      <a:pt x="200" y="363"/>
                    </a:lnTo>
                    <a:lnTo>
                      <a:pt x="188" y="375"/>
                    </a:lnTo>
                    <a:lnTo>
                      <a:pt x="179" y="382"/>
                    </a:lnTo>
                    <a:lnTo>
                      <a:pt x="171" y="390"/>
                    </a:lnTo>
                    <a:lnTo>
                      <a:pt x="161" y="382"/>
                    </a:lnTo>
                    <a:lnTo>
                      <a:pt x="144" y="369"/>
                    </a:lnTo>
                    <a:lnTo>
                      <a:pt x="131" y="361"/>
                    </a:lnTo>
                    <a:lnTo>
                      <a:pt x="121" y="357"/>
                    </a:lnTo>
                    <a:lnTo>
                      <a:pt x="104" y="354"/>
                    </a:lnTo>
                    <a:lnTo>
                      <a:pt x="83" y="348"/>
                    </a:lnTo>
                    <a:lnTo>
                      <a:pt x="67" y="340"/>
                    </a:lnTo>
                    <a:lnTo>
                      <a:pt x="56" y="334"/>
                    </a:lnTo>
                    <a:lnTo>
                      <a:pt x="38" y="321"/>
                    </a:lnTo>
                    <a:lnTo>
                      <a:pt x="19" y="304"/>
                    </a:lnTo>
                    <a:lnTo>
                      <a:pt x="0" y="282"/>
                    </a:lnTo>
                    <a:lnTo>
                      <a:pt x="75" y="219"/>
                    </a:lnTo>
                    <a:lnTo>
                      <a:pt x="94" y="202"/>
                    </a:lnTo>
                    <a:lnTo>
                      <a:pt x="81" y="173"/>
                    </a:lnTo>
                    <a:lnTo>
                      <a:pt x="79" y="163"/>
                    </a:lnTo>
                    <a:lnTo>
                      <a:pt x="81" y="148"/>
                    </a:lnTo>
                    <a:lnTo>
                      <a:pt x="90" y="129"/>
                    </a:lnTo>
                    <a:lnTo>
                      <a:pt x="104" y="108"/>
                    </a:lnTo>
                    <a:lnTo>
                      <a:pt x="108" y="94"/>
                    </a:lnTo>
                    <a:lnTo>
                      <a:pt x="111" y="63"/>
                    </a:lnTo>
                    <a:lnTo>
                      <a:pt x="115" y="39"/>
                    </a:lnTo>
                    <a:lnTo>
                      <a:pt x="123" y="21"/>
                    </a:lnTo>
                    <a:lnTo>
                      <a:pt x="142" y="0"/>
                    </a:lnTo>
                    <a:lnTo>
                      <a:pt x="154" y="0"/>
                    </a:lnTo>
                    <a:lnTo>
                      <a:pt x="179" y="2"/>
                    </a:lnTo>
                    <a:lnTo>
                      <a:pt x="194" y="6"/>
                    </a:lnTo>
                    <a:lnTo>
                      <a:pt x="207" y="12"/>
                    </a:lnTo>
                    <a:lnTo>
                      <a:pt x="215" y="21"/>
                    </a:lnTo>
                    <a:lnTo>
                      <a:pt x="213" y="33"/>
                    </a:lnTo>
                    <a:lnTo>
                      <a:pt x="209" y="46"/>
                    </a:lnTo>
                    <a:lnTo>
                      <a:pt x="207" y="58"/>
                    </a:lnTo>
                    <a:lnTo>
                      <a:pt x="205" y="67"/>
                    </a:lnTo>
                    <a:lnTo>
                      <a:pt x="205" y="79"/>
                    </a:lnTo>
                    <a:lnTo>
                      <a:pt x="209" y="96"/>
                    </a:lnTo>
                    <a:lnTo>
                      <a:pt x="213" y="121"/>
                    </a:lnTo>
                    <a:lnTo>
                      <a:pt x="219" y="163"/>
                    </a:lnTo>
                    <a:lnTo>
                      <a:pt x="221" y="179"/>
                    </a:lnTo>
                    <a:lnTo>
                      <a:pt x="227" y="179"/>
                    </a:lnTo>
                    <a:lnTo>
                      <a:pt x="230" y="179"/>
                    </a:lnTo>
                    <a:lnTo>
                      <a:pt x="242" y="17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47" name="Freeform 35">
                <a:extLst>
                  <a:ext uri="{FF2B5EF4-FFF2-40B4-BE49-F238E27FC236}">
                    <a16:creationId xmlns:a16="http://schemas.microsoft.com/office/drawing/2014/main" id="{BA46B8A4-87F9-4FA4-BD05-90416E98AB8C}"/>
                  </a:ext>
                </a:extLst>
              </p:cNvPr>
              <p:cNvSpPr>
                <a:spLocks/>
              </p:cNvSpPr>
              <p:nvPr/>
            </p:nvSpPr>
            <p:spPr bwMode="gray">
              <a:xfrm>
                <a:off x="3477477" y="2907833"/>
                <a:ext cx="439840" cy="590964"/>
              </a:xfrm>
              <a:custGeom>
                <a:avLst/>
                <a:gdLst>
                  <a:gd name="T0" fmla="*/ 374 w 390"/>
                  <a:gd name="T1" fmla="*/ 441 h 524"/>
                  <a:gd name="T2" fmla="*/ 353 w 390"/>
                  <a:gd name="T3" fmla="*/ 445 h 524"/>
                  <a:gd name="T4" fmla="*/ 330 w 390"/>
                  <a:gd name="T5" fmla="*/ 453 h 524"/>
                  <a:gd name="T6" fmla="*/ 347 w 390"/>
                  <a:gd name="T7" fmla="*/ 472 h 524"/>
                  <a:gd name="T8" fmla="*/ 351 w 390"/>
                  <a:gd name="T9" fmla="*/ 487 h 524"/>
                  <a:gd name="T10" fmla="*/ 284 w 390"/>
                  <a:gd name="T11" fmla="*/ 516 h 524"/>
                  <a:gd name="T12" fmla="*/ 263 w 390"/>
                  <a:gd name="T13" fmla="*/ 516 h 524"/>
                  <a:gd name="T14" fmla="*/ 244 w 390"/>
                  <a:gd name="T15" fmla="*/ 524 h 524"/>
                  <a:gd name="T16" fmla="*/ 225 w 390"/>
                  <a:gd name="T17" fmla="*/ 503 h 524"/>
                  <a:gd name="T18" fmla="*/ 207 w 390"/>
                  <a:gd name="T19" fmla="*/ 491 h 524"/>
                  <a:gd name="T20" fmla="*/ 182 w 390"/>
                  <a:gd name="T21" fmla="*/ 478 h 524"/>
                  <a:gd name="T22" fmla="*/ 175 w 390"/>
                  <a:gd name="T23" fmla="*/ 468 h 524"/>
                  <a:gd name="T24" fmla="*/ 161 w 390"/>
                  <a:gd name="T25" fmla="*/ 449 h 524"/>
                  <a:gd name="T26" fmla="*/ 157 w 390"/>
                  <a:gd name="T27" fmla="*/ 420 h 524"/>
                  <a:gd name="T28" fmla="*/ 154 w 390"/>
                  <a:gd name="T29" fmla="*/ 393 h 524"/>
                  <a:gd name="T30" fmla="*/ 144 w 390"/>
                  <a:gd name="T31" fmla="*/ 378 h 524"/>
                  <a:gd name="T32" fmla="*/ 130 w 390"/>
                  <a:gd name="T33" fmla="*/ 353 h 524"/>
                  <a:gd name="T34" fmla="*/ 129 w 390"/>
                  <a:gd name="T35" fmla="*/ 317 h 524"/>
                  <a:gd name="T36" fmla="*/ 130 w 390"/>
                  <a:gd name="T37" fmla="*/ 301 h 524"/>
                  <a:gd name="T38" fmla="*/ 132 w 390"/>
                  <a:gd name="T39" fmla="*/ 286 h 524"/>
                  <a:gd name="T40" fmla="*/ 130 w 390"/>
                  <a:gd name="T41" fmla="*/ 278 h 524"/>
                  <a:gd name="T42" fmla="*/ 107 w 390"/>
                  <a:gd name="T43" fmla="*/ 244 h 524"/>
                  <a:gd name="T44" fmla="*/ 90 w 390"/>
                  <a:gd name="T45" fmla="*/ 215 h 524"/>
                  <a:gd name="T46" fmla="*/ 81 w 390"/>
                  <a:gd name="T47" fmla="*/ 182 h 524"/>
                  <a:gd name="T48" fmla="*/ 75 w 390"/>
                  <a:gd name="T49" fmla="*/ 146 h 524"/>
                  <a:gd name="T50" fmla="*/ 63 w 390"/>
                  <a:gd name="T51" fmla="*/ 117 h 524"/>
                  <a:gd name="T52" fmla="*/ 40 w 390"/>
                  <a:gd name="T53" fmla="*/ 76 h 524"/>
                  <a:gd name="T54" fmla="*/ 21 w 390"/>
                  <a:gd name="T55" fmla="*/ 55 h 524"/>
                  <a:gd name="T56" fmla="*/ 8 w 390"/>
                  <a:gd name="T57" fmla="*/ 36 h 524"/>
                  <a:gd name="T58" fmla="*/ 0 w 390"/>
                  <a:gd name="T59" fmla="*/ 19 h 524"/>
                  <a:gd name="T60" fmla="*/ 44 w 390"/>
                  <a:gd name="T61" fmla="*/ 13 h 524"/>
                  <a:gd name="T62" fmla="*/ 84 w 390"/>
                  <a:gd name="T63" fmla="*/ 3 h 524"/>
                  <a:gd name="T64" fmla="*/ 104 w 390"/>
                  <a:gd name="T65" fmla="*/ 0 h 524"/>
                  <a:gd name="T66" fmla="*/ 165 w 390"/>
                  <a:gd name="T67" fmla="*/ 1 h 524"/>
                  <a:gd name="T68" fmla="*/ 207 w 390"/>
                  <a:gd name="T69" fmla="*/ 38 h 524"/>
                  <a:gd name="T70" fmla="*/ 215 w 390"/>
                  <a:gd name="T71" fmla="*/ 80 h 524"/>
                  <a:gd name="T72" fmla="*/ 244 w 390"/>
                  <a:gd name="T73" fmla="*/ 194 h 524"/>
                  <a:gd name="T74" fmla="*/ 255 w 390"/>
                  <a:gd name="T75" fmla="*/ 242 h 524"/>
                  <a:gd name="T76" fmla="*/ 265 w 390"/>
                  <a:gd name="T77" fmla="*/ 295 h 524"/>
                  <a:gd name="T78" fmla="*/ 280 w 390"/>
                  <a:gd name="T79" fmla="*/ 334 h 524"/>
                  <a:gd name="T80" fmla="*/ 309 w 390"/>
                  <a:gd name="T81" fmla="*/ 370 h 524"/>
                  <a:gd name="T82" fmla="*/ 347 w 390"/>
                  <a:gd name="T83" fmla="*/ 399 h 524"/>
                  <a:gd name="T84" fmla="*/ 374 w 390"/>
                  <a:gd name="T85" fmla="*/ 42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0" h="524">
                    <a:moveTo>
                      <a:pt x="390" y="443"/>
                    </a:moveTo>
                    <a:lnTo>
                      <a:pt x="374" y="441"/>
                    </a:lnTo>
                    <a:lnTo>
                      <a:pt x="365" y="443"/>
                    </a:lnTo>
                    <a:lnTo>
                      <a:pt x="353" y="445"/>
                    </a:lnTo>
                    <a:lnTo>
                      <a:pt x="338" y="447"/>
                    </a:lnTo>
                    <a:lnTo>
                      <a:pt x="330" y="453"/>
                    </a:lnTo>
                    <a:lnTo>
                      <a:pt x="332" y="459"/>
                    </a:lnTo>
                    <a:lnTo>
                      <a:pt x="347" y="472"/>
                    </a:lnTo>
                    <a:lnTo>
                      <a:pt x="351" y="484"/>
                    </a:lnTo>
                    <a:lnTo>
                      <a:pt x="351" y="487"/>
                    </a:lnTo>
                    <a:lnTo>
                      <a:pt x="334" y="499"/>
                    </a:lnTo>
                    <a:lnTo>
                      <a:pt x="284" y="516"/>
                    </a:lnTo>
                    <a:lnTo>
                      <a:pt x="278" y="518"/>
                    </a:lnTo>
                    <a:lnTo>
                      <a:pt x="263" y="516"/>
                    </a:lnTo>
                    <a:lnTo>
                      <a:pt x="255" y="518"/>
                    </a:lnTo>
                    <a:lnTo>
                      <a:pt x="244" y="524"/>
                    </a:lnTo>
                    <a:lnTo>
                      <a:pt x="234" y="512"/>
                    </a:lnTo>
                    <a:lnTo>
                      <a:pt x="225" y="503"/>
                    </a:lnTo>
                    <a:lnTo>
                      <a:pt x="217" y="497"/>
                    </a:lnTo>
                    <a:lnTo>
                      <a:pt x="207" y="491"/>
                    </a:lnTo>
                    <a:lnTo>
                      <a:pt x="188" y="482"/>
                    </a:lnTo>
                    <a:lnTo>
                      <a:pt x="182" y="478"/>
                    </a:lnTo>
                    <a:lnTo>
                      <a:pt x="178" y="474"/>
                    </a:lnTo>
                    <a:lnTo>
                      <a:pt x="175" y="468"/>
                    </a:lnTo>
                    <a:lnTo>
                      <a:pt x="171" y="461"/>
                    </a:lnTo>
                    <a:lnTo>
                      <a:pt x="161" y="449"/>
                    </a:lnTo>
                    <a:lnTo>
                      <a:pt x="159" y="443"/>
                    </a:lnTo>
                    <a:lnTo>
                      <a:pt x="157" y="420"/>
                    </a:lnTo>
                    <a:lnTo>
                      <a:pt x="155" y="403"/>
                    </a:lnTo>
                    <a:lnTo>
                      <a:pt x="154" y="393"/>
                    </a:lnTo>
                    <a:lnTo>
                      <a:pt x="152" y="393"/>
                    </a:lnTo>
                    <a:lnTo>
                      <a:pt x="144" y="378"/>
                    </a:lnTo>
                    <a:lnTo>
                      <a:pt x="138" y="365"/>
                    </a:lnTo>
                    <a:lnTo>
                      <a:pt x="130" y="353"/>
                    </a:lnTo>
                    <a:lnTo>
                      <a:pt x="129" y="328"/>
                    </a:lnTo>
                    <a:lnTo>
                      <a:pt x="129" y="317"/>
                    </a:lnTo>
                    <a:lnTo>
                      <a:pt x="129" y="309"/>
                    </a:lnTo>
                    <a:lnTo>
                      <a:pt x="130" y="301"/>
                    </a:lnTo>
                    <a:lnTo>
                      <a:pt x="132" y="292"/>
                    </a:lnTo>
                    <a:lnTo>
                      <a:pt x="132" y="286"/>
                    </a:lnTo>
                    <a:lnTo>
                      <a:pt x="132" y="282"/>
                    </a:lnTo>
                    <a:lnTo>
                      <a:pt x="130" y="278"/>
                    </a:lnTo>
                    <a:lnTo>
                      <a:pt x="123" y="267"/>
                    </a:lnTo>
                    <a:lnTo>
                      <a:pt x="107" y="244"/>
                    </a:lnTo>
                    <a:lnTo>
                      <a:pt x="96" y="230"/>
                    </a:lnTo>
                    <a:lnTo>
                      <a:pt x="90" y="215"/>
                    </a:lnTo>
                    <a:lnTo>
                      <a:pt x="84" y="197"/>
                    </a:lnTo>
                    <a:lnTo>
                      <a:pt x="81" y="182"/>
                    </a:lnTo>
                    <a:lnTo>
                      <a:pt x="79" y="178"/>
                    </a:lnTo>
                    <a:lnTo>
                      <a:pt x="75" y="146"/>
                    </a:lnTo>
                    <a:lnTo>
                      <a:pt x="71" y="132"/>
                    </a:lnTo>
                    <a:lnTo>
                      <a:pt x="63" y="117"/>
                    </a:lnTo>
                    <a:lnTo>
                      <a:pt x="52" y="96"/>
                    </a:lnTo>
                    <a:lnTo>
                      <a:pt x="40" y="76"/>
                    </a:lnTo>
                    <a:lnTo>
                      <a:pt x="34" y="69"/>
                    </a:lnTo>
                    <a:lnTo>
                      <a:pt x="21" y="55"/>
                    </a:lnTo>
                    <a:lnTo>
                      <a:pt x="15" y="48"/>
                    </a:lnTo>
                    <a:lnTo>
                      <a:pt x="8" y="36"/>
                    </a:lnTo>
                    <a:lnTo>
                      <a:pt x="4" y="28"/>
                    </a:lnTo>
                    <a:lnTo>
                      <a:pt x="0" y="19"/>
                    </a:lnTo>
                    <a:lnTo>
                      <a:pt x="25" y="17"/>
                    </a:lnTo>
                    <a:lnTo>
                      <a:pt x="44" y="13"/>
                    </a:lnTo>
                    <a:lnTo>
                      <a:pt x="65" y="9"/>
                    </a:lnTo>
                    <a:lnTo>
                      <a:pt x="84" y="3"/>
                    </a:lnTo>
                    <a:lnTo>
                      <a:pt x="96" y="1"/>
                    </a:lnTo>
                    <a:lnTo>
                      <a:pt x="104" y="0"/>
                    </a:lnTo>
                    <a:lnTo>
                      <a:pt x="125" y="1"/>
                    </a:lnTo>
                    <a:lnTo>
                      <a:pt x="165" y="1"/>
                    </a:lnTo>
                    <a:lnTo>
                      <a:pt x="203" y="3"/>
                    </a:lnTo>
                    <a:lnTo>
                      <a:pt x="207" y="38"/>
                    </a:lnTo>
                    <a:lnTo>
                      <a:pt x="213" y="65"/>
                    </a:lnTo>
                    <a:lnTo>
                      <a:pt x="215" y="80"/>
                    </a:lnTo>
                    <a:lnTo>
                      <a:pt x="223" y="115"/>
                    </a:lnTo>
                    <a:lnTo>
                      <a:pt x="244" y="194"/>
                    </a:lnTo>
                    <a:lnTo>
                      <a:pt x="248" y="209"/>
                    </a:lnTo>
                    <a:lnTo>
                      <a:pt x="255" y="242"/>
                    </a:lnTo>
                    <a:lnTo>
                      <a:pt x="259" y="272"/>
                    </a:lnTo>
                    <a:lnTo>
                      <a:pt x="265" y="295"/>
                    </a:lnTo>
                    <a:lnTo>
                      <a:pt x="273" y="317"/>
                    </a:lnTo>
                    <a:lnTo>
                      <a:pt x="280" y="334"/>
                    </a:lnTo>
                    <a:lnTo>
                      <a:pt x="294" y="355"/>
                    </a:lnTo>
                    <a:lnTo>
                      <a:pt x="309" y="370"/>
                    </a:lnTo>
                    <a:lnTo>
                      <a:pt x="326" y="384"/>
                    </a:lnTo>
                    <a:lnTo>
                      <a:pt x="347" y="399"/>
                    </a:lnTo>
                    <a:lnTo>
                      <a:pt x="365" y="411"/>
                    </a:lnTo>
                    <a:lnTo>
                      <a:pt x="374" y="420"/>
                    </a:lnTo>
                    <a:lnTo>
                      <a:pt x="390" y="44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48" name="Freeform 36">
                <a:extLst>
                  <a:ext uri="{FF2B5EF4-FFF2-40B4-BE49-F238E27FC236}">
                    <a16:creationId xmlns:a16="http://schemas.microsoft.com/office/drawing/2014/main" id="{7B48BB45-1D88-4C17-95CF-B1E251855DFE}"/>
                  </a:ext>
                </a:extLst>
              </p:cNvPr>
              <p:cNvSpPr>
                <a:spLocks/>
              </p:cNvSpPr>
              <p:nvPr/>
            </p:nvSpPr>
            <p:spPr bwMode="gray">
              <a:xfrm>
                <a:off x="4224077" y="2818737"/>
                <a:ext cx="533447" cy="515402"/>
              </a:xfrm>
              <a:custGeom>
                <a:avLst/>
                <a:gdLst>
                  <a:gd name="T0" fmla="*/ 442 w 473"/>
                  <a:gd name="T1" fmla="*/ 80 h 457"/>
                  <a:gd name="T2" fmla="*/ 446 w 473"/>
                  <a:gd name="T3" fmla="*/ 144 h 457"/>
                  <a:gd name="T4" fmla="*/ 444 w 473"/>
                  <a:gd name="T5" fmla="*/ 201 h 457"/>
                  <a:gd name="T6" fmla="*/ 446 w 473"/>
                  <a:gd name="T7" fmla="*/ 228 h 457"/>
                  <a:gd name="T8" fmla="*/ 452 w 473"/>
                  <a:gd name="T9" fmla="*/ 251 h 457"/>
                  <a:gd name="T10" fmla="*/ 471 w 473"/>
                  <a:gd name="T11" fmla="*/ 307 h 457"/>
                  <a:gd name="T12" fmla="*/ 452 w 473"/>
                  <a:gd name="T13" fmla="*/ 388 h 457"/>
                  <a:gd name="T14" fmla="*/ 434 w 473"/>
                  <a:gd name="T15" fmla="*/ 438 h 457"/>
                  <a:gd name="T16" fmla="*/ 425 w 473"/>
                  <a:gd name="T17" fmla="*/ 455 h 457"/>
                  <a:gd name="T18" fmla="*/ 405 w 473"/>
                  <a:gd name="T19" fmla="*/ 442 h 457"/>
                  <a:gd name="T20" fmla="*/ 392 w 473"/>
                  <a:gd name="T21" fmla="*/ 424 h 457"/>
                  <a:gd name="T22" fmla="*/ 371 w 473"/>
                  <a:gd name="T23" fmla="*/ 396 h 457"/>
                  <a:gd name="T24" fmla="*/ 342 w 473"/>
                  <a:gd name="T25" fmla="*/ 376 h 457"/>
                  <a:gd name="T26" fmla="*/ 313 w 473"/>
                  <a:gd name="T27" fmla="*/ 365 h 457"/>
                  <a:gd name="T28" fmla="*/ 294 w 473"/>
                  <a:gd name="T29" fmla="*/ 363 h 457"/>
                  <a:gd name="T30" fmla="*/ 273 w 473"/>
                  <a:gd name="T31" fmla="*/ 361 h 457"/>
                  <a:gd name="T32" fmla="*/ 246 w 473"/>
                  <a:gd name="T33" fmla="*/ 353 h 457"/>
                  <a:gd name="T34" fmla="*/ 215 w 473"/>
                  <a:gd name="T35" fmla="*/ 342 h 457"/>
                  <a:gd name="T36" fmla="*/ 202 w 473"/>
                  <a:gd name="T37" fmla="*/ 338 h 457"/>
                  <a:gd name="T38" fmla="*/ 167 w 473"/>
                  <a:gd name="T39" fmla="*/ 326 h 457"/>
                  <a:gd name="T40" fmla="*/ 123 w 473"/>
                  <a:gd name="T41" fmla="*/ 323 h 457"/>
                  <a:gd name="T42" fmla="*/ 108 w 473"/>
                  <a:gd name="T43" fmla="*/ 299 h 457"/>
                  <a:gd name="T44" fmla="*/ 98 w 473"/>
                  <a:gd name="T45" fmla="*/ 271 h 457"/>
                  <a:gd name="T46" fmla="*/ 87 w 473"/>
                  <a:gd name="T47" fmla="*/ 244 h 457"/>
                  <a:gd name="T48" fmla="*/ 106 w 473"/>
                  <a:gd name="T49" fmla="*/ 226 h 457"/>
                  <a:gd name="T50" fmla="*/ 125 w 473"/>
                  <a:gd name="T51" fmla="*/ 213 h 457"/>
                  <a:gd name="T52" fmla="*/ 110 w 473"/>
                  <a:gd name="T53" fmla="*/ 200 h 457"/>
                  <a:gd name="T54" fmla="*/ 98 w 473"/>
                  <a:gd name="T55" fmla="*/ 194 h 457"/>
                  <a:gd name="T56" fmla="*/ 93 w 473"/>
                  <a:gd name="T57" fmla="*/ 196 h 457"/>
                  <a:gd name="T58" fmla="*/ 81 w 473"/>
                  <a:gd name="T59" fmla="*/ 207 h 457"/>
                  <a:gd name="T60" fmla="*/ 69 w 473"/>
                  <a:gd name="T61" fmla="*/ 200 h 457"/>
                  <a:gd name="T62" fmla="*/ 60 w 473"/>
                  <a:gd name="T63" fmla="*/ 196 h 457"/>
                  <a:gd name="T64" fmla="*/ 54 w 473"/>
                  <a:gd name="T65" fmla="*/ 198 h 457"/>
                  <a:gd name="T66" fmla="*/ 46 w 473"/>
                  <a:gd name="T67" fmla="*/ 190 h 457"/>
                  <a:gd name="T68" fmla="*/ 33 w 473"/>
                  <a:gd name="T69" fmla="*/ 186 h 457"/>
                  <a:gd name="T70" fmla="*/ 21 w 473"/>
                  <a:gd name="T71" fmla="*/ 190 h 457"/>
                  <a:gd name="T72" fmla="*/ 14 w 473"/>
                  <a:gd name="T73" fmla="*/ 188 h 457"/>
                  <a:gd name="T74" fmla="*/ 18 w 473"/>
                  <a:gd name="T75" fmla="*/ 177 h 457"/>
                  <a:gd name="T76" fmla="*/ 25 w 473"/>
                  <a:gd name="T77" fmla="*/ 163 h 457"/>
                  <a:gd name="T78" fmla="*/ 31 w 473"/>
                  <a:gd name="T79" fmla="*/ 144 h 457"/>
                  <a:gd name="T80" fmla="*/ 27 w 473"/>
                  <a:gd name="T81" fmla="*/ 125 h 457"/>
                  <a:gd name="T82" fmla="*/ 18 w 473"/>
                  <a:gd name="T83" fmla="*/ 121 h 457"/>
                  <a:gd name="T84" fmla="*/ 6 w 473"/>
                  <a:gd name="T85" fmla="*/ 123 h 457"/>
                  <a:gd name="T86" fmla="*/ 2 w 473"/>
                  <a:gd name="T87" fmla="*/ 113 h 457"/>
                  <a:gd name="T88" fmla="*/ 10 w 473"/>
                  <a:gd name="T89" fmla="*/ 105 h 457"/>
                  <a:gd name="T90" fmla="*/ 16 w 473"/>
                  <a:gd name="T91" fmla="*/ 98 h 457"/>
                  <a:gd name="T92" fmla="*/ 12 w 473"/>
                  <a:gd name="T93" fmla="*/ 86 h 457"/>
                  <a:gd name="T94" fmla="*/ 18 w 473"/>
                  <a:gd name="T95" fmla="*/ 55 h 457"/>
                  <a:gd name="T96" fmla="*/ 29 w 473"/>
                  <a:gd name="T97" fmla="*/ 42 h 457"/>
                  <a:gd name="T98" fmla="*/ 110 w 473"/>
                  <a:gd name="T99" fmla="*/ 54 h 457"/>
                  <a:gd name="T100" fmla="*/ 185 w 473"/>
                  <a:gd name="T101" fmla="*/ 38 h 457"/>
                  <a:gd name="T102" fmla="*/ 290 w 473"/>
                  <a:gd name="T103" fmla="*/ 15 h 457"/>
                  <a:gd name="T104" fmla="*/ 382 w 473"/>
                  <a:gd name="T105" fmla="*/ 7 h 457"/>
                  <a:gd name="T106" fmla="*/ 427 w 473"/>
                  <a:gd name="T107" fmla="*/ 17 h 457"/>
                  <a:gd name="T108" fmla="*/ 442 w 473"/>
                  <a:gd name="T10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73" h="457">
                    <a:moveTo>
                      <a:pt x="442" y="71"/>
                    </a:moveTo>
                    <a:lnTo>
                      <a:pt x="442" y="80"/>
                    </a:lnTo>
                    <a:lnTo>
                      <a:pt x="444" y="107"/>
                    </a:lnTo>
                    <a:lnTo>
                      <a:pt x="446" y="144"/>
                    </a:lnTo>
                    <a:lnTo>
                      <a:pt x="446" y="169"/>
                    </a:lnTo>
                    <a:lnTo>
                      <a:pt x="444" y="201"/>
                    </a:lnTo>
                    <a:lnTo>
                      <a:pt x="446" y="219"/>
                    </a:lnTo>
                    <a:lnTo>
                      <a:pt x="446" y="228"/>
                    </a:lnTo>
                    <a:lnTo>
                      <a:pt x="446" y="238"/>
                    </a:lnTo>
                    <a:lnTo>
                      <a:pt x="452" y="251"/>
                    </a:lnTo>
                    <a:lnTo>
                      <a:pt x="469" y="299"/>
                    </a:lnTo>
                    <a:lnTo>
                      <a:pt x="471" y="307"/>
                    </a:lnTo>
                    <a:lnTo>
                      <a:pt x="473" y="324"/>
                    </a:lnTo>
                    <a:lnTo>
                      <a:pt x="452" y="388"/>
                    </a:lnTo>
                    <a:lnTo>
                      <a:pt x="440" y="422"/>
                    </a:lnTo>
                    <a:lnTo>
                      <a:pt x="434" y="438"/>
                    </a:lnTo>
                    <a:lnTo>
                      <a:pt x="430" y="457"/>
                    </a:lnTo>
                    <a:lnTo>
                      <a:pt x="425" y="455"/>
                    </a:lnTo>
                    <a:lnTo>
                      <a:pt x="417" y="451"/>
                    </a:lnTo>
                    <a:lnTo>
                      <a:pt x="405" y="442"/>
                    </a:lnTo>
                    <a:lnTo>
                      <a:pt x="402" y="436"/>
                    </a:lnTo>
                    <a:lnTo>
                      <a:pt x="392" y="424"/>
                    </a:lnTo>
                    <a:lnTo>
                      <a:pt x="381" y="409"/>
                    </a:lnTo>
                    <a:lnTo>
                      <a:pt x="371" y="396"/>
                    </a:lnTo>
                    <a:lnTo>
                      <a:pt x="350" y="378"/>
                    </a:lnTo>
                    <a:lnTo>
                      <a:pt x="342" y="376"/>
                    </a:lnTo>
                    <a:lnTo>
                      <a:pt x="331" y="369"/>
                    </a:lnTo>
                    <a:lnTo>
                      <a:pt x="313" y="365"/>
                    </a:lnTo>
                    <a:lnTo>
                      <a:pt x="308" y="363"/>
                    </a:lnTo>
                    <a:lnTo>
                      <a:pt x="294" y="363"/>
                    </a:lnTo>
                    <a:lnTo>
                      <a:pt x="281" y="361"/>
                    </a:lnTo>
                    <a:lnTo>
                      <a:pt x="273" y="361"/>
                    </a:lnTo>
                    <a:lnTo>
                      <a:pt x="260" y="359"/>
                    </a:lnTo>
                    <a:lnTo>
                      <a:pt x="246" y="353"/>
                    </a:lnTo>
                    <a:lnTo>
                      <a:pt x="240" y="351"/>
                    </a:lnTo>
                    <a:lnTo>
                      <a:pt x="215" y="342"/>
                    </a:lnTo>
                    <a:lnTo>
                      <a:pt x="213" y="342"/>
                    </a:lnTo>
                    <a:lnTo>
                      <a:pt x="202" y="338"/>
                    </a:lnTo>
                    <a:lnTo>
                      <a:pt x="183" y="330"/>
                    </a:lnTo>
                    <a:lnTo>
                      <a:pt x="167" y="326"/>
                    </a:lnTo>
                    <a:lnTo>
                      <a:pt x="150" y="324"/>
                    </a:lnTo>
                    <a:lnTo>
                      <a:pt x="123" y="323"/>
                    </a:lnTo>
                    <a:lnTo>
                      <a:pt x="110" y="305"/>
                    </a:lnTo>
                    <a:lnTo>
                      <a:pt x="108" y="299"/>
                    </a:lnTo>
                    <a:lnTo>
                      <a:pt x="102" y="280"/>
                    </a:lnTo>
                    <a:lnTo>
                      <a:pt x="98" y="271"/>
                    </a:lnTo>
                    <a:lnTo>
                      <a:pt x="94" y="263"/>
                    </a:lnTo>
                    <a:lnTo>
                      <a:pt x="87" y="244"/>
                    </a:lnTo>
                    <a:lnTo>
                      <a:pt x="96" y="236"/>
                    </a:lnTo>
                    <a:lnTo>
                      <a:pt x="106" y="226"/>
                    </a:lnTo>
                    <a:lnTo>
                      <a:pt x="117" y="219"/>
                    </a:lnTo>
                    <a:lnTo>
                      <a:pt x="125" y="213"/>
                    </a:lnTo>
                    <a:lnTo>
                      <a:pt x="119" y="207"/>
                    </a:lnTo>
                    <a:lnTo>
                      <a:pt x="110" y="200"/>
                    </a:lnTo>
                    <a:lnTo>
                      <a:pt x="108" y="198"/>
                    </a:lnTo>
                    <a:lnTo>
                      <a:pt x="98" y="194"/>
                    </a:lnTo>
                    <a:lnTo>
                      <a:pt x="96" y="194"/>
                    </a:lnTo>
                    <a:lnTo>
                      <a:pt x="93" y="196"/>
                    </a:lnTo>
                    <a:lnTo>
                      <a:pt x="87" y="201"/>
                    </a:lnTo>
                    <a:lnTo>
                      <a:pt x="81" y="207"/>
                    </a:lnTo>
                    <a:lnTo>
                      <a:pt x="73" y="205"/>
                    </a:lnTo>
                    <a:lnTo>
                      <a:pt x="69" y="200"/>
                    </a:lnTo>
                    <a:lnTo>
                      <a:pt x="64" y="196"/>
                    </a:lnTo>
                    <a:lnTo>
                      <a:pt x="60" y="196"/>
                    </a:lnTo>
                    <a:lnTo>
                      <a:pt x="58" y="198"/>
                    </a:lnTo>
                    <a:lnTo>
                      <a:pt x="54" y="198"/>
                    </a:lnTo>
                    <a:lnTo>
                      <a:pt x="50" y="196"/>
                    </a:lnTo>
                    <a:lnTo>
                      <a:pt x="46" y="190"/>
                    </a:lnTo>
                    <a:lnTo>
                      <a:pt x="39" y="186"/>
                    </a:lnTo>
                    <a:lnTo>
                      <a:pt x="33" y="186"/>
                    </a:lnTo>
                    <a:lnTo>
                      <a:pt x="27" y="188"/>
                    </a:lnTo>
                    <a:lnTo>
                      <a:pt x="21" y="190"/>
                    </a:lnTo>
                    <a:lnTo>
                      <a:pt x="16" y="190"/>
                    </a:lnTo>
                    <a:lnTo>
                      <a:pt x="14" y="188"/>
                    </a:lnTo>
                    <a:lnTo>
                      <a:pt x="14" y="182"/>
                    </a:lnTo>
                    <a:lnTo>
                      <a:pt x="18" y="177"/>
                    </a:lnTo>
                    <a:lnTo>
                      <a:pt x="23" y="165"/>
                    </a:lnTo>
                    <a:lnTo>
                      <a:pt x="25" y="163"/>
                    </a:lnTo>
                    <a:lnTo>
                      <a:pt x="31" y="153"/>
                    </a:lnTo>
                    <a:lnTo>
                      <a:pt x="31" y="144"/>
                    </a:lnTo>
                    <a:lnTo>
                      <a:pt x="31" y="132"/>
                    </a:lnTo>
                    <a:lnTo>
                      <a:pt x="27" y="125"/>
                    </a:lnTo>
                    <a:lnTo>
                      <a:pt x="23" y="119"/>
                    </a:lnTo>
                    <a:lnTo>
                      <a:pt x="18" y="121"/>
                    </a:lnTo>
                    <a:lnTo>
                      <a:pt x="10" y="123"/>
                    </a:lnTo>
                    <a:lnTo>
                      <a:pt x="6" y="123"/>
                    </a:lnTo>
                    <a:lnTo>
                      <a:pt x="0" y="119"/>
                    </a:lnTo>
                    <a:lnTo>
                      <a:pt x="2" y="113"/>
                    </a:lnTo>
                    <a:lnTo>
                      <a:pt x="4" y="109"/>
                    </a:lnTo>
                    <a:lnTo>
                      <a:pt x="10" y="105"/>
                    </a:lnTo>
                    <a:lnTo>
                      <a:pt x="14" y="102"/>
                    </a:lnTo>
                    <a:lnTo>
                      <a:pt x="16" y="98"/>
                    </a:lnTo>
                    <a:lnTo>
                      <a:pt x="12" y="94"/>
                    </a:lnTo>
                    <a:lnTo>
                      <a:pt x="12" y="86"/>
                    </a:lnTo>
                    <a:lnTo>
                      <a:pt x="14" y="75"/>
                    </a:lnTo>
                    <a:lnTo>
                      <a:pt x="18" y="55"/>
                    </a:lnTo>
                    <a:lnTo>
                      <a:pt x="21" y="40"/>
                    </a:lnTo>
                    <a:lnTo>
                      <a:pt x="29" y="42"/>
                    </a:lnTo>
                    <a:lnTo>
                      <a:pt x="73" y="52"/>
                    </a:lnTo>
                    <a:lnTo>
                      <a:pt x="110" y="54"/>
                    </a:lnTo>
                    <a:lnTo>
                      <a:pt x="135" y="52"/>
                    </a:lnTo>
                    <a:lnTo>
                      <a:pt x="185" y="38"/>
                    </a:lnTo>
                    <a:lnTo>
                      <a:pt x="269" y="17"/>
                    </a:lnTo>
                    <a:lnTo>
                      <a:pt x="290" y="15"/>
                    </a:lnTo>
                    <a:lnTo>
                      <a:pt x="367" y="13"/>
                    </a:lnTo>
                    <a:lnTo>
                      <a:pt x="382" y="7"/>
                    </a:lnTo>
                    <a:lnTo>
                      <a:pt x="409" y="0"/>
                    </a:lnTo>
                    <a:lnTo>
                      <a:pt x="427" y="17"/>
                    </a:lnTo>
                    <a:lnTo>
                      <a:pt x="436" y="31"/>
                    </a:lnTo>
                    <a:lnTo>
                      <a:pt x="442" y="48"/>
                    </a:lnTo>
                    <a:lnTo>
                      <a:pt x="442" y="7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49" name="Freeform 37">
                <a:extLst>
                  <a:ext uri="{FF2B5EF4-FFF2-40B4-BE49-F238E27FC236}">
                    <a16:creationId xmlns:a16="http://schemas.microsoft.com/office/drawing/2014/main" id="{B5F4BCF6-78FA-4E17-830B-4C28A9788C8B}"/>
                  </a:ext>
                </a:extLst>
              </p:cNvPr>
              <p:cNvSpPr>
                <a:spLocks/>
              </p:cNvSpPr>
              <p:nvPr/>
            </p:nvSpPr>
            <p:spPr bwMode="gray">
              <a:xfrm>
                <a:off x="3672585" y="2584156"/>
                <a:ext cx="791711" cy="990202"/>
              </a:xfrm>
              <a:custGeom>
                <a:avLst/>
                <a:gdLst>
                  <a:gd name="T0" fmla="*/ 503 w 702"/>
                  <a:gd name="T1" fmla="*/ 283 h 878"/>
                  <a:gd name="T2" fmla="*/ 505 w 702"/>
                  <a:gd name="T3" fmla="*/ 306 h 878"/>
                  <a:gd name="T4" fmla="*/ 493 w 702"/>
                  <a:gd name="T5" fmla="*/ 317 h 878"/>
                  <a:gd name="T6" fmla="*/ 495 w 702"/>
                  <a:gd name="T7" fmla="*/ 331 h 878"/>
                  <a:gd name="T8" fmla="*/ 512 w 702"/>
                  <a:gd name="T9" fmla="*/ 327 h 878"/>
                  <a:gd name="T10" fmla="*/ 520 w 702"/>
                  <a:gd name="T11" fmla="*/ 352 h 878"/>
                  <a:gd name="T12" fmla="*/ 512 w 702"/>
                  <a:gd name="T13" fmla="*/ 373 h 878"/>
                  <a:gd name="T14" fmla="*/ 503 w 702"/>
                  <a:gd name="T15" fmla="*/ 396 h 878"/>
                  <a:gd name="T16" fmla="*/ 516 w 702"/>
                  <a:gd name="T17" fmla="*/ 396 h 878"/>
                  <a:gd name="T18" fmla="*/ 535 w 702"/>
                  <a:gd name="T19" fmla="*/ 398 h 878"/>
                  <a:gd name="T20" fmla="*/ 547 w 702"/>
                  <a:gd name="T21" fmla="*/ 406 h 878"/>
                  <a:gd name="T22" fmla="*/ 558 w 702"/>
                  <a:gd name="T23" fmla="*/ 408 h 878"/>
                  <a:gd name="T24" fmla="*/ 576 w 702"/>
                  <a:gd name="T25" fmla="*/ 409 h 878"/>
                  <a:gd name="T26" fmla="*/ 587 w 702"/>
                  <a:gd name="T27" fmla="*/ 402 h 878"/>
                  <a:gd name="T28" fmla="*/ 608 w 702"/>
                  <a:gd name="T29" fmla="*/ 415 h 878"/>
                  <a:gd name="T30" fmla="*/ 595 w 702"/>
                  <a:gd name="T31" fmla="*/ 434 h 878"/>
                  <a:gd name="T32" fmla="*/ 583 w 702"/>
                  <a:gd name="T33" fmla="*/ 471 h 878"/>
                  <a:gd name="T34" fmla="*/ 597 w 702"/>
                  <a:gd name="T35" fmla="*/ 507 h 878"/>
                  <a:gd name="T36" fmla="*/ 612 w 702"/>
                  <a:gd name="T37" fmla="*/ 538 h 878"/>
                  <a:gd name="T38" fmla="*/ 605 w 702"/>
                  <a:gd name="T39" fmla="*/ 567 h 878"/>
                  <a:gd name="T40" fmla="*/ 582 w 702"/>
                  <a:gd name="T41" fmla="*/ 602 h 878"/>
                  <a:gd name="T42" fmla="*/ 555 w 702"/>
                  <a:gd name="T43" fmla="*/ 605 h 878"/>
                  <a:gd name="T44" fmla="*/ 539 w 702"/>
                  <a:gd name="T45" fmla="*/ 605 h 878"/>
                  <a:gd name="T46" fmla="*/ 532 w 702"/>
                  <a:gd name="T47" fmla="*/ 617 h 878"/>
                  <a:gd name="T48" fmla="*/ 520 w 702"/>
                  <a:gd name="T49" fmla="*/ 634 h 878"/>
                  <a:gd name="T50" fmla="*/ 507 w 702"/>
                  <a:gd name="T51" fmla="*/ 646 h 878"/>
                  <a:gd name="T52" fmla="*/ 495 w 702"/>
                  <a:gd name="T53" fmla="*/ 650 h 878"/>
                  <a:gd name="T54" fmla="*/ 493 w 702"/>
                  <a:gd name="T55" fmla="*/ 663 h 878"/>
                  <a:gd name="T56" fmla="*/ 530 w 702"/>
                  <a:gd name="T57" fmla="*/ 698 h 878"/>
                  <a:gd name="T58" fmla="*/ 599 w 702"/>
                  <a:gd name="T59" fmla="*/ 678 h 878"/>
                  <a:gd name="T60" fmla="*/ 653 w 702"/>
                  <a:gd name="T61" fmla="*/ 725 h 878"/>
                  <a:gd name="T62" fmla="*/ 697 w 702"/>
                  <a:gd name="T63" fmla="*/ 761 h 878"/>
                  <a:gd name="T64" fmla="*/ 699 w 702"/>
                  <a:gd name="T65" fmla="*/ 796 h 878"/>
                  <a:gd name="T66" fmla="*/ 676 w 702"/>
                  <a:gd name="T67" fmla="*/ 824 h 878"/>
                  <a:gd name="T68" fmla="*/ 645 w 702"/>
                  <a:gd name="T69" fmla="*/ 824 h 878"/>
                  <a:gd name="T70" fmla="*/ 578 w 702"/>
                  <a:gd name="T71" fmla="*/ 819 h 878"/>
                  <a:gd name="T72" fmla="*/ 526 w 702"/>
                  <a:gd name="T73" fmla="*/ 840 h 878"/>
                  <a:gd name="T74" fmla="*/ 514 w 702"/>
                  <a:gd name="T75" fmla="*/ 861 h 878"/>
                  <a:gd name="T76" fmla="*/ 486 w 702"/>
                  <a:gd name="T77" fmla="*/ 871 h 878"/>
                  <a:gd name="T78" fmla="*/ 453 w 702"/>
                  <a:gd name="T79" fmla="*/ 847 h 878"/>
                  <a:gd name="T80" fmla="*/ 436 w 702"/>
                  <a:gd name="T81" fmla="*/ 826 h 878"/>
                  <a:gd name="T82" fmla="*/ 424 w 702"/>
                  <a:gd name="T83" fmla="*/ 805 h 878"/>
                  <a:gd name="T84" fmla="*/ 376 w 702"/>
                  <a:gd name="T85" fmla="*/ 819 h 878"/>
                  <a:gd name="T86" fmla="*/ 265 w 702"/>
                  <a:gd name="T87" fmla="*/ 732 h 878"/>
                  <a:gd name="T88" fmla="*/ 222 w 702"/>
                  <a:gd name="T89" fmla="*/ 728 h 878"/>
                  <a:gd name="T90" fmla="*/ 192 w 702"/>
                  <a:gd name="T91" fmla="*/ 698 h 878"/>
                  <a:gd name="T92" fmla="*/ 136 w 702"/>
                  <a:gd name="T93" fmla="*/ 657 h 878"/>
                  <a:gd name="T94" fmla="*/ 100 w 702"/>
                  <a:gd name="T95" fmla="*/ 604 h 878"/>
                  <a:gd name="T96" fmla="*/ 82 w 702"/>
                  <a:gd name="T97" fmla="*/ 529 h 878"/>
                  <a:gd name="T98" fmla="*/ 50 w 702"/>
                  <a:gd name="T99" fmla="*/ 402 h 878"/>
                  <a:gd name="T100" fmla="*/ 34 w 702"/>
                  <a:gd name="T101" fmla="*/ 325 h 878"/>
                  <a:gd name="T102" fmla="*/ 27 w 702"/>
                  <a:gd name="T103" fmla="*/ 198 h 878"/>
                  <a:gd name="T104" fmla="*/ 0 w 702"/>
                  <a:gd name="T105" fmla="*/ 75 h 878"/>
                  <a:gd name="T106" fmla="*/ 53 w 702"/>
                  <a:gd name="T107" fmla="*/ 69 h 878"/>
                  <a:gd name="T108" fmla="*/ 190 w 702"/>
                  <a:gd name="T109" fmla="*/ 50 h 878"/>
                  <a:gd name="T110" fmla="*/ 365 w 702"/>
                  <a:gd name="T111" fmla="*/ 27 h 878"/>
                  <a:gd name="T112" fmla="*/ 414 w 702"/>
                  <a:gd name="T113" fmla="*/ 133 h 878"/>
                  <a:gd name="T114" fmla="*/ 449 w 702"/>
                  <a:gd name="T115" fmla="*/ 190 h 878"/>
                  <a:gd name="T116" fmla="*/ 501 w 702"/>
                  <a:gd name="T117" fmla="*/ 246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2" h="878">
                    <a:moveTo>
                      <a:pt x="510" y="248"/>
                    </a:moveTo>
                    <a:lnTo>
                      <a:pt x="507" y="263"/>
                    </a:lnTo>
                    <a:lnTo>
                      <a:pt x="503" y="283"/>
                    </a:lnTo>
                    <a:lnTo>
                      <a:pt x="501" y="294"/>
                    </a:lnTo>
                    <a:lnTo>
                      <a:pt x="501" y="302"/>
                    </a:lnTo>
                    <a:lnTo>
                      <a:pt x="505" y="306"/>
                    </a:lnTo>
                    <a:lnTo>
                      <a:pt x="503" y="310"/>
                    </a:lnTo>
                    <a:lnTo>
                      <a:pt x="499" y="313"/>
                    </a:lnTo>
                    <a:lnTo>
                      <a:pt x="493" y="317"/>
                    </a:lnTo>
                    <a:lnTo>
                      <a:pt x="491" y="321"/>
                    </a:lnTo>
                    <a:lnTo>
                      <a:pt x="489" y="327"/>
                    </a:lnTo>
                    <a:lnTo>
                      <a:pt x="495" y="331"/>
                    </a:lnTo>
                    <a:lnTo>
                      <a:pt x="499" y="331"/>
                    </a:lnTo>
                    <a:lnTo>
                      <a:pt x="507" y="329"/>
                    </a:lnTo>
                    <a:lnTo>
                      <a:pt x="512" y="327"/>
                    </a:lnTo>
                    <a:lnTo>
                      <a:pt x="516" y="333"/>
                    </a:lnTo>
                    <a:lnTo>
                      <a:pt x="520" y="340"/>
                    </a:lnTo>
                    <a:lnTo>
                      <a:pt x="520" y="352"/>
                    </a:lnTo>
                    <a:lnTo>
                      <a:pt x="520" y="361"/>
                    </a:lnTo>
                    <a:lnTo>
                      <a:pt x="514" y="371"/>
                    </a:lnTo>
                    <a:lnTo>
                      <a:pt x="512" y="373"/>
                    </a:lnTo>
                    <a:lnTo>
                      <a:pt x="507" y="385"/>
                    </a:lnTo>
                    <a:lnTo>
                      <a:pt x="503" y="390"/>
                    </a:lnTo>
                    <a:lnTo>
                      <a:pt x="503" y="396"/>
                    </a:lnTo>
                    <a:lnTo>
                      <a:pt x="505" y="398"/>
                    </a:lnTo>
                    <a:lnTo>
                      <a:pt x="510" y="398"/>
                    </a:lnTo>
                    <a:lnTo>
                      <a:pt x="516" y="396"/>
                    </a:lnTo>
                    <a:lnTo>
                      <a:pt x="522" y="394"/>
                    </a:lnTo>
                    <a:lnTo>
                      <a:pt x="528" y="394"/>
                    </a:lnTo>
                    <a:lnTo>
                      <a:pt x="535" y="398"/>
                    </a:lnTo>
                    <a:lnTo>
                      <a:pt x="539" y="404"/>
                    </a:lnTo>
                    <a:lnTo>
                      <a:pt x="543" y="406"/>
                    </a:lnTo>
                    <a:lnTo>
                      <a:pt x="547" y="406"/>
                    </a:lnTo>
                    <a:lnTo>
                      <a:pt x="549" y="404"/>
                    </a:lnTo>
                    <a:lnTo>
                      <a:pt x="553" y="404"/>
                    </a:lnTo>
                    <a:lnTo>
                      <a:pt x="558" y="408"/>
                    </a:lnTo>
                    <a:lnTo>
                      <a:pt x="562" y="413"/>
                    </a:lnTo>
                    <a:lnTo>
                      <a:pt x="570" y="415"/>
                    </a:lnTo>
                    <a:lnTo>
                      <a:pt x="576" y="409"/>
                    </a:lnTo>
                    <a:lnTo>
                      <a:pt x="582" y="404"/>
                    </a:lnTo>
                    <a:lnTo>
                      <a:pt x="585" y="402"/>
                    </a:lnTo>
                    <a:lnTo>
                      <a:pt x="587" y="402"/>
                    </a:lnTo>
                    <a:lnTo>
                      <a:pt x="597" y="406"/>
                    </a:lnTo>
                    <a:lnTo>
                      <a:pt x="599" y="408"/>
                    </a:lnTo>
                    <a:lnTo>
                      <a:pt x="608" y="415"/>
                    </a:lnTo>
                    <a:lnTo>
                      <a:pt x="614" y="421"/>
                    </a:lnTo>
                    <a:lnTo>
                      <a:pt x="606" y="427"/>
                    </a:lnTo>
                    <a:lnTo>
                      <a:pt x="595" y="434"/>
                    </a:lnTo>
                    <a:lnTo>
                      <a:pt x="585" y="444"/>
                    </a:lnTo>
                    <a:lnTo>
                      <a:pt x="576" y="452"/>
                    </a:lnTo>
                    <a:lnTo>
                      <a:pt x="583" y="471"/>
                    </a:lnTo>
                    <a:lnTo>
                      <a:pt x="587" y="479"/>
                    </a:lnTo>
                    <a:lnTo>
                      <a:pt x="591" y="488"/>
                    </a:lnTo>
                    <a:lnTo>
                      <a:pt x="597" y="507"/>
                    </a:lnTo>
                    <a:lnTo>
                      <a:pt x="599" y="513"/>
                    </a:lnTo>
                    <a:lnTo>
                      <a:pt x="612" y="531"/>
                    </a:lnTo>
                    <a:lnTo>
                      <a:pt x="612" y="538"/>
                    </a:lnTo>
                    <a:lnTo>
                      <a:pt x="606" y="552"/>
                    </a:lnTo>
                    <a:lnTo>
                      <a:pt x="606" y="559"/>
                    </a:lnTo>
                    <a:lnTo>
                      <a:pt x="605" y="567"/>
                    </a:lnTo>
                    <a:lnTo>
                      <a:pt x="599" y="579"/>
                    </a:lnTo>
                    <a:lnTo>
                      <a:pt x="591" y="592"/>
                    </a:lnTo>
                    <a:lnTo>
                      <a:pt x="582" y="602"/>
                    </a:lnTo>
                    <a:lnTo>
                      <a:pt x="568" y="607"/>
                    </a:lnTo>
                    <a:lnTo>
                      <a:pt x="562" y="607"/>
                    </a:lnTo>
                    <a:lnTo>
                      <a:pt x="555" y="605"/>
                    </a:lnTo>
                    <a:lnTo>
                      <a:pt x="549" y="605"/>
                    </a:lnTo>
                    <a:lnTo>
                      <a:pt x="541" y="605"/>
                    </a:lnTo>
                    <a:lnTo>
                      <a:pt x="539" y="605"/>
                    </a:lnTo>
                    <a:lnTo>
                      <a:pt x="535" y="609"/>
                    </a:lnTo>
                    <a:lnTo>
                      <a:pt x="534" y="611"/>
                    </a:lnTo>
                    <a:lnTo>
                      <a:pt x="532" y="617"/>
                    </a:lnTo>
                    <a:lnTo>
                      <a:pt x="528" y="623"/>
                    </a:lnTo>
                    <a:lnTo>
                      <a:pt x="522" y="628"/>
                    </a:lnTo>
                    <a:lnTo>
                      <a:pt x="520" y="634"/>
                    </a:lnTo>
                    <a:lnTo>
                      <a:pt x="516" y="642"/>
                    </a:lnTo>
                    <a:lnTo>
                      <a:pt x="512" y="646"/>
                    </a:lnTo>
                    <a:lnTo>
                      <a:pt x="507" y="646"/>
                    </a:lnTo>
                    <a:lnTo>
                      <a:pt x="503" y="648"/>
                    </a:lnTo>
                    <a:lnTo>
                      <a:pt x="499" y="648"/>
                    </a:lnTo>
                    <a:lnTo>
                      <a:pt x="495" y="650"/>
                    </a:lnTo>
                    <a:lnTo>
                      <a:pt x="493" y="653"/>
                    </a:lnTo>
                    <a:lnTo>
                      <a:pt x="491" y="659"/>
                    </a:lnTo>
                    <a:lnTo>
                      <a:pt x="493" y="663"/>
                    </a:lnTo>
                    <a:lnTo>
                      <a:pt x="501" y="673"/>
                    </a:lnTo>
                    <a:lnTo>
                      <a:pt x="509" y="680"/>
                    </a:lnTo>
                    <a:lnTo>
                      <a:pt x="530" y="698"/>
                    </a:lnTo>
                    <a:lnTo>
                      <a:pt x="539" y="703"/>
                    </a:lnTo>
                    <a:lnTo>
                      <a:pt x="564" y="701"/>
                    </a:lnTo>
                    <a:lnTo>
                      <a:pt x="599" y="678"/>
                    </a:lnTo>
                    <a:lnTo>
                      <a:pt x="626" y="688"/>
                    </a:lnTo>
                    <a:lnTo>
                      <a:pt x="653" y="715"/>
                    </a:lnTo>
                    <a:lnTo>
                      <a:pt x="653" y="725"/>
                    </a:lnTo>
                    <a:lnTo>
                      <a:pt x="668" y="730"/>
                    </a:lnTo>
                    <a:lnTo>
                      <a:pt x="691" y="750"/>
                    </a:lnTo>
                    <a:lnTo>
                      <a:pt x="697" y="761"/>
                    </a:lnTo>
                    <a:lnTo>
                      <a:pt x="702" y="771"/>
                    </a:lnTo>
                    <a:lnTo>
                      <a:pt x="702" y="792"/>
                    </a:lnTo>
                    <a:lnTo>
                      <a:pt x="699" y="796"/>
                    </a:lnTo>
                    <a:lnTo>
                      <a:pt x="691" y="803"/>
                    </a:lnTo>
                    <a:lnTo>
                      <a:pt x="697" y="813"/>
                    </a:lnTo>
                    <a:lnTo>
                      <a:pt x="676" y="824"/>
                    </a:lnTo>
                    <a:lnTo>
                      <a:pt x="666" y="826"/>
                    </a:lnTo>
                    <a:lnTo>
                      <a:pt x="658" y="826"/>
                    </a:lnTo>
                    <a:lnTo>
                      <a:pt x="645" y="824"/>
                    </a:lnTo>
                    <a:lnTo>
                      <a:pt x="631" y="823"/>
                    </a:lnTo>
                    <a:lnTo>
                      <a:pt x="608" y="819"/>
                    </a:lnTo>
                    <a:lnTo>
                      <a:pt x="578" y="819"/>
                    </a:lnTo>
                    <a:lnTo>
                      <a:pt x="535" y="832"/>
                    </a:lnTo>
                    <a:lnTo>
                      <a:pt x="530" y="836"/>
                    </a:lnTo>
                    <a:lnTo>
                      <a:pt x="526" y="840"/>
                    </a:lnTo>
                    <a:lnTo>
                      <a:pt x="522" y="847"/>
                    </a:lnTo>
                    <a:lnTo>
                      <a:pt x="516" y="861"/>
                    </a:lnTo>
                    <a:lnTo>
                      <a:pt x="514" y="861"/>
                    </a:lnTo>
                    <a:lnTo>
                      <a:pt x="509" y="876"/>
                    </a:lnTo>
                    <a:lnTo>
                      <a:pt x="503" y="878"/>
                    </a:lnTo>
                    <a:lnTo>
                      <a:pt x="486" y="871"/>
                    </a:lnTo>
                    <a:lnTo>
                      <a:pt x="476" y="861"/>
                    </a:lnTo>
                    <a:lnTo>
                      <a:pt x="466" y="853"/>
                    </a:lnTo>
                    <a:lnTo>
                      <a:pt x="453" y="847"/>
                    </a:lnTo>
                    <a:lnTo>
                      <a:pt x="445" y="844"/>
                    </a:lnTo>
                    <a:lnTo>
                      <a:pt x="438" y="838"/>
                    </a:lnTo>
                    <a:lnTo>
                      <a:pt x="436" y="826"/>
                    </a:lnTo>
                    <a:lnTo>
                      <a:pt x="436" y="813"/>
                    </a:lnTo>
                    <a:lnTo>
                      <a:pt x="434" y="805"/>
                    </a:lnTo>
                    <a:lnTo>
                      <a:pt x="424" y="805"/>
                    </a:lnTo>
                    <a:lnTo>
                      <a:pt x="414" y="811"/>
                    </a:lnTo>
                    <a:lnTo>
                      <a:pt x="401" y="815"/>
                    </a:lnTo>
                    <a:lnTo>
                      <a:pt x="376" y="819"/>
                    </a:lnTo>
                    <a:lnTo>
                      <a:pt x="359" y="821"/>
                    </a:lnTo>
                    <a:lnTo>
                      <a:pt x="272" y="736"/>
                    </a:lnTo>
                    <a:lnTo>
                      <a:pt x="265" y="732"/>
                    </a:lnTo>
                    <a:lnTo>
                      <a:pt x="247" y="728"/>
                    </a:lnTo>
                    <a:lnTo>
                      <a:pt x="234" y="728"/>
                    </a:lnTo>
                    <a:lnTo>
                      <a:pt x="222" y="728"/>
                    </a:lnTo>
                    <a:lnTo>
                      <a:pt x="217" y="730"/>
                    </a:lnTo>
                    <a:lnTo>
                      <a:pt x="201" y="707"/>
                    </a:lnTo>
                    <a:lnTo>
                      <a:pt x="192" y="698"/>
                    </a:lnTo>
                    <a:lnTo>
                      <a:pt x="174" y="686"/>
                    </a:lnTo>
                    <a:lnTo>
                      <a:pt x="153" y="671"/>
                    </a:lnTo>
                    <a:lnTo>
                      <a:pt x="136" y="657"/>
                    </a:lnTo>
                    <a:lnTo>
                      <a:pt x="121" y="642"/>
                    </a:lnTo>
                    <a:lnTo>
                      <a:pt x="107" y="621"/>
                    </a:lnTo>
                    <a:lnTo>
                      <a:pt x="100" y="604"/>
                    </a:lnTo>
                    <a:lnTo>
                      <a:pt x="92" y="582"/>
                    </a:lnTo>
                    <a:lnTo>
                      <a:pt x="86" y="559"/>
                    </a:lnTo>
                    <a:lnTo>
                      <a:pt x="82" y="529"/>
                    </a:lnTo>
                    <a:lnTo>
                      <a:pt x="75" y="496"/>
                    </a:lnTo>
                    <a:lnTo>
                      <a:pt x="71" y="481"/>
                    </a:lnTo>
                    <a:lnTo>
                      <a:pt x="50" y="402"/>
                    </a:lnTo>
                    <a:lnTo>
                      <a:pt x="42" y="367"/>
                    </a:lnTo>
                    <a:lnTo>
                      <a:pt x="40" y="352"/>
                    </a:lnTo>
                    <a:lnTo>
                      <a:pt x="34" y="325"/>
                    </a:lnTo>
                    <a:lnTo>
                      <a:pt x="30" y="290"/>
                    </a:lnTo>
                    <a:lnTo>
                      <a:pt x="27" y="250"/>
                    </a:lnTo>
                    <a:lnTo>
                      <a:pt x="27" y="198"/>
                    </a:lnTo>
                    <a:lnTo>
                      <a:pt x="17" y="142"/>
                    </a:lnTo>
                    <a:lnTo>
                      <a:pt x="7" y="106"/>
                    </a:lnTo>
                    <a:lnTo>
                      <a:pt x="0" y="75"/>
                    </a:lnTo>
                    <a:lnTo>
                      <a:pt x="23" y="79"/>
                    </a:lnTo>
                    <a:lnTo>
                      <a:pt x="42" y="73"/>
                    </a:lnTo>
                    <a:lnTo>
                      <a:pt x="53" y="69"/>
                    </a:lnTo>
                    <a:lnTo>
                      <a:pt x="136" y="66"/>
                    </a:lnTo>
                    <a:lnTo>
                      <a:pt x="157" y="60"/>
                    </a:lnTo>
                    <a:lnTo>
                      <a:pt x="190" y="50"/>
                    </a:lnTo>
                    <a:lnTo>
                      <a:pt x="318" y="12"/>
                    </a:lnTo>
                    <a:lnTo>
                      <a:pt x="342" y="0"/>
                    </a:lnTo>
                    <a:lnTo>
                      <a:pt x="365" y="27"/>
                    </a:lnTo>
                    <a:lnTo>
                      <a:pt x="380" y="58"/>
                    </a:lnTo>
                    <a:lnTo>
                      <a:pt x="401" y="112"/>
                    </a:lnTo>
                    <a:lnTo>
                      <a:pt x="414" y="133"/>
                    </a:lnTo>
                    <a:lnTo>
                      <a:pt x="426" y="152"/>
                    </a:lnTo>
                    <a:lnTo>
                      <a:pt x="436" y="164"/>
                    </a:lnTo>
                    <a:lnTo>
                      <a:pt x="449" y="190"/>
                    </a:lnTo>
                    <a:lnTo>
                      <a:pt x="459" y="219"/>
                    </a:lnTo>
                    <a:lnTo>
                      <a:pt x="474" y="233"/>
                    </a:lnTo>
                    <a:lnTo>
                      <a:pt x="501" y="246"/>
                    </a:lnTo>
                    <a:lnTo>
                      <a:pt x="510" y="24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50" name="Freeform 38">
                <a:extLst>
                  <a:ext uri="{FF2B5EF4-FFF2-40B4-BE49-F238E27FC236}">
                    <a16:creationId xmlns:a16="http://schemas.microsoft.com/office/drawing/2014/main" id="{8EC2FC8C-2FCF-49DB-A929-8B08B31BD323}"/>
                  </a:ext>
                </a:extLst>
              </p:cNvPr>
              <p:cNvSpPr>
                <a:spLocks/>
              </p:cNvSpPr>
              <p:nvPr/>
            </p:nvSpPr>
            <p:spPr bwMode="gray">
              <a:xfrm>
                <a:off x="4685344" y="2777009"/>
                <a:ext cx="757877" cy="310143"/>
              </a:xfrm>
              <a:custGeom>
                <a:avLst/>
                <a:gdLst>
                  <a:gd name="T0" fmla="*/ 638 w 672"/>
                  <a:gd name="T1" fmla="*/ 167 h 275"/>
                  <a:gd name="T2" fmla="*/ 668 w 672"/>
                  <a:gd name="T3" fmla="*/ 202 h 275"/>
                  <a:gd name="T4" fmla="*/ 672 w 672"/>
                  <a:gd name="T5" fmla="*/ 204 h 275"/>
                  <a:gd name="T6" fmla="*/ 651 w 672"/>
                  <a:gd name="T7" fmla="*/ 231 h 275"/>
                  <a:gd name="T8" fmla="*/ 605 w 672"/>
                  <a:gd name="T9" fmla="*/ 260 h 275"/>
                  <a:gd name="T10" fmla="*/ 592 w 672"/>
                  <a:gd name="T11" fmla="*/ 275 h 275"/>
                  <a:gd name="T12" fmla="*/ 574 w 672"/>
                  <a:gd name="T13" fmla="*/ 248 h 275"/>
                  <a:gd name="T14" fmla="*/ 563 w 672"/>
                  <a:gd name="T15" fmla="*/ 240 h 275"/>
                  <a:gd name="T16" fmla="*/ 534 w 672"/>
                  <a:gd name="T17" fmla="*/ 233 h 275"/>
                  <a:gd name="T18" fmla="*/ 528 w 672"/>
                  <a:gd name="T19" fmla="*/ 233 h 275"/>
                  <a:gd name="T20" fmla="*/ 486 w 672"/>
                  <a:gd name="T21" fmla="*/ 240 h 275"/>
                  <a:gd name="T22" fmla="*/ 457 w 672"/>
                  <a:gd name="T23" fmla="*/ 240 h 275"/>
                  <a:gd name="T24" fmla="*/ 452 w 672"/>
                  <a:gd name="T25" fmla="*/ 238 h 275"/>
                  <a:gd name="T26" fmla="*/ 436 w 672"/>
                  <a:gd name="T27" fmla="*/ 231 h 275"/>
                  <a:gd name="T28" fmla="*/ 407 w 672"/>
                  <a:gd name="T29" fmla="*/ 231 h 275"/>
                  <a:gd name="T30" fmla="*/ 396 w 672"/>
                  <a:gd name="T31" fmla="*/ 231 h 275"/>
                  <a:gd name="T32" fmla="*/ 386 w 672"/>
                  <a:gd name="T33" fmla="*/ 223 h 275"/>
                  <a:gd name="T34" fmla="*/ 363 w 672"/>
                  <a:gd name="T35" fmla="*/ 206 h 275"/>
                  <a:gd name="T36" fmla="*/ 338 w 672"/>
                  <a:gd name="T37" fmla="*/ 185 h 275"/>
                  <a:gd name="T38" fmla="*/ 321 w 672"/>
                  <a:gd name="T39" fmla="*/ 169 h 275"/>
                  <a:gd name="T40" fmla="*/ 315 w 672"/>
                  <a:gd name="T41" fmla="*/ 167 h 275"/>
                  <a:gd name="T42" fmla="*/ 288 w 672"/>
                  <a:gd name="T43" fmla="*/ 148 h 275"/>
                  <a:gd name="T44" fmla="*/ 277 w 672"/>
                  <a:gd name="T45" fmla="*/ 141 h 275"/>
                  <a:gd name="T46" fmla="*/ 258 w 672"/>
                  <a:gd name="T47" fmla="*/ 137 h 275"/>
                  <a:gd name="T48" fmla="*/ 236 w 672"/>
                  <a:gd name="T49" fmla="*/ 137 h 275"/>
                  <a:gd name="T50" fmla="*/ 219 w 672"/>
                  <a:gd name="T51" fmla="*/ 146 h 275"/>
                  <a:gd name="T52" fmla="*/ 198 w 672"/>
                  <a:gd name="T53" fmla="*/ 154 h 275"/>
                  <a:gd name="T54" fmla="*/ 185 w 672"/>
                  <a:gd name="T55" fmla="*/ 148 h 275"/>
                  <a:gd name="T56" fmla="*/ 152 w 672"/>
                  <a:gd name="T57" fmla="*/ 142 h 275"/>
                  <a:gd name="T58" fmla="*/ 96 w 672"/>
                  <a:gd name="T59" fmla="*/ 125 h 275"/>
                  <a:gd name="T60" fmla="*/ 33 w 672"/>
                  <a:gd name="T61" fmla="*/ 108 h 275"/>
                  <a:gd name="T62" fmla="*/ 33 w 672"/>
                  <a:gd name="T63" fmla="*/ 85 h 275"/>
                  <a:gd name="T64" fmla="*/ 27 w 672"/>
                  <a:gd name="T65" fmla="*/ 68 h 275"/>
                  <a:gd name="T66" fmla="*/ 18 w 672"/>
                  <a:gd name="T67" fmla="*/ 54 h 275"/>
                  <a:gd name="T68" fmla="*/ 0 w 672"/>
                  <a:gd name="T69" fmla="*/ 37 h 275"/>
                  <a:gd name="T70" fmla="*/ 37 w 672"/>
                  <a:gd name="T71" fmla="*/ 10 h 275"/>
                  <a:gd name="T72" fmla="*/ 54 w 672"/>
                  <a:gd name="T73" fmla="*/ 6 h 275"/>
                  <a:gd name="T74" fmla="*/ 83 w 672"/>
                  <a:gd name="T75" fmla="*/ 4 h 275"/>
                  <a:gd name="T76" fmla="*/ 150 w 672"/>
                  <a:gd name="T77" fmla="*/ 2 h 275"/>
                  <a:gd name="T78" fmla="*/ 167 w 672"/>
                  <a:gd name="T79" fmla="*/ 2 h 275"/>
                  <a:gd name="T80" fmla="*/ 187 w 672"/>
                  <a:gd name="T81" fmla="*/ 2 h 275"/>
                  <a:gd name="T82" fmla="*/ 225 w 672"/>
                  <a:gd name="T83" fmla="*/ 2 h 275"/>
                  <a:gd name="T84" fmla="*/ 302 w 672"/>
                  <a:gd name="T85" fmla="*/ 0 h 275"/>
                  <a:gd name="T86" fmla="*/ 319 w 672"/>
                  <a:gd name="T87" fmla="*/ 0 h 275"/>
                  <a:gd name="T88" fmla="*/ 344 w 672"/>
                  <a:gd name="T89" fmla="*/ 4 h 275"/>
                  <a:gd name="T90" fmla="*/ 379 w 672"/>
                  <a:gd name="T91" fmla="*/ 6 h 275"/>
                  <a:gd name="T92" fmla="*/ 411 w 672"/>
                  <a:gd name="T93" fmla="*/ 12 h 275"/>
                  <a:gd name="T94" fmla="*/ 442 w 672"/>
                  <a:gd name="T95" fmla="*/ 18 h 275"/>
                  <a:gd name="T96" fmla="*/ 463 w 672"/>
                  <a:gd name="T97" fmla="*/ 21 h 275"/>
                  <a:gd name="T98" fmla="*/ 496 w 672"/>
                  <a:gd name="T99" fmla="*/ 33 h 275"/>
                  <a:gd name="T100" fmla="*/ 523 w 672"/>
                  <a:gd name="T101" fmla="*/ 48 h 275"/>
                  <a:gd name="T102" fmla="*/ 555 w 672"/>
                  <a:gd name="T103" fmla="*/ 73 h 275"/>
                  <a:gd name="T104" fmla="*/ 638 w 672"/>
                  <a:gd name="T105" fmla="*/ 167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72" h="275">
                    <a:moveTo>
                      <a:pt x="638" y="167"/>
                    </a:moveTo>
                    <a:lnTo>
                      <a:pt x="668" y="202"/>
                    </a:lnTo>
                    <a:lnTo>
                      <a:pt x="672" y="204"/>
                    </a:lnTo>
                    <a:lnTo>
                      <a:pt x="651" y="231"/>
                    </a:lnTo>
                    <a:lnTo>
                      <a:pt x="605" y="260"/>
                    </a:lnTo>
                    <a:lnTo>
                      <a:pt x="592" y="275"/>
                    </a:lnTo>
                    <a:lnTo>
                      <a:pt x="574" y="248"/>
                    </a:lnTo>
                    <a:lnTo>
                      <a:pt x="563" y="240"/>
                    </a:lnTo>
                    <a:lnTo>
                      <a:pt x="534" y="233"/>
                    </a:lnTo>
                    <a:lnTo>
                      <a:pt x="528" y="233"/>
                    </a:lnTo>
                    <a:lnTo>
                      <a:pt x="486" y="240"/>
                    </a:lnTo>
                    <a:lnTo>
                      <a:pt x="457" y="240"/>
                    </a:lnTo>
                    <a:lnTo>
                      <a:pt x="452" y="238"/>
                    </a:lnTo>
                    <a:lnTo>
                      <a:pt x="436" y="231"/>
                    </a:lnTo>
                    <a:lnTo>
                      <a:pt x="407" y="231"/>
                    </a:lnTo>
                    <a:lnTo>
                      <a:pt x="396" y="231"/>
                    </a:lnTo>
                    <a:lnTo>
                      <a:pt x="386" y="223"/>
                    </a:lnTo>
                    <a:lnTo>
                      <a:pt x="363" y="206"/>
                    </a:lnTo>
                    <a:lnTo>
                      <a:pt x="338" y="185"/>
                    </a:lnTo>
                    <a:lnTo>
                      <a:pt x="321" y="169"/>
                    </a:lnTo>
                    <a:lnTo>
                      <a:pt x="315" y="167"/>
                    </a:lnTo>
                    <a:lnTo>
                      <a:pt x="288" y="148"/>
                    </a:lnTo>
                    <a:lnTo>
                      <a:pt x="277" y="141"/>
                    </a:lnTo>
                    <a:lnTo>
                      <a:pt x="258" y="137"/>
                    </a:lnTo>
                    <a:lnTo>
                      <a:pt x="236" y="137"/>
                    </a:lnTo>
                    <a:lnTo>
                      <a:pt x="219" y="146"/>
                    </a:lnTo>
                    <a:lnTo>
                      <a:pt x="198" y="154"/>
                    </a:lnTo>
                    <a:lnTo>
                      <a:pt x="185" y="148"/>
                    </a:lnTo>
                    <a:lnTo>
                      <a:pt x="152" y="142"/>
                    </a:lnTo>
                    <a:lnTo>
                      <a:pt x="96" y="125"/>
                    </a:lnTo>
                    <a:lnTo>
                      <a:pt x="33" y="108"/>
                    </a:lnTo>
                    <a:lnTo>
                      <a:pt x="33" y="85"/>
                    </a:lnTo>
                    <a:lnTo>
                      <a:pt x="27" y="68"/>
                    </a:lnTo>
                    <a:lnTo>
                      <a:pt x="18" y="54"/>
                    </a:lnTo>
                    <a:lnTo>
                      <a:pt x="0" y="37"/>
                    </a:lnTo>
                    <a:lnTo>
                      <a:pt x="37" y="10"/>
                    </a:lnTo>
                    <a:lnTo>
                      <a:pt x="54" y="6"/>
                    </a:lnTo>
                    <a:lnTo>
                      <a:pt x="83" y="4"/>
                    </a:lnTo>
                    <a:lnTo>
                      <a:pt x="150" y="2"/>
                    </a:lnTo>
                    <a:lnTo>
                      <a:pt x="167" y="2"/>
                    </a:lnTo>
                    <a:lnTo>
                      <a:pt x="187" y="2"/>
                    </a:lnTo>
                    <a:lnTo>
                      <a:pt x="225" y="2"/>
                    </a:lnTo>
                    <a:lnTo>
                      <a:pt x="302" y="0"/>
                    </a:lnTo>
                    <a:lnTo>
                      <a:pt x="319" y="0"/>
                    </a:lnTo>
                    <a:lnTo>
                      <a:pt x="344" y="4"/>
                    </a:lnTo>
                    <a:lnTo>
                      <a:pt x="379" y="6"/>
                    </a:lnTo>
                    <a:lnTo>
                      <a:pt x="411" y="12"/>
                    </a:lnTo>
                    <a:lnTo>
                      <a:pt x="442" y="18"/>
                    </a:lnTo>
                    <a:lnTo>
                      <a:pt x="463" y="21"/>
                    </a:lnTo>
                    <a:lnTo>
                      <a:pt x="496" y="33"/>
                    </a:lnTo>
                    <a:lnTo>
                      <a:pt x="523" y="48"/>
                    </a:lnTo>
                    <a:lnTo>
                      <a:pt x="555" y="73"/>
                    </a:lnTo>
                    <a:lnTo>
                      <a:pt x="638" y="167"/>
                    </a:lnTo>
                    <a:close/>
                  </a:path>
                </a:pathLst>
              </a:custGeom>
              <a:solidFill>
                <a:schemeClr val="accent6">
                  <a:lumMod val="20000"/>
                  <a:lumOff val="80000"/>
                </a:schemeClr>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51" name="Freeform 39">
                <a:extLst>
                  <a:ext uri="{FF2B5EF4-FFF2-40B4-BE49-F238E27FC236}">
                    <a16:creationId xmlns:a16="http://schemas.microsoft.com/office/drawing/2014/main" id="{40D7573D-BD62-4FEB-802D-CCE19995FD47}"/>
                  </a:ext>
                </a:extLst>
              </p:cNvPr>
              <p:cNvSpPr>
                <a:spLocks/>
              </p:cNvSpPr>
              <p:nvPr/>
            </p:nvSpPr>
            <p:spPr bwMode="gray">
              <a:xfrm>
                <a:off x="4709028" y="2898810"/>
                <a:ext cx="345105" cy="614648"/>
              </a:xfrm>
              <a:custGeom>
                <a:avLst/>
                <a:gdLst>
                  <a:gd name="T0" fmla="*/ 283 w 306"/>
                  <a:gd name="T1" fmla="*/ 542 h 545"/>
                  <a:gd name="T2" fmla="*/ 265 w 306"/>
                  <a:gd name="T3" fmla="*/ 532 h 545"/>
                  <a:gd name="T4" fmla="*/ 227 w 306"/>
                  <a:gd name="T5" fmla="*/ 511 h 545"/>
                  <a:gd name="T6" fmla="*/ 210 w 306"/>
                  <a:gd name="T7" fmla="*/ 507 h 545"/>
                  <a:gd name="T8" fmla="*/ 191 w 306"/>
                  <a:gd name="T9" fmla="*/ 515 h 545"/>
                  <a:gd name="T10" fmla="*/ 171 w 306"/>
                  <a:gd name="T11" fmla="*/ 515 h 545"/>
                  <a:gd name="T12" fmla="*/ 150 w 306"/>
                  <a:gd name="T13" fmla="*/ 517 h 545"/>
                  <a:gd name="T14" fmla="*/ 139 w 306"/>
                  <a:gd name="T15" fmla="*/ 522 h 545"/>
                  <a:gd name="T16" fmla="*/ 119 w 306"/>
                  <a:gd name="T17" fmla="*/ 517 h 545"/>
                  <a:gd name="T18" fmla="*/ 85 w 306"/>
                  <a:gd name="T19" fmla="*/ 505 h 545"/>
                  <a:gd name="T20" fmla="*/ 39 w 306"/>
                  <a:gd name="T21" fmla="*/ 519 h 545"/>
                  <a:gd name="T22" fmla="*/ 14 w 306"/>
                  <a:gd name="T23" fmla="*/ 447 h 545"/>
                  <a:gd name="T24" fmla="*/ 0 w 306"/>
                  <a:gd name="T25" fmla="*/ 405 h 545"/>
                  <a:gd name="T26" fmla="*/ 4 w 306"/>
                  <a:gd name="T27" fmla="*/ 367 h 545"/>
                  <a:gd name="T28" fmla="*/ 22 w 306"/>
                  <a:gd name="T29" fmla="*/ 317 h 545"/>
                  <a:gd name="T30" fmla="*/ 41 w 306"/>
                  <a:gd name="T31" fmla="*/ 236 h 545"/>
                  <a:gd name="T32" fmla="*/ 22 w 306"/>
                  <a:gd name="T33" fmla="*/ 180 h 545"/>
                  <a:gd name="T34" fmla="*/ 16 w 306"/>
                  <a:gd name="T35" fmla="*/ 157 h 545"/>
                  <a:gd name="T36" fmla="*/ 14 w 306"/>
                  <a:gd name="T37" fmla="*/ 130 h 545"/>
                  <a:gd name="T38" fmla="*/ 16 w 306"/>
                  <a:gd name="T39" fmla="*/ 73 h 545"/>
                  <a:gd name="T40" fmla="*/ 12 w 306"/>
                  <a:gd name="T41" fmla="*/ 9 h 545"/>
                  <a:gd name="T42" fmla="*/ 75 w 306"/>
                  <a:gd name="T43" fmla="*/ 17 h 545"/>
                  <a:gd name="T44" fmla="*/ 164 w 306"/>
                  <a:gd name="T45" fmla="*/ 40 h 545"/>
                  <a:gd name="T46" fmla="*/ 192 w 306"/>
                  <a:gd name="T47" fmla="*/ 56 h 545"/>
                  <a:gd name="T48" fmla="*/ 214 w 306"/>
                  <a:gd name="T49" fmla="*/ 79 h 545"/>
                  <a:gd name="T50" fmla="*/ 214 w 306"/>
                  <a:gd name="T51" fmla="*/ 88 h 545"/>
                  <a:gd name="T52" fmla="*/ 212 w 306"/>
                  <a:gd name="T53" fmla="*/ 132 h 545"/>
                  <a:gd name="T54" fmla="*/ 214 w 306"/>
                  <a:gd name="T55" fmla="*/ 152 h 545"/>
                  <a:gd name="T56" fmla="*/ 217 w 306"/>
                  <a:gd name="T57" fmla="*/ 194 h 545"/>
                  <a:gd name="T58" fmla="*/ 192 w 306"/>
                  <a:gd name="T59" fmla="*/ 275 h 545"/>
                  <a:gd name="T60" fmla="*/ 179 w 306"/>
                  <a:gd name="T61" fmla="*/ 301 h 545"/>
                  <a:gd name="T62" fmla="*/ 179 w 306"/>
                  <a:gd name="T63" fmla="*/ 321 h 545"/>
                  <a:gd name="T64" fmla="*/ 187 w 306"/>
                  <a:gd name="T65" fmla="*/ 351 h 545"/>
                  <a:gd name="T66" fmla="*/ 223 w 306"/>
                  <a:gd name="T67" fmla="*/ 399 h 545"/>
                  <a:gd name="T68" fmla="*/ 221 w 306"/>
                  <a:gd name="T69" fmla="*/ 407 h 545"/>
                  <a:gd name="T70" fmla="*/ 215 w 306"/>
                  <a:gd name="T71" fmla="*/ 422 h 545"/>
                  <a:gd name="T72" fmla="*/ 240 w 306"/>
                  <a:gd name="T73" fmla="*/ 434 h 545"/>
                  <a:gd name="T74" fmla="*/ 252 w 306"/>
                  <a:gd name="T75" fmla="*/ 467 h 545"/>
                  <a:gd name="T76" fmla="*/ 269 w 306"/>
                  <a:gd name="T77" fmla="*/ 495 h 545"/>
                  <a:gd name="T78" fmla="*/ 290 w 306"/>
                  <a:gd name="T79" fmla="*/ 530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6" h="545">
                    <a:moveTo>
                      <a:pt x="306" y="545"/>
                    </a:moveTo>
                    <a:lnTo>
                      <a:pt x="283" y="542"/>
                    </a:lnTo>
                    <a:lnTo>
                      <a:pt x="267" y="534"/>
                    </a:lnTo>
                    <a:lnTo>
                      <a:pt x="265" y="532"/>
                    </a:lnTo>
                    <a:lnTo>
                      <a:pt x="248" y="522"/>
                    </a:lnTo>
                    <a:lnTo>
                      <a:pt x="227" y="511"/>
                    </a:lnTo>
                    <a:lnTo>
                      <a:pt x="219" y="507"/>
                    </a:lnTo>
                    <a:lnTo>
                      <a:pt x="210" y="507"/>
                    </a:lnTo>
                    <a:lnTo>
                      <a:pt x="202" y="509"/>
                    </a:lnTo>
                    <a:lnTo>
                      <a:pt x="191" y="515"/>
                    </a:lnTo>
                    <a:lnTo>
                      <a:pt x="181" y="517"/>
                    </a:lnTo>
                    <a:lnTo>
                      <a:pt x="171" y="515"/>
                    </a:lnTo>
                    <a:lnTo>
                      <a:pt x="158" y="515"/>
                    </a:lnTo>
                    <a:lnTo>
                      <a:pt x="150" y="517"/>
                    </a:lnTo>
                    <a:lnTo>
                      <a:pt x="144" y="520"/>
                    </a:lnTo>
                    <a:lnTo>
                      <a:pt x="139" y="522"/>
                    </a:lnTo>
                    <a:lnTo>
                      <a:pt x="133" y="522"/>
                    </a:lnTo>
                    <a:lnTo>
                      <a:pt x="119" y="517"/>
                    </a:lnTo>
                    <a:lnTo>
                      <a:pt x="93" y="507"/>
                    </a:lnTo>
                    <a:lnTo>
                      <a:pt x="85" y="505"/>
                    </a:lnTo>
                    <a:lnTo>
                      <a:pt x="60" y="513"/>
                    </a:lnTo>
                    <a:lnTo>
                      <a:pt x="39" y="519"/>
                    </a:lnTo>
                    <a:lnTo>
                      <a:pt x="31" y="495"/>
                    </a:lnTo>
                    <a:lnTo>
                      <a:pt x="14" y="447"/>
                    </a:lnTo>
                    <a:lnTo>
                      <a:pt x="8" y="432"/>
                    </a:lnTo>
                    <a:lnTo>
                      <a:pt x="0" y="405"/>
                    </a:lnTo>
                    <a:lnTo>
                      <a:pt x="0" y="386"/>
                    </a:lnTo>
                    <a:lnTo>
                      <a:pt x="4" y="367"/>
                    </a:lnTo>
                    <a:lnTo>
                      <a:pt x="10" y="351"/>
                    </a:lnTo>
                    <a:lnTo>
                      <a:pt x="22" y="317"/>
                    </a:lnTo>
                    <a:lnTo>
                      <a:pt x="43" y="253"/>
                    </a:lnTo>
                    <a:lnTo>
                      <a:pt x="41" y="236"/>
                    </a:lnTo>
                    <a:lnTo>
                      <a:pt x="39" y="228"/>
                    </a:lnTo>
                    <a:lnTo>
                      <a:pt x="22" y="180"/>
                    </a:lnTo>
                    <a:lnTo>
                      <a:pt x="16" y="167"/>
                    </a:lnTo>
                    <a:lnTo>
                      <a:pt x="16" y="157"/>
                    </a:lnTo>
                    <a:lnTo>
                      <a:pt x="16" y="148"/>
                    </a:lnTo>
                    <a:lnTo>
                      <a:pt x="14" y="130"/>
                    </a:lnTo>
                    <a:lnTo>
                      <a:pt x="16" y="98"/>
                    </a:lnTo>
                    <a:lnTo>
                      <a:pt x="16" y="73"/>
                    </a:lnTo>
                    <a:lnTo>
                      <a:pt x="14" y="36"/>
                    </a:lnTo>
                    <a:lnTo>
                      <a:pt x="12" y="9"/>
                    </a:lnTo>
                    <a:lnTo>
                      <a:pt x="12" y="0"/>
                    </a:lnTo>
                    <a:lnTo>
                      <a:pt x="75" y="17"/>
                    </a:lnTo>
                    <a:lnTo>
                      <a:pt x="131" y="34"/>
                    </a:lnTo>
                    <a:lnTo>
                      <a:pt x="164" y="40"/>
                    </a:lnTo>
                    <a:lnTo>
                      <a:pt x="177" y="46"/>
                    </a:lnTo>
                    <a:lnTo>
                      <a:pt x="192" y="56"/>
                    </a:lnTo>
                    <a:lnTo>
                      <a:pt x="204" y="67"/>
                    </a:lnTo>
                    <a:lnTo>
                      <a:pt x="214" y="79"/>
                    </a:lnTo>
                    <a:lnTo>
                      <a:pt x="214" y="81"/>
                    </a:lnTo>
                    <a:lnTo>
                      <a:pt x="214" y="88"/>
                    </a:lnTo>
                    <a:lnTo>
                      <a:pt x="212" y="117"/>
                    </a:lnTo>
                    <a:lnTo>
                      <a:pt x="212" y="132"/>
                    </a:lnTo>
                    <a:lnTo>
                      <a:pt x="212" y="134"/>
                    </a:lnTo>
                    <a:lnTo>
                      <a:pt x="214" y="152"/>
                    </a:lnTo>
                    <a:lnTo>
                      <a:pt x="215" y="190"/>
                    </a:lnTo>
                    <a:lnTo>
                      <a:pt x="217" y="194"/>
                    </a:lnTo>
                    <a:lnTo>
                      <a:pt x="208" y="232"/>
                    </a:lnTo>
                    <a:lnTo>
                      <a:pt x="192" y="275"/>
                    </a:lnTo>
                    <a:lnTo>
                      <a:pt x="185" y="292"/>
                    </a:lnTo>
                    <a:lnTo>
                      <a:pt x="179" y="301"/>
                    </a:lnTo>
                    <a:lnTo>
                      <a:pt x="177" y="311"/>
                    </a:lnTo>
                    <a:lnTo>
                      <a:pt x="179" y="321"/>
                    </a:lnTo>
                    <a:lnTo>
                      <a:pt x="181" y="325"/>
                    </a:lnTo>
                    <a:lnTo>
                      <a:pt x="187" y="351"/>
                    </a:lnTo>
                    <a:lnTo>
                      <a:pt x="217" y="394"/>
                    </a:lnTo>
                    <a:lnTo>
                      <a:pt x="223" y="399"/>
                    </a:lnTo>
                    <a:lnTo>
                      <a:pt x="227" y="403"/>
                    </a:lnTo>
                    <a:lnTo>
                      <a:pt x="221" y="407"/>
                    </a:lnTo>
                    <a:lnTo>
                      <a:pt x="210" y="417"/>
                    </a:lnTo>
                    <a:lnTo>
                      <a:pt x="215" y="422"/>
                    </a:lnTo>
                    <a:lnTo>
                      <a:pt x="231" y="426"/>
                    </a:lnTo>
                    <a:lnTo>
                      <a:pt x="240" y="434"/>
                    </a:lnTo>
                    <a:lnTo>
                      <a:pt x="250" y="455"/>
                    </a:lnTo>
                    <a:lnTo>
                      <a:pt x="252" y="467"/>
                    </a:lnTo>
                    <a:lnTo>
                      <a:pt x="254" y="478"/>
                    </a:lnTo>
                    <a:lnTo>
                      <a:pt x="269" y="495"/>
                    </a:lnTo>
                    <a:lnTo>
                      <a:pt x="279" y="517"/>
                    </a:lnTo>
                    <a:lnTo>
                      <a:pt x="290" y="530"/>
                    </a:lnTo>
                    <a:lnTo>
                      <a:pt x="306" y="545"/>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52" name="Freeform 40">
                <a:extLst>
                  <a:ext uri="{FF2B5EF4-FFF2-40B4-BE49-F238E27FC236}">
                    <a16:creationId xmlns:a16="http://schemas.microsoft.com/office/drawing/2014/main" id="{9EB21A88-1B71-4913-92F8-EE8998498D81}"/>
                  </a:ext>
                </a:extLst>
              </p:cNvPr>
              <p:cNvSpPr>
                <a:spLocks/>
              </p:cNvSpPr>
              <p:nvPr/>
            </p:nvSpPr>
            <p:spPr bwMode="gray">
              <a:xfrm>
                <a:off x="4226332" y="3183014"/>
                <a:ext cx="526680" cy="318038"/>
              </a:xfrm>
              <a:custGeom>
                <a:avLst/>
                <a:gdLst>
                  <a:gd name="T0" fmla="*/ 428 w 467"/>
                  <a:gd name="T1" fmla="*/ 153 h 282"/>
                  <a:gd name="T2" fmla="*/ 442 w 467"/>
                  <a:gd name="T3" fmla="*/ 195 h 282"/>
                  <a:gd name="T4" fmla="*/ 467 w 467"/>
                  <a:gd name="T5" fmla="*/ 267 h 282"/>
                  <a:gd name="T6" fmla="*/ 415 w 467"/>
                  <a:gd name="T7" fmla="*/ 265 h 282"/>
                  <a:gd name="T8" fmla="*/ 371 w 467"/>
                  <a:gd name="T9" fmla="*/ 261 h 282"/>
                  <a:gd name="T10" fmla="*/ 342 w 467"/>
                  <a:gd name="T11" fmla="*/ 259 h 282"/>
                  <a:gd name="T12" fmla="*/ 315 w 467"/>
                  <a:gd name="T13" fmla="*/ 257 h 282"/>
                  <a:gd name="T14" fmla="*/ 288 w 467"/>
                  <a:gd name="T15" fmla="*/ 257 h 282"/>
                  <a:gd name="T16" fmla="*/ 267 w 467"/>
                  <a:gd name="T17" fmla="*/ 245 h 282"/>
                  <a:gd name="T18" fmla="*/ 248 w 467"/>
                  <a:gd name="T19" fmla="*/ 253 h 282"/>
                  <a:gd name="T20" fmla="*/ 229 w 467"/>
                  <a:gd name="T21" fmla="*/ 265 h 282"/>
                  <a:gd name="T22" fmla="*/ 206 w 467"/>
                  <a:gd name="T23" fmla="*/ 282 h 282"/>
                  <a:gd name="T24" fmla="*/ 208 w 467"/>
                  <a:gd name="T25" fmla="*/ 265 h 282"/>
                  <a:gd name="T26" fmla="*/ 211 w 467"/>
                  <a:gd name="T27" fmla="*/ 240 h 282"/>
                  <a:gd name="T28" fmla="*/ 200 w 467"/>
                  <a:gd name="T29" fmla="*/ 219 h 282"/>
                  <a:gd name="T30" fmla="*/ 162 w 467"/>
                  <a:gd name="T31" fmla="*/ 194 h 282"/>
                  <a:gd name="T32" fmla="*/ 135 w 467"/>
                  <a:gd name="T33" fmla="*/ 157 h 282"/>
                  <a:gd name="T34" fmla="*/ 73 w 467"/>
                  <a:gd name="T35" fmla="*/ 170 h 282"/>
                  <a:gd name="T36" fmla="*/ 39 w 467"/>
                  <a:gd name="T37" fmla="*/ 167 h 282"/>
                  <a:gd name="T38" fmla="*/ 10 w 467"/>
                  <a:gd name="T39" fmla="*/ 142 h 282"/>
                  <a:gd name="T40" fmla="*/ 0 w 467"/>
                  <a:gd name="T41" fmla="*/ 128 h 282"/>
                  <a:gd name="T42" fmla="*/ 4 w 467"/>
                  <a:gd name="T43" fmla="*/ 119 h 282"/>
                  <a:gd name="T44" fmla="*/ 12 w 467"/>
                  <a:gd name="T45" fmla="*/ 117 h 282"/>
                  <a:gd name="T46" fmla="*/ 21 w 467"/>
                  <a:gd name="T47" fmla="*/ 115 h 282"/>
                  <a:gd name="T48" fmla="*/ 29 w 467"/>
                  <a:gd name="T49" fmla="*/ 103 h 282"/>
                  <a:gd name="T50" fmla="*/ 37 w 467"/>
                  <a:gd name="T51" fmla="*/ 92 h 282"/>
                  <a:gd name="T52" fmla="*/ 43 w 467"/>
                  <a:gd name="T53" fmla="*/ 80 h 282"/>
                  <a:gd name="T54" fmla="*/ 48 w 467"/>
                  <a:gd name="T55" fmla="*/ 74 h 282"/>
                  <a:gd name="T56" fmla="*/ 58 w 467"/>
                  <a:gd name="T57" fmla="*/ 74 h 282"/>
                  <a:gd name="T58" fmla="*/ 71 w 467"/>
                  <a:gd name="T59" fmla="*/ 76 h 282"/>
                  <a:gd name="T60" fmla="*/ 91 w 467"/>
                  <a:gd name="T61" fmla="*/ 71 h 282"/>
                  <a:gd name="T62" fmla="*/ 108 w 467"/>
                  <a:gd name="T63" fmla="*/ 48 h 282"/>
                  <a:gd name="T64" fmla="*/ 115 w 467"/>
                  <a:gd name="T65" fmla="*/ 28 h 282"/>
                  <a:gd name="T66" fmla="*/ 121 w 467"/>
                  <a:gd name="T67" fmla="*/ 7 h 282"/>
                  <a:gd name="T68" fmla="*/ 148 w 467"/>
                  <a:gd name="T69" fmla="*/ 1 h 282"/>
                  <a:gd name="T70" fmla="*/ 181 w 467"/>
                  <a:gd name="T71" fmla="*/ 7 h 282"/>
                  <a:gd name="T72" fmla="*/ 211 w 467"/>
                  <a:gd name="T73" fmla="*/ 19 h 282"/>
                  <a:gd name="T74" fmla="*/ 238 w 467"/>
                  <a:gd name="T75" fmla="*/ 28 h 282"/>
                  <a:gd name="T76" fmla="*/ 258 w 467"/>
                  <a:gd name="T77" fmla="*/ 36 h 282"/>
                  <a:gd name="T78" fmla="*/ 279 w 467"/>
                  <a:gd name="T79" fmla="*/ 38 h 282"/>
                  <a:gd name="T80" fmla="*/ 306 w 467"/>
                  <a:gd name="T81" fmla="*/ 40 h 282"/>
                  <a:gd name="T82" fmla="*/ 329 w 467"/>
                  <a:gd name="T83" fmla="*/ 46 h 282"/>
                  <a:gd name="T84" fmla="*/ 348 w 467"/>
                  <a:gd name="T85" fmla="*/ 55 h 282"/>
                  <a:gd name="T86" fmla="*/ 379 w 467"/>
                  <a:gd name="T87" fmla="*/ 86 h 282"/>
                  <a:gd name="T88" fmla="*/ 400 w 467"/>
                  <a:gd name="T89" fmla="*/ 113 h 282"/>
                  <a:gd name="T90" fmla="*/ 415 w 467"/>
                  <a:gd name="T91" fmla="*/ 128 h 282"/>
                  <a:gd name="T92" fmla="*/ 428 w 467"/>
                  <a:gd name="T93" fmla="*/ 13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7" h="282">
                    <a:moveTo>
                      <a:pt x="428" y="134"/>
                    </a:moveTo>
                    <a:lnTo>
                      <a:pt x="428" y="153"/>
                    </a:lnTo>
                    <a:lnTo>
                      <a:pt x="436" y="180"/>
                    </a:lnTo>
                    <a:lnTo>
                      <a:pt x="442" y="195"/>
                    </a:lnTo>
                    <a:lnTo>
                      <a:pt x="459" y="243"/>
                    </a:lnTo>
                    <a:lnTo>
                      <a:pt x="467" y="267"/>
                    </a:lnTo>
                    <a:lnTo>
                      <a:pt x="434" y="265"/>
                    </a:lnTo>
                    <a:lnTo>
                      <a:pt x="415" y="265"/>
                    </a:lnTo>
                    <a:lnTo>
                      <a:pt x="394" y="265"/>
                    </a:lnTo>
                    <a:lnTo>
                      <a:pt x="371" y="261"/>
                    </a:lnTo>
                    <a:lnTo>
                      <a:pt x="363" y="259"/>
                    </a:lnTo>
                    <a:lnTo>
                      <a:pt x="342" y="259"/>
                    </a:lnTo>
                    <a:lnTo>
                      <a:pt x="319" y="257"/>
                    </a:lnTo>
                    <a:lnTo>
                      <a:pt x="315" y="257"/>
                    </a:lnTo>
                    <a:lnTo>
                      <a:pt x="294" y="261"/>
                    </a:lnTo>
                    <a:lnTo>
                      <a:pt x="288" y="257"/>
                    </a:lnTo>
                    <a:lnTo>
                      <a:pt x="277" y="249"/>
                    </a:lnTo>
                    <a:lnTo>
                      <a:pt x="267" y="245"/>
                    </a:lnTo>
                    <a:lnTo>
                      <a:pt x="259" y="247"/>
                    </a:lnTo>
                    <a:lnTo>
                      <a:pt x="248" y="253"/>
                    </a:lnTo>
                    <a:lnTo>
                      <a:pt x="236" y="263"/>
                    </a:lnTo>
                    <a:lnTo>
                      <a:pt x="229" y="265"/>
                    </a:lnTo>
                    <a:lnTo>
                      <a:pt x="223" y="270"/>
                    </a:lnTo>
                    <a:lnTo>
                      <a:pt x="206" y="282"/>
                    </a:lnTo>
                    <a:lnTo>
                      <a:pt x="200" y="272"/>
                    </a:lnTo>
                    <a:lnTo>
                      <a:pt x="208" y="265"/>
                    </a:lnTo>
                    <a:lnTo>
                      <a:pt x="211" y="261"/>
                    </a:lnTo>
                    <a:lnTo>
                      <a:pt x="211" y="240"/>
                    </a:lnTo>
                    <a:lnTo>
                      <a:pt x="206" y="230"/>
                    </a:lnTo>
                    <a:lnTo>
                      <a:pt x="200" y="219"/>
                    </a:lnTo>
                    <a:lnTo>
                      <a:pt x="177" y="199"/>
                    </a:lnTo>
                    <a:lnTo>
                      <a:pt x="162" y="194"/>
                    </a:lnTo>
                    <a:lnTo>
                      <a:pt x="162" y="184"/>
                    </a:lnTo>
                    <a:lnTo>
                      <a:pt x="135" y="157"/>
                    </a:lnTo>
                    <a:lnTo>
                      <a:pt x="108" y="147"/>
                    </a:lnTo>
                    <a:lnTo>
                      <a:pt x="73" y="170"/>
                    </a:lnTo>
                    <a:lnTo>
                      <a:pt x="48" y="172"/>
                    </a:lnTo>
                    <a:lnTo>
                      <a:pt x="39" y="167"/>
                    </a:lnTo>
                    <a:lnTo>
                      <a:pt x="18" y="149"/>
                    </a:lnTo>
                    <a:lnTo>
                      <a:pt x="10" y="142"/>
                    </a:lnTo>
                    <a:lnTo>
                      <a:pt x="2" y="132"/>
                    </a:lnTo>
                    <a:lnTo>
                      <a:pt x="0" y="128"/>
                    </a:lnTo>
                    <a:lnTo>
                      <a:pt x="2" y="122"/>
                    </a:lnTo>
                    <a:lnTo>
                      <a:pt x="4" y="119"/>
                    </a:lnTo>
                    <a:lnTo>
                      <a:pt x="8" y="117"/>
                    </a:lnTo>
                    <a:lnTo>
                      <a:pt x="12" y="117"/>
                    </a:lnTo>
                    <a:lnTo>
                      <a:pt x="16" y="115"/>
                    </a:lnTo>
                    <a:lnTo>
                      <a:pt x="21" y="115"/>
                    </a:lnTo>
                    <a:lnTo>
                      <a:pt x="25" y="111"/>
                    </a:lnTo>
                    <a:lnTo>
                      <a:pt x="29" y="103"/>
                    </a:lnTo>
                    <a:lnTo>
                      <a:pt x="31" y="97"/>
                    </a:lnTo>
                    <a:lnTo>
                      <a:pt x="37" y="92"/>
                    </a:lnTo>
                    <a:lnTo>
                      <a:pt x="41" y="86"/>
                    </a:lnTo>
                    <a:lnTo>
                      <a:pt x="43" y="80"/>
                    </a:lnTo>
                    <a:lnTo>
                      <a:pt x="44" y="78"/>
                    </a:lnTo>
                    <a:lnTo>
                      <a:pt x="48" y="74"/>
                    </a:lnTo>
                    <a:lnTo>
                      <a:pt x="50" y="74"/>
                    </a:lnTo>
                    <a:lnTo>
                      <a:pt x="58" y="74"/>
                    </a:lnTo>
                    <a:lnTo>
                      <a:pt x="64" y="74"/>
                    </a:lnTo>
                    <a:lnTo>
                      <a:pt x="71" y="76"/>
                    </a:lnTo>
                    <a:lnTo>
                      <a:pt x="77" y="76"/>
                    </a:lnTo>
                    <a:lnTo>
                      <a:pt x="91" y="71"/>
                    </a:lnTo>
                    <a:lnTo>
                      <a:pt x="100" y="61"/>
                    </a:lnTo>
                    <a:lnTo>
                      <a:pt x="108" y="48"/>
                    </a:lnTo>
                    <a:lnTo>
                      <a:pt x="114" y="36"/>
                    </a:lnTo>
                    <a:lnTo>
                      <a:pt x="115" y="28"/>
                    </a:lnTo>
                    <a:lnTo>
                      <a:pt x="115" y="21"/>
                    </a:lnTo>
                    <a:lnTo>
                      <a:pt x="121" y="7"/>
                    </a:lnTo>
                    <a:lnTo>
                      <a:pt x="121" y="0"/>
                    </a:lnTo>
                    <a:lnTo>
                      <a:pt x="148" y="1"/>
                    </a:lnTo>
                    <a:lnTo>
                      <a:pt x="165" y="3"/>
                    </a:lnTo>
                    <a:lnTo>
                      <a:pt x="181" y="7"/>
                    </a:lnTo>
                    <a:lnTo>
                      <a:pt x="200" y="15"/>
                    </a:lnTo>
                    <a:lnTo>
                      <a:pt x="211" y="19"/>
                    </a:lnTo>
                    <a:lnTo>
                      <a:pt x="213" y="19"/>
                    </a:lnTo>
                    <a:lnTo>
                      <a:pt x="238" y="28"/>
                    </a:lnTo>
                    <a:lnTo>
                      <a:pt x="244" y="30"/>
                    </a:lnTo>
                    <a:lnTo>
                      <a:pt x="258" y="36"/>
                    </a:lnTo>
                    <a:lnTo>
                      <a:pt x="271" y="38"/>
                    </a:lnTo>
                    <a:lnTo>
                      <a:pt x="279" y="38"/>
                    </a:lnTo>
                    <a:lnTo>
                      <a:pt x="292" y="40"/>
                    </a:lnTo>
                    <a:lnTo>
                      <a:pt x="306" y="40"/>
                    </a:lnTo>
                    <a:lnTo>
                      <a:pt x="311" y="42"/>
                    </a:lnTo>
                    <a:lnTo>
                      <a:pt x="329" y="46"/>
                    </a:lnTo>
                    <a:lnTo>
                      <a:pt x="340" y="53"/>
                    </a:lnTo>
                    <a:lnTo>
                      <a:pt x="348" y="55"/>
                    </a:lnTo>
                    <a:lnTo>
                      <a:pt x="369" y="73"/>
                    </a:lnTo>
                    <a:lnTo>
                      <a:pt x="379" y="86"/>
                    </a:lnTo>
                    <a:lnTo>
                      <a:pt x="390" y="101"/>
                    </a:lnTo>
                    <a:lnTo>
                      <a:pt x="400" y="113"/>
                    </a:lnTo>
                    <a:lnTo>
                      <a:pt x="403" y="119"/>
                    </a:lnTo>
                    <a:lnTo>
                      <a:pt x="415" y="128"/>
                    </a:lnTo>
                    <a:lnTo>
                      <a:pt x="423" y="132"/>
                    </a:lnTo>
                    <a:lnTo>
                      <a:pt x="428" y="13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53" name="Freeform 41">
                <a:extLst>
                  <a:ext uri="{FF2B5EF4-FFF2-40B4-BE49-F238E27FC236}">
                    <a16:creationId xmlns:a16="http://schemas.microsoft.com/office/drawing/2014/main" id="{311DEEF5-55B0-46BD-99D7-9A727F5482F8}"/>
                  </a:ext>
                </a:extLst>
              </p:cNvPr>
              <p:cNvSpPr>
                <a:spLocks/>
              </p:cNvSpPr>
              <p:nvPr/>
            </p:nvSpPr>
            <p:spPr bwMode="gray">
              <a:xfrm>
                <a:off x="4183476" y="3501052"/>
                <a:ext cx="590964" cy="376683"/>
              </a:xfrm>
              <a:custGeom>
                <a:avLst/>
                <a:gdLst>
                  <a:gd name="T0" fmla="*/ 524 w 524"/>
                  <a:gd name="T1" fmla="*/ 144 h 334"/>
                  <a:gd name="T2" fmla="*/ 443 w 524"/>
                  <a:gd name="T3" fmla="*/ 232 h 334"/>
                  <a:gd name="T4" fmla="*/ 422 w 524"/>
                  <a:gd name="T5" fmla="*/ 242 h 334"/>
                  <a:gd name="T6" fmla="*/ 405 w 524"/>
                  <a:gd name="T7" fmla="*/ 250 h 334"/>
                  <a:gd name="T8" fmla="*/ 370 w 524"/>
                  <a:gd name="T9" fmla="*/ 267 h 334"/>
                  <a:gd name="T10" fmla="*/ 344 w 524"/>
                  <a:gd name="T11" fmla="*/ 300 h 334"/>
                  <a:gd name="T12" fmla="*/ 330 w 524"/>
                  <a:gd name="T13" fmla="*/ 334 h 334"/>
                  <a:gd name="T14" fmla="*/ 278 w 524"/>
                  <a:gd name="T15" fmla="*/ 309 h 334"/>
                  <a:gd name="T16" fmla="*/ 232 w 524"/>
                  <a:gd name="T17" fmla="*/ 259 h 334"/>
                  <a:gd name="T18" fmla="*/ 142 w 524"/>
                  <a:gd name="T19" fmla="*/ 229 h 334"/>
                  <a:gd name="T20" fmla="*/ 127 w 524"/>
                  <a:gd name="T21" fmla="*/ 225 h 334"/>
                  <a:gd name="T22" fmla="*/ 82 w 524"/>
                  <a:gd name="T23" fmla="*/ 211 h 334"/>
                  <a:gd name="T24" fmla="*/ 29 w 524"/>
                  <a:gd name="T25" fmla="*/ 202 h 334"/>
                  <a:gd name="T26" fmla="*/ 0 w 524"/>
                  <a:gd name="T27" fmla="*/ 198 h 334"/>
                  <a:gd name="T28" fmla="*/ 4 w 524"/>
                  <a:gd name="T29" fmla="*/ 179 h 334"/>
                  <a:gd name="T30" fmla="*/ 6 w 524"/>
                  <a:gd name="T31" fmla="*/ 169 h 334"/>
                  <a:gd name="T32" fmla="*/ 6 w 524"/>
                  <a:gd name="T33" fmla="*/ 156 h 334"/>
                  <a:gd name="T34" fmla="*/ 8 w 524"/>
                  <a:gd name="T35" fmla="*/ 144 h 334"/>
                  <a:gd name="T36" fmla="*/ 19 w 524"/>
                  <a:gd name="T37" fmla="*/ 123 h 334"/>
                  <a:gd name="T38" fmla="*/ 42 w 524"/>
                  <a:gd name="T39" fmla="*/ 88 h 334"/>
                  <a:gd name="T40" fmla="*/ 56 w 524"/>
                  <a:gd name="T41" fmla="*/ 63 h 334"/>
                  <a:gd name="T42" fmla="*/ 63 w 524"/>
                  <a:gd name="T43" fmla="*/ 48 h 334"/>
                  <a:gd name="T44" fmla="*/ 73 w 524"/>
                  <a:gd name="T45" fmla="*/ 27 h 334"/>
                  <a:gd name="T46" fmla="*/ 82 w 524"/>
                  <a:gd name="T47" fmla="*/ 19 h 334"/>
                  <a:gd name="T48" fmla="*/ 155 w 524"/>
                  <a:gd name="T49" fmla="*/ 6 h 334"/>
                  <a:gd name="T50" fmla="*/ 192 w 524"/>
                  <a:gd name="T51" fmla="*/ 11 h 334"/>
                  <a:gd name="T52" fmla="*/ 213 w 524"/>
                  <a:gd name="T53" fmla="*/ 13 h 334"/>
                  <a:gd name="T54" fmla="*/ 244 w 524"/>
                  <a:gd name="T55" fmla="*/ 0 h 334"/>
                  <a:gd name="T56" fmla="*/ 255 w 524"/>
                  <a:gd name="T57" fmla="*/ 15 h 334"/>
                  <a:gd name="T58" fmla="*/ 257 w 524"/>
                  <a:gd name="T59" fmla="*/ 40 h 334"/>
                  <a:gd name="T60" fmla="*/ 255 w 524"/>
                  <a:gd name="T61" fmla="*/ 56 h 334"/>
                  <a:gd name="T62" fmla="*/ 253 w 524"/>
                  <a:gd name="T63" fmla="*/ 73 h 334"/>
                  <a:gd name="T64" fmla="*/ 259 w 524"/>
                  <a:gd name="T65" fmla="*/ 81 h 334"/>
                  <a:gd name="T66" fmla="*/ 269 w 524"/>
                  <a:gd name="T67" fmla="*/ 98 h 334"/>
                  <a:gd name="T68" fmla="*/ 288 w 524"/>
                  <a:gd name="T69" fmla="*/ 140 h 334"/>
                  <a:gd name="T70" fmla="*/ 303 w 524"/>
                  <a:gd name="T71" fmla="*/ 132 h 334"/>
                  <a:gd name="T72" fmla="*/ 317 w 524"/>
                  <a:gd name="T73" fmla="*/ 131 h 334"/>
                  <a:gd name="T74" fmla="*/ 449 w 524"/>
                  <a:gd name="T75" fmla="*/ 134 h 334"/>
                  <a:gd name="T76" fmla="*/ 476 w 524"/>
                  <a:gd name="T77" fmla="*/ 132 h 334"/>
                  <a:gd name="T78" fmla="*/ 524 w 524"/>
                  <a:gd name="T79" fmla="*/ 11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24" h="334">
                    <a:moveTo>
                      <a:pt x="524" y="119"/>
                    </a:moveTo>
                    <a:lnTo>
                      <a:pt x="524" y="144"/>
                    </a:lnTo>
                    <a:lnTo>
                      <a:pt x="514" y="159"/>
                    </a:lnTo>
                    <a:lnTo>
                      <a:pt x="443" y="232"/>
                    </a:lnTo>
                    <a:lnTo>
                      <a:pt x="430" y="238"/>
                    </a:lnTo>
                    <a:lnTo>
                      <a:pt x="422" y="242"/>
                    </a:lnTo>
                    <a:lnTo>
                      <a:pt x="418" y="244"/>
                    </a:lnTo>
                    <a:lnTo>
                      <a:pt x="405" y="250"/>
                    </a:lnTo>
                    <a:lnTo>
                      <a:pt x="395" y="255"/>
                    </a:lnTo>
                    <a:lnTo>
                      <a:pt x="370" y="267"/>
                    </a:lnTo>
                    <a:lnTo>
                      <a:pt x="353" y="282"/>
                    </a:lnTo>
                    <a:lnTo>
                      <a:pt x="344" y="300"/>
                    </a:lnTo>
                    <a:lnTo>
                      <a:pt x="336" y="315"/>
                    </a:lnTo>
                    <a:lnTo>
                      <a:pt x="330" y="334"/>
                    </a:lnTo>
                    <a:lnTo>
                      <a:pt x="311" y="325"/>
                    </a:lnTo>
                    <a:lnTo>
                      <a:pt x="278" y="309"/>
                    </a:lnTo>
                    <a:lnTo>
                      <a:pt x="263" y="294"/>
                    </a:lnTo>
                    <a:lnTo>
                      <a:pt x="232" y="259"/>
                    </a:lnTo>
                    <a:lnTo>
                      <a:pt x="194" y="248"/>
                    </a:lnTo>
                    <a:lnTo>
                      <a:pt x="142" y="229"/>
                    </a:lnTo>
                    <a:lnTo>
                      <a:pt x="129" y="225"/>
                    </a:lnTo>
                    <a:lnTo>
                      <a:pt x="127" y="225"/>
                    </a:lnTo>
                    <a:lnTo>
                      <a:pt x="96" y="215"/>
                    </a:lnTo>
                    <a:lnTo>
                      <a:pt x="82" y="211"/>
                    </a:lnTo>
                    <a:lnTo>
                      <a:pt x="57" y="205"/>
                    </a:lnTo>
                    <a:lnTo>
                      <a:pt x="29" y="202"/>
                    </a:lnTo>
                    <a:lnTo>
                      <a:pt x="6" y="198"/>
                    </a:lnTo>
                    <a:lnTo>
                      <a:pt x="0" y="198"/>
                    </a:lnTo>
                    <a:lnTo>
                      <a:pt x="4" y="184"/>
                    </a:lnTo>
                    <a:lnTo>
                      <a:pt x="4" y="179"/>
                    </a:lnTo>
                    <a:lnTo>
                      <a:pt x="6" y="173"/>
                    </a:lnTo>
                    <a:lnTo>
                      <a:pt x="6" y="169"/>
                    </a:lnTo>
                    <a:lnTo>
                      <a:pt x="4" y="159"/>
                    </a:lnTo>
                    <a:lnTo>
                      <a:pt x="6" y="156"/>
                    </a:lnTo>
                    <a:lnTo>
                      <a:pt x="6" y="152"/>
                    </a:lnTo>
                    <a:lnTo>
                      <a:pt x="8" y="144"/>
                    </a:lnTo>
                    <a:lnTo>
                      <a:pt x="9" y="136"/>
                    </a:lnTo>
                    <a:lnTo>
                      <a:pt x="19" y="123"/>
                    </a:lnTo>
                    <a:lnTo>
                      <a:pt x="34" y="100"/>
                    </a:lnTo>
                    <a:lnTo>
                      <a:pt x="42" y="88"/>
                    </a:lnTo>
                    <a:lnTo>
                      <a:pt x="52" y="75"/>
                    </a:lnTo>
                    <a:lnTo>
                      <a:pt x="56" y="63"/>
                    </a:lnTo>
                    <a:lnTo>
                      <a:pt x="61" y="48"/>
                    </a:lnTo>
                    <a:lnTo>
                      <a:pt x="63" y="48"/>
                    </a:lnTo>
                    <a:lnTo>
                      <a:pt x="69" y="34"/>
                    </a:lnTo>
                    <a:lnTo>
                      <a:pt x="73" y="27"/>
                    </a:lnTo>
                    <a:lnTo>
                      <a:pt x="77" y="23"/>
                    </a:lnTo>
                    <a:lnTo>
                      <a:pt x="82" y="19"/>
                    </a:lnTo>
                    <a:lnTo>
                      <a:pt x="125" y="6"/>
                    </a:lnTo>
                    <a:lnTo>
                      <a:pt x="155" y="6"/>
                    </a:lnTo>
                    <a:lnTo>
                      <a:pt x="178" y="10"/>
                    </a:lnTo>
                    <a:lnTo>
                      <a:pt x="192" y="11"/>
                    </a:lnTo>
                    <a:lnTo>
                      <a:pt x="205" y="13"/>
                    </a:lnTo>
                    <a:lnTo>
                      <a:pt x="213" y="13"/>
                    </a:lnTo>
                    <a:lnTo>
                      <a:pt x="223" y="11"/>
                    </a:lnTo>
                    <a:lnTo>
                      <a:pt x="244" y="0"/>
                    </a:lnTo>
                    <a:lnTo>
                      <a:pt x="248" y="6"/>
                    </a:lnTo>
                    <a:lnTo>
                      <a:pt x="255" y="15"/>
                    </a:lnTo>
                    <a:lnTo>
                      <a:pt x="257" y="27"/>
                    </a:lnTo>
                    <a:lnTo>
                      <a:pt x="257" y="40"/>
                    </a:lnTo>
                    <a:lnTo>
                      <a:pt x="257" y="46"/>
                    </a:lnTo>
                    <a:lnTo>
                      <a:pt x="255" y="56"/>
                    </a:lnTo>
                    <a:lnTo>
                      <a:pt x="251" y="67"/>
                    </a:lnTo>
                    <a:lnTo>
                      <a:pt x="253" y="73"/>
                    </a:lnTo>
                    <a:lnTo>
                      <a:pt x="257" y="79"/>
                    </a:lnTo>
                    <a:lnTo>
                      <a:pt x="259" y="81"/>
                    </a:lnTo>
                    <a:lnTo>
                      <a:pt x="265" y="88"/>
                    </a:lnTo>
                    <a:lnTo>
                      <a:pt x="269" y="98"/>
                    </a:lnTo>
                    <a:lnTo>
                      <a:pt x="276" y="117"/>
                    </a:lnTo>
                    <a:lnTo>
                      <a:pt x="288" y="140"/>
                    </a:lnTo>
                    <a:lnTo>
                      <a:pt x="294" y="136"/>
                    </a:lnTo>
                    <a:lnTo>
                      <a:pt x="303" y="132"/>
                    </a:lnTo>
                    <a:lnTo>
                      <a:pt x="307" y="132"/>
                    </a:lnTo>
                    <a:lnTo>
                      <a:pt x="317" y="131"/>
                    </a:lnTo>
                    <a:lnTo>
                      <a:pt x="374" y="129"/>
                    </a:lnTo>
                    <a:lnTo>
                      <a:pt x="449" y="134"/>
                    </a:lnTo>
                    <a:lnTo>
                      <a:pt x="453" y="134"/>
                    </a:lnTo>
                    <a:lnTo>
                      <a:pt x="476" y="132"/>
                    </a:lnTo>
                    <a:lnTo>
                      <a:pt x="503" y="121"/>
                    </a:lnTo>
                    <a:lnTo>
                      <a:pt x="524" y="11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54" name="Freeform 42">
                <a:extLst>
                  <a:ext uri="{FF2B5EF4-FFF2-40B4-BE49-F238E27FC236}">
                    <a16:creationId xmlns:a16="http://schemas.microsoft.com/office/drawing/2014/main" id="{86018075-234F-48B8-AD13-58F84617CA56}"/>
                  </a:ext>
                </a:extLst>
              </p:cNvPr>
              <p:cNvSpPr>
                <a:spLocks/>
              </p:cNvSpPr>
              <p:nvPr/>
            </p:nvSpPr>
            <p:spPr bwMode="gray">
              <a:xfrm>
                <a:off x="4458658" y="3459323"/>
                <a:ext cx="642842" cy="210898"/>
              </a:xfrm>
              <a:custGeom>
                <a:avLst/>
                <a:gdLst>
                  <a:gd name="T0" fmla="*/ 282 w 570"/>
                  <a:gd name="T1" fmla="*/ 16 h 187"/>
                  <a:gd name="T2" fmla="*/ 315 w 570"/>
                  <a:gd name="T3" fmla="*/ 10 h 187"/>
                  <a:gd name="T4" fmla="*/ 355 w 570"/>
                  <a:gd name="T5" fmla="*/ 25 h 187"/>
                  <a:gd name="T6" fmla="*/ 366 w 570"/>
                  <a:gd name="T7" fmla="*/ 23 h 187"/>
                  <a:gd name="T8" fmla="*/ 380 w 570"/>
                  <a:gd name="T9" fmla="*/ 18 h 187"/>
                  <a:gd name="T10" fmla="*/ 403 w 570"/>
                  <a:gd name="T11" fmla="*/ 20 h 187"/>
                  <a:gd name="T12" fmla="*/ 424 w 570"/>
                  <a:gd name="T13" fmla="*/ 12 h 187"/>
                  <a:gd name="T14" fmla="*/ 441 w 570"/>
                  <a:gd name="T15" fmla="*/ 10 h 187"/>
                  <a:gd name="T16" fmla="*/ 470 w 570"/>
                  <a:gd name="T17" fmla="*/ 25 h 187"/>
                  <a:gd name="T18" fmla="*/ 489 w 570"/>
                  <a:gd name="T19" fmla="*/ 37 h 187"/>
                  <a:gd name="T20" fmla="*/ 528 w 570"/>
                  <a:gd name="T21" fmla="*/ 48 h 187"/>
                  <a:gd name="T22" fmla="*/ 562 w 570"/>
                  <a:gd name="T23" fmla="*/ 102 h 187"/>
                  <a:gd name="T24" fmla="*/ 570 w 570"/>
                  <a:gd name="T25" fmla="*/ 125 h 187"/>
                  <a:gd name="T26" fmla="*/ 476 w 570"/>
                  <a:gd name="T27" fmla="*/ 146 h 187"/>
                  <a:gd name="T28" fmla="*/ 447 w 570"/>
                  <a:gd name="T29" fmla="*/ 154 h 187"/>
                  <a:gd name="T30" fmla="*/ 409 w 570"/>
                  <a:gd name="T31" fmla="*/ 169 h 187"/>
                  <a:gd name="T32" fmla="*/ 365 w 570"/>
                  <a:gd name="T33" fmla="*/ 183 h 187"/>
                  <a:gd name="T34" fmla="*/ 343 w 570"/>
                  <a:gd name="T35" fmla="*/ 183 h 187"/>
                  <a:gd name="T36" fmla="*/ 330 w 570"/>
                  <a:gd name="T37" fmla="*/ 177 h 187"/>
                  <a:gd name="T38" fmla="*/ 295 w 570"/>
                  <a:gd name="T39" fmla="*/ 162 h 187"/>
                  <a:gd name="T40" fmla="*/ 280 w 570"/>
                  <a:gd name="T41" fmla="*/ 156 h 187"/>
                  <a:gd name="T42" fmla="*/ 232 w 570"/>
                  <a:gd name="T43" fmla="*/ 169 h 187"/>
                  <a:gd name="T44" fmla="*/ 205 w 570"/>
                  <a:gd name="T45" fmla="*/ 171 h 187"/>
                  <a:gd name="T46" fmla="*/ 73 w 570"/>
                  <a:gd name="T47" fmla="*/ 168 h 187"/>
                  <a:gd name="T48" fmla="*/ 59 w 570"/>
                  <a:gd name="T49" fmla="*/ 169 h 187"/>
                  <a:gd name="T50" fmla="*/ 44 w 570"/>
                  <a:gd name="T51" fmla="*/ 177 h 187"/>
                  <a:gd name="T52" fmla="*/ 25 w 570"/>
                  <a:gd name="T53" fmla="*/ 135 h 187"/>
                  <a:gd name="T54" fmla="*/ 15 w 570"/>
                  <a:gd name="T55" fmla="*/ 118 h 187"/>
                  <a:gd name="T56" fmla="*/ 9 w 570"/>
                  <a:gd name="T57" fmla="*/ 110 h 187"/>
                  <a:gd name="T58" fmla="*/ 11 w 570"/>
                  <a:gd name="T59" fmla="*/ 93 h 187"/>
                  <a:gd name="T60" fmla="*/ 13 w 570"/>
                  <a:gd name="T61" fmla="*/ 77 h 187"/>
                  <a:gd name="T62" fmla="*/ 11 w 570"/>
                  <a:gd name="T63" fmla="*/ 52 h 187"/>
                  <a:gd name="T64" fmla="*/ 0 w 570"/>
                  <a:gd name="T65" fmla="*/ 37 h 187"/>
                  <a:gd name="T66" fmla="*/ 23 w 570"/>
                  <a:gd name="T67" fmla="*/ 20 h 187"/>
                  <a:gd name="T68" fmla="*/ 42 w 570"/>
                  <a:gd name="T69" fmla="*/ 8 h 187"/>
                  <a:gd name="T70" fmla="*/ 61 w 570"/>
                  <a:gd name="T71" fmla="*/ 0 h 187"/>
                  <a:gd name="T72" fmla="*/ 82 w 570"/>
                  <a:gd name="T73" fmla="*/ 12 h 187"/>
                  <a:gd name="T74" fmla="*/ 109 w 570"/>
                  <a:gd name="T75" fmla="*/ 12 h 187"/>
                  <a:gd name="T76" fmla="*/ 136 w 570"/>
                  <a:gd name="T77" fmla="*/ 14 h 187"/>
                  <a:gd name="T78" fmla="*/ 165 w 570"/>
                  <a:gd name="T79" fmla="*/ 16 h 187"/>
                  <a:gd name="T80" fmla="*/ 209 w 570"/>
                  <a:gd name="T81" fmla="*/ 20 h 187"/>
                  <a:gd name="T82" fmla="*/ 261 w 570"/>
                  <a:gd name="T83" fmla="*/ 2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0" h="187">
                    <a:moveTo>
                      <a:pt x="261" y="22"/>
                    </a:moveTo>
                    <a:lnTo>
                      <a:pt x="282" y="16"/>
                    </a:lnTo>
                    <a:lnTo>
                      <a:pt x="307" y="8"/>
                    </a:lnTo>
                    <a:lnTo>
                      <a:pt x="315" y="10"/>
                    </a:lnTo>
                    <a:lnTo>
                      <a:pt x="341" y="20"/>
                    </a:lnTo>
                    <a:lnTo>
                      <a:pt x="355" y="25"/>
                    </a:lnTo>
                    <a:lnTo>
                      <a:pt x="361" y="25"/>
                    </a:lnTo>
                    <a:lnTo>
                      <a:pt x="366" y="23"/>
                    </a:lnTo>
                    <a:lnTo>
                      <a:pt x="372" y="20"/>
                    </a:lnTo>
                    <a:lnTo>
                      <a:pt x="380" y="18"/>
                    </a:lnTo>
                    <a:lnTo>
                      <a:pt x="393" y="18"/>
                    </a:lnTo>
                    <a:lnTo>
                      <a:pt x="403" y="20"/>
                    </a:lnTo>
                    <a:lnTo>
                      <a:pt x="413" y="18"/>
                    </a:lnTo>
                    <a:lnTo>
                      <a:pt x="424" y="12"/>
                    </a:lnTo>
                    <a:lnTo>
                      <a:pt x="432" y="10"/>
                    </a:lnTo>
                    <a:lnTo>
                      <a:pt x="441" y="10"/>
                    </a:lnTo>
                    <a:lnTo>
                      <a:pt x="449" y="14"/>
                    </a:lnTo>
                    <a:lnTo>
                      <a:pt x="470" y="25"/>
                    </a:lnTo>
                    <a:lnTo>
                      <a:pt x="487" y="35"/>
                    </a:lnTo>
                    <a:lnTo>
                      <a:pt x="489" y="37"/>
                    </a:lnTo>
                    <a:lnTo>
                      <a:pt x="505" y="45"/>
                    </a:lnTo>
                    <a:lnTo>
                      <a:pt x="528" y="48"/>
                    </a:lnTo>
                    <a:lnTo>
                      <a:pt x="549" y="73"/>
                    </a:lnTo>
                    <a:lnTo>
                      <a:pt x="562" y="102"/>
                    </a:lnTo>
                    <a:lnTo>
                      <a:pt x="566" y="112"/>
                    </a:lnTo>
                    <a:lnTo>
                      <a:pt x="570" y="125"/>
                    </a:lnTo>
                    <a:lnTo>
                      <a:pt x="568" y="125"/>
                    </a:lnTo>
                    <a:lnTo>
                      <a:pt x="476" y="146"/>
                    </a:lnTo>
                    <a:lnTo>
                      <a:pt x="461" y="150"/>
                    </a:lnTo>
                    <a:lnTo>
                      <a:pt x="447" y="154"/>
                    </a:lnTo>
                    <a:lnTo>
                      <a:pt x="434" y="158"/>
                    </a:lnTo>
                    <a:lnTo>
                      <a:pt x="409" y="169"/>
                    </a:lnTo>
                    <a:lnTo>
                      <a:pt x="384" y="177"/>
                    </a:lnTo>
                    <a:lnTo>
                      <a:pt x="365" y="183"/>
                    </a:lnTo>
                    <a:lnTo>
                      <a:pt x="351" y="187"/>
                    </a:lnTo>
                    <a:lnTo>
                      <a:pt x="343" y="183"/>
                    </a:lnTo>
                    <a:lnTo>
                      <a:pt x="338" y="181"/>
                    </a:lnTo>
                    <a:lnTo>
                      <a:pt x="330" y="177"/>
                    </a:lnTo>
                    <a:lnTo>
                      <a:pt x="313" y="169"/>
                    </a:lnTo>
                    <a:lnTo>
                      <a:pt x="295" y="162"/>
                    </a:lnTo>
                    <a:lnTo>
                      <a:pt x="290" y="160"/>
                    </a:lnTo>
                    <a:lnTo>
                      <a:pt x="280" y="156"/>
                    </a:lnTo>
                    <a:lnTo>
                      <a:pt x="259" y="158"/>
                    </a:lnTo>
                    <a:lnTo>
                      <a:pt x="232" y="169"/>
                    </a:lnTo>
                    <a:lnTo>
                      <a:pt x="209" y="171"/>
                    </a:lnTo>
                    <a:lnTo>
                      <a:pt x="205" y="171"/>
                    </a:lnTo>
                    <a:lnTo>
                      <a:pt x="130" y="166"/>
                    </a:lnTo>
                    <a:lnTo>
                      <a:pt x="73" y="168"/>
                    </a:lnTo>
                    <a:lnTo>
                      <a:pt x="63" y="169"/>
                    </a:lnTo>
                    <a:lnTo>
                      <a:pt x="59" y="169"/>
                    </a:lnTo>
                    <a:lnTo>
                      <a:pt x="50" y="173"/>
                    </a:lnTo>
                    <a:lnTo>
                      <a:pt x="44" y="177"/>
                    </a:lnTo>
                    <a:lnTo>
                      <a:pt x="32" y="154"/>
                    </a:lnTo>
                    <a:lnTo>
                      <a:pt x="25" y="135"/>
                    </a:lnTo>
                    <a:lnTo>
                      <a:pt x="21" y="125"/>
                    </a:lnTo>
                    <a:lnTo>
                      <a:pt x="15" y="118"/>
                    </a:lnTo>
                    <a:lnTo>
                      <a:pt x="13" y="116"/>
                    </a:lnTo>
                    <a:lnTo>
                      <a:pt x="9" y="110"/>
                    </a:lnTo>
                    <a:lnTo>
                      <a:pt x="7" y="104"/>
                    </a:lnTo>
                    <a:lnTo>
                      <a:pt x="11" y="93"/>
                    </a:lnTo>
                    <a:lnTo>
                      <a:pt x="13" y="83"/>
                    </a:lnTo>
                    <a:lnTo>
                      <a:pt x="13" y="77"/>
                    </a:lnTo>
                    <a:lnTo>
                      <a:pt x="13" y="64"/>
                    </a:lnTo>
                    <a:lnTo>
                      <a:pt x="11" y="52"/>
                    </a:lnTo>
                    <a:lnTo>
                      <a:pt x="4" y="43"/>
                    </a:lnTo>
                    <a:lnTo>
                      <a:pt x="0" y="37"/>
                    </a:lnTo>
                    <a:lnTo>
                      <a:pt x="17" y="25"/>
                    </a:lnTo>
                    <a:lnTo>
                      <a:pt x="23" y="20"/>
                    </a:lnTo>
                    <a:lnTo>
                      <a:pt x="30" y="18"/>
                    </a:lnTo>
                    <a:lnTo>
                      <a:pt x="42" y="8"/>
                    </a:lnTo>
                    <a:lnTo>
                      <a:pt x="53" y="2"/>
                    </a:lnTo>
                    <a:lnTo>
                      <a:pt x="61" y="0"/>
                    </a:lnTo>
                    <a:lnTo>
                      <a:pt x="71" y="4"/>
                    </a:lnTo>
                    <a:lnTo>
                      <a:pt x="82" y="12"/>
                    </a:lnTo>
                    <a:lnTo>
                      <a:pt x="88" y="16"/>
                    </a:lnTo>
                    <a:lnTo>
                      <a:pt x="109" y="12"/>
                    </a:lnTo>
                    <a:lnTo>
                      <a:pt x="113" y="12"/>
                    </a:lnTo>
                    <a:lnTo>
                      <a:pt x="136" y="14"/>
                    </a:lnTo>
                    <a:lnTo>
                      <a:pt x="157" y="14"/>
                    </a:lnTo>
                    <a:lnTo>
                      <a:pt x="165" y="16"/>
                    </a:lnTo>
                    <a:lnTo>
                      <a:pt x="188" y="20"/>
                    </a:lnTo>
                    <a:lnTo>
                      <a:pt x="209" y="20"/>
                    </a:lnTo>
                    <a:lnTo>
                      <a:pt x="228" y="20"/>
                    </a:lnTo>
                    <a:lnTo>
                      <a:pt x="261" y="2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55" name="Freeform 43">
                <a:extLst>
                  <a:ext uri="{FF2B5EF4-FFF2-40B4-BE49-F238E27FC236}">
                    <a16:creationId xmlns:a16="http://schemas.microsoft.com/office/drawing/2014/main" id="{68A457B0-4654-4567-B1F5-0625C00FEA2B}"/>
                  </a:ext>
                </a:extLst>
              </p:cNvPr>
              <p:cNvSpPr>
                <a:spLocks/>
              </p:cNvSpPr>
              <p:nvPr/>
            </p:nvSpPr>
            <p:spPr bwMode="gray">
              <a:xfrm>
                <a:off x="4854513" y="3546164"/>
                <a:ext cx="459012" cy="403750"/>
              </a:xfrm>
              <a:custGeom>
                <a:avLst/>
                <a:gdLst>
                  <a:gd name="T0" fmla="*/ 159 w 407"/>
                  <a:gd name="T1" fmla="*/ 358 h 358"/>
                  <a:gd name="T2" fmla="*/ 150 w 407"/>
                  <a:gd name="T3" fmla="*/ 348 h 358"/>
                  <a:gd name="T4" fmla="*/ 133 w 407"/>
                  <a:gd name="T5" fmla="*/ 336 h 358"/>
                  <a:gd name="T6" fmla="*/ 110 w 407"/>
                  <a:gd name="T7" fmla="*/ 327 h 358"/>
                  <a:gd name="T8" fmla="*/ 92 w 407"/>
                  <a:gd name="T9" fmla="*/ 321 h 358"/>
                  <a:gd name="T10" fmla="*/ 73 w 407"/>
                  <a:gd name="T11" fmla="*/ 315 h 358"/>
                  <a:gd name="T12" fmla="*/ 67 w 407"/>
                  <a:gd name="T13" fmla="*/ 286 h 358"/>
                  <a:gd name="T14" fmla="*/ 65 w 407"/>
                  <a:gd name="T15" fmla="*/ 267 h 358"/>
                  <a:gd name="T16" fmla="*/ 65 w 407"/>
                  <a:gd name="T17" fmla="*/ 263 h 358"/>
                  <a:gd name="T18" fmla="*/ 65 w 407"/>
                  <a:gd name="T19" fmla="*/ 237 h 358"/>
                  <a:gd name="T20" fmla="*/ 67 w 407"/>
                  <a:gd name="T21" fmla="*/ 213 h 358"/>
                  <a:gd name="T22" fmla="*/ 67 w 407"/>
                  <a:gd name="T23" fmla="*/ 200 h 358"/>
                  <a:gd name="T24" fmla="*/ 67 w 407"/>
                  <a:gd name="T25" fmla="*/ 198 h 358"/>
                  <a:gd name="T26" fmla="*/ 65 w 407"/>
                  <a:gd name="T27" fmla="*/ 185 h 358"/>
                  <a:gd name="T28" fmla="*/ 23 w 407"/>
                  <a:gd name="T29" fmla="*/ 129 h 358"/>
                  <a:gd name="T30" fmla="*/ 0 w 407"/>
                  <a:gd name="T31" fmla="*/ 110 h 358"/>
                  <a:gd name="T32" fmla="*/ 14 w 407"/>
                  <a:gd name="T33" fmla="*/ 106 h 358"/>
                  <a:gd name="T34" fmla="*/ 33 w 407"/>
                  <a:gd name="T35" fmla="*/ 100 h 358"/>
                  <a:gd name="T36" fmla="*/ 58 w 407"/>
                  <a:gd name="T37" fmla="*/ 92 h 358"/>
                  <a:gd name="T38" fmla="*/ 83 w 407"/>
                  <a:gd name="T39" fmla="*/ 81 h 358"/>
                  <a:gd name="T40" fmla="*/ 96 w 407"/>
                  <a:gd name="T41" fmla="*/ 77 h 358"/>
                  <a:gd name="T42" fmla="*/ 110 w 407"/>
                  <a:gd name="T43" fmla="*/ 73 h 358"/>
                  <a:gd name="T44" fmla="*/ 125 w 407"/>
                  <a:gd name="T45" fmla="*/ 69 h 358"/>
                  <a:gd name="T46" fmla="*/ 217 w 407"/>
                  <a:gd name="T47" fmla="*/ 48 h 358"/>
                  <a:gd name="T48" fmla="*/ 219 w 407"/>
                  <a:gd name="T49" fmla="*/ 48 h 358"/>
                  <a:gd name="T50" fmla="*/ 232 w 407"/>
                  <a:gd name="T51" fmla="*/ 43 h 358"/>
                  <a:gd name="T52" fmla="*/ 265 w 407"/>
                  <a:gd name="T53" fmla="*/ 23 h 358"/>
                  <a:gd name="T54" fmla="*/ 292 w 407"/>
                  <a:gd name="T55" fmla="*/ 0 h 358"/>
                  <a:gd name="T56" fmla="*/ 302 w 407"/>
                  <a:gd name="T57" fmla="*/ 8 h 358"/>
                  <a:gd name="T58" fmla="*/ 386 w 407"/>
                  <a:gd name="T59" fmla="*/ 91 h 358"/>
                  <a:gd name="T60" fmla="*/ 392 w 407"/>
                  <a:gd name="T61" fmla="*/ 98 h 358"/>
                  <a:gd name="T62" fmla="*/ 394 w 407"/>
                  <a:gd name="T63" fmla="*/ 106 h 358"/>
                  <a:gd name="T64" fmla="*/ 396 w 407"/>
                  <a:gd name="T65" fmla="*/ 116 h 358"/>
                  <a:gd name="T66" fmla="*/ 396 w 407"/>
                  <a:gd name="T67" fmla="*/ 127 h 358"/>
                  <a:gd name="T68" fmla="*/ 394 w 407"/>
                  <a:gd name="T69" fmla="*/ 148 h 358"/>
                  <a:gd name="T70" fmla="*/ 386 w 407"/>
                  <a:gd name="T71" fmla="*/ 204 h 358"/>
                  <a:gd name="T72" fmla="*/ 388 w 407"/>
                  <a:gd name="T73" fmla="*/ 219 h 358"/>
                  <a:gd name="T74" fmla="*/ 390 w 407"/>
                  <a:gd name="T75" fmla="*/ 221 h 358"/>
                  <a:gd name="T76" fmla="*/ 407 w 407"/>
                  <a:gd name="T77" fmla="*/ 263 h 358"/>
                  <a:gd name="T78" fmla="*/ 367 w 407"/>
                  <a:gd name="T79" fmla="*/ 296 h 358"/>
                  <a:gd name="T80" fmla="*/ 357 w 407"/>
                  <a:gd name="T81" fmla="*/ 302 h 358"/>
                  <a:gd name="T82" fmla="*/ 353 w 407"/>
                  <a:gd name="T83" fmla="*/ 306 h 358"/>
                  <a:gd name="T84" fmla="*/ 351 w 407"/>
                  <a:gd name="T85" fmla="*/ 306 h 358"/>
                  <a:gd name="T86" fmla="*/ 348 w 407"/>
                  <a:gd name="T87" fmla="*/ 306 h 358"/>
                  <a:gd name="T88" fmla="*/ 342 w 407"/>
                  <a:gd name="T89" fmla="*/ 306 h 358"/>
                  <a:gd name="T90" fmla="*/ 326 w 407"/>
                  <a:gd name="T91" fmla="*/ 306 h 358"/>
                  <a:gd name="T92" fmla="*/ 273 w 407"/>
                  <a:gd name="T93" fmla="*/ 306 h 358"/>
                  <a:gd name="T94" fmla="*/ 225 w 407"/>
                  <a:gd name="T95" fmla="*/ 315 h 358"/>
                  <a:gd name="T96" fmla="*/ 229 w 407"/>
                  <a:gd name="T97" fmla="*/ 335 h 358"/>
                  <a:gd name="T98" fmla="*/ 225 w 407"/>
                  <a:gd name="T99" fmla="*/ 338 h 358"/>
                  <a:gd name="T100" fmla="*/ 217 w 407"/>
                  <a:gd name="T101" fmla="*/ 340 h 358"/>
                  <a:gd name="T102" fmla="*/ 177 w 407"/>
                  <a:gd name="T103" fmla="*/ 348 h 358"/>
                  <a:gd name="T104" fmla="*/ 167 w 407"/>
                  <a:gd name="T105" fmla="*/ 350 h 358"/>
                  <a:gd name="T106" fmla="*/ 161 w 407"/>
                  <a:gd name="T107" fmla="*/ 356 h 358"/>
                  <a:gd name="T108" fmla="*/ 159 w 407"/>
                  <a:gd name="T109" fmla="*/ 35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7" h="358">
                    <a:moveTo>
                      <a:pt x="159" y="358"/>
                    </a:moveTo>
                    <a:lnTo>
                      <a:pt x="150" y="348"/>
                    </a:lnTo>
                    <a:lnTo>
                      <a:pt x="133" y="336"/>
                    </a:lnTo>
                    <a:lnTo>
                      <a:pt x="110" y="327"/>
                    </a:lnTo>
                    <a:lnTo>
                      <a:pt x="92" y="321"/>
                    </a:lnTo>
                    <a:lnTo>
                      <a:pt x="73" y="315"/>
                    </a:lnTo>
                    <a:lnTo>
                      <a:pt x="67" y="286"/>
                    </a:lnTo>
                    <a:lnTo>
                      <a:pt x="65" y="267"/>
                    </a:lnTo>
                    <a:lnTo>
                      <a:pt x="65" y="263"/>
                    </a:lnTo>
                    <a:lnTo>
                      <a:pt x="65" y="237"/>
                    </a:lnTo>
                    <a:lnTo>
                      <a:pt x="67" y="213"/>
                    </a:lnTo>
                    <a:lnTo>
                      <a:pt x="67" y="200"/>
                    </a:lnTo>
                    <a:lnTo>
                      <a:pt x="67" y="198"/>
                    </a:lnTo>
                    <a:lnTo>
                      <a:pt x="65" y="185"/>
                    </a:lnTo>
                    <a:lnTo>
                      <a:pt x="23" y="129"/>
                    </a:lnTo>
                    <a:lnTo>
                      <a:pt x="0" y="110"/>
                    </a:lnTo>
                    <a:lnTo>
                      <a:pt x="14" y="106"/>
                    </a:lnTo>
                    <a:lnTo>
                      <a:pt x="33" y="100"/>
                    </a:lnTo>
                    <a:lnTo>
                      <a:pt x="58" y="92"/>
                    </a:lnTo>
                    <a:lnTo>
                      <a:pt x="83" y="81"/>
                    </a:lnTo>
                    <a:lnTo>
                      <a:pt x="96" y="77"/>
                    </a:lnTo>
                    <a:lnTo>
                      <a:pt x="110" y="73"/>
                    </a:lnTo>
                    <a:lnTo>
                      <a:pt x="125" y="69"/>
                    </a:lnTo>
                    <a:lnTo>
                      <a:pt x="217" y="48"/>
                    </a:lnTo>
                    <a:lnTo>
                      <a:pt x="219" y="48"/>
                    </a:lnTo>
                    <a:lnTo>
                      <a:pt x="232" y="43"/>
                    </a:lnTo>
                    <a:lnTo>
                      <a:pt x="265" y="23"/>
                    </a:lnTo>
                    <a:lnTo>
                      <a:pt x="292" y="0"/>
                    </a:lnTo>
                    <a:lnTo>
                      <a:pt x="302" y="8"/>
                    </a:lnTo>
                    <a:lnTo>
                      <a:pt x="386" y="91"/>
                    </a:lnTo>
                    <a:lnTo>
                      <a:pt x="392" y="98"/>
                    </a:lnTo>
                    <a:lnTo>
                      <a:pt x="394" y="106"/>
                    </a:lnTo>
                    <a:lnTo>
                      <a:pt x="396" y="116"/>
                    </a:lnTo>
                    <a:lnTo>
                      <a:pt x="396" y="127"/>
                    </a:lnTo>
                    <a:lnTo>
                      <a:pt x="394" y="148"/>
                    </a:lnTo>
                    <a:lnTo>
                      <a:pt x="386" y="204"/>
                    </a:lnTo>
                    <a:lnTo>
                      <a:pt x="388" y="219"/>
                    </a:lnTo>
                    <a:lnTo>
                      <a:pt x="390" y="221"/>
                    </a:lnTo>
                    <a:lnTo>
                      <a:pt x="407" y="263"/>
                    </a:lnTo>
                    <a:lnTo>
                      <a:pt x="367" y="296"/>
                    </a:lnTo>
                    <a:lnTo>
                      <a:pt x="357" y="302"/>
                    </a:lnTo>
                    <a:lnTo>
                      <a:pt x="353" y="306"/>
                    </a:lnTo>
                    <a:lnTo>
                      <a:pt x="351" y="306"/>
                    </a:lnTo>
                    <a:lnTo>
                      <a:pt x="348" y="306"/>
                    </a:lnTo>
                    <a:lnTo>
                      <a:pt x="342" y="306"/>
                    </a:lnTo>
                    <a:lnTo>
                      <a:pt x="326" y="306"/>
                    </a:lnTo>
                    <a:lnTo>
                      <a:pt x="273" y="306"/>
                    </a:lnTo>
                    <a:lnTo>
                      <a:pt x="225" y="315"/>
                    </a:lnTo>
                    <a:lnTo>
                      <a:pt x="229" y="335"/>
                    </a:lnTo>
                    <a:lnTo>
                      <a:pt x="225" y="338"/>
                    </a:lnTo>
                    <a:lnTo>
                      <a:pt x="217" y="340"/>
                    </a:lnTo>
                    <a:lnTo>
                      <a:pt x="177" y="348"/>
                    </a:lnTo>
                    <a:lnTo>
                      <a:pt x="167" y="350"/>
                    </a:lnTo>
                    <a:lnTo>
                      <a:pt x="161" y="356"/>
                    </a:lnTo>
                    <a:lnTo>
                      <a:pt x="159" y="358"/>
                    </a:lnTo>
                    <a:close/>
                  </a:path>
                </a:pathLst>
              </a:custGeom>
              <a:solidFill>
                <a:schemeClr val="accent6">
                  <a:lumMod val="40000"/>
                  <a:lumOff val="60000"/>
                </a:schemeClr>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56" name="Freeform 44">
                <a:extLst>
                  <a:ext uri="{FF2B5EF4-FFF2-40B4-BE49-F238E27FC236}">
                    <a16:creationId xmlns:a16="http://schemas.microsoft.com/office/drawing/2014/main" id="{DAADB38A-0523-40A5-9DB3-99FC41F908F8}"/>
                  </a:ext>
                </a:extLst>
              </p:cNvPr>
              <p:cNvSpPr>
                <a:spLocks/>
              </p:cNvSpPr>
              <p:nvPr/>
            </p:nvSpPr>
            <p:spPr bwMode="gray">
              <a:xfrm>
                <a:off x="5183829" y="3414212"/>
                <a:ext cx="823289" cy="567280"/>
              </a:xfrm>
              <a:custGeom>
                <a:avLst/>
                <a:gdLst>
                  <a:gd name="T0" fmla="*/ 722 w 730"/>
                  <a:gd name="T1" fmla="*/ 375 h 503"/>
                  <a:gd name="T2" fmla="*/ 701 w 730"/>
                  <a:gd name="T3" fmla="*/ 377 h 503"/>
                  <a:gd name="T4" fmla="*/ 632 w 730"/>
                  <a:gd name="T5" fmla="*/ 398 h 503"/>
                  <a:gd name="T6" fmla="*/ 609 w 730"/>
                  <a:gd name="T7" fmla="*/ 403 h 503"/>
                  <a:gd name="T8" fmla="*/ 587 w 730"/>
                  <a:gd name="T9" fmla="*/ 405 h 503"/>
                  <a:gd name="T10" fmla="*/ 561 w 730"/>
                  <a:gd name="T11" fmla="*/ 409 h 503"/>
                  <a:gd name="T12" fmla="*/ 422 w 730"/>
                  <a:gd name="T13" fmla="*/ 461 h 503"/>
                  <a:gd name="T14" fmla="*/ 392 w 730"/>
                  <a:gd name="T15" fmla="*/ 465 h 503"/>
                  <a:gd name="T16" fmla="*/ 334 w 730"/>
                  <a:gd name="T17" fmla="*/ 484 h 503"/>
                  <a:gd name="T18" fmla="*/ 315 w 730"/>
                  <a:gd name="T19" fmla="*/ 486 h 503"/>
                  <a:gd name="T20" fmla="*/ 290 w 730"/>
                  <a:gd name="T21" fmla="*/ 490 h 503"/>
                  <a:gd name="T22" fmla="*/ 255 w 730"/>
                  <a:gd name="T23" fmla="*/ 498 h 503"/>
                  <a:gd name="T24" fmla="*/ 251 w 730"/>
                  <a:gd name="T25" fmla="*/ 482 h 503"/>
                  <a:gd name="T26" fmla="*/ 240 w 730"/>
                  <a:gd name="T27" fmla="*/ 444 h 503"/>
                  <a:gd name="T28" fmla="*/ 200 w 730"/>
                  <a:gd name="T29" fmla="*/ 453 h 503"/>
                  <a:gd name="T30" fmla="*/ 144 w 730"/>
                  <a:gd name="T31" fmla="*/ 453 h 503"/>
                  <a:gd name="T32" fmla="*/ 136 w 730"/>
                  <a:gd name="T33" fmla="*/ 440 h 503"/>
                  <a:gd name="T34" fmla="*/ 129 w 730"/>
                  <a:gd name="T35" fmla="*/ 407 h 503"/>
                  <a:gd name="T36" fmla="*/ 98 w 730"/>
                  <a:gd name="T37" fmla="*/ 338 h 503"/>
                  <a:gd name="T38" fmla="*/ 94 w 730"/>
                  <a:gd name="T39" fmla="*/ 321 h 503"/>
                  <a:gd name="T40" fmla="*/ 104 w 730"/>
                  <a:gd name="T41" fmla="*/ 244 h 503"/>
                  <a:gd name="T42" fmla="*/ 102 w 730"/>
                  <a:gd name="T43" fmla="*/ 223 h 503"/>
                  <a:gd name="T44" fmla="*/ 94 w 730"/>
                  <a:gd name="T45" fmla="*/ 208 h 503"/>
                  <a:gd name="T46" fmla="*/ 0 w 730"/>
                  <a:gd name="T47" fmla="*/ 117 h 503"/>
                  <a:gd name="T48" fmla="*/ 10 w 730"/>
                  <a:gd name="T49" fmla="*/ 106 h 503"/>
                  <a:gd name="T50" fmla="*/ 23 w 730"/>
                  <a:gd name="T51" fmla="*/ 90 h 503"/>
                  <a:gd name="T52" fmla="*/ 67 w 730"/>
                  <a:gd name="T53" fmla="*/ 111 h 503"/>
                  <a:gd name="T54" fmla="*/ 92 w 730"/>
                  <a:gd name="T55" fmla="*/ 104 h 503"/>
                  <a:gd name="T56" fmla="*/ 125 w 730"/>
                  <a:gd name="T57" fmla="*/ 102 h 503"/>
                  <a:gd name="T58" fmla="*/ 144 w 730"/>
                  <a:gd name="T59" fmla="*/ 75 h 503"/>
                  <a:gd name="T60" fmla="*/ 159 w 730"/>
                  <a:gd name="T61" fmla="*/ 65 h 503"/>
                  <a:gd name="T62" fmla="*/ 182 w 730"/>
                  <a:gd name="T63" fmla="*/ 44 h 503"/>
                  <a:gd name="T64" fmla="*/ 219 w 730"/>
                  <a:gd name="T65" fmla="*/ 69 h 503"/>
                  <a:gd name="T66" fmla="*/ 236 w 730"/>
                  <a:gd name="T67" fmla="*/ 48 h 503"/>
                  <a:gd name="T68" fmla="*/ 244 w 730"/>
                  <a:gd name="T69" fmla="*/ 38 h 503"/>
                  <a:gd name="T70" fmla="*/ 261 w 730"/>
                  <a:gd name="T71" fmla="*/ 25 h 503"/>
                  <a:gd name="T72" fmla="*/ 305 w 730"/>
                  <a:gd name="T73" fmla="*/ 8 h 503"/>
                  <a:gd name="T74" fmla="*/ 317 w 730"/>
                  <a:gd name="T75" fmla="*/ 4 h 503"/>
                  <a:gd name="T76" fmla="*/ 372 w 730"/>
                  <a:gd name="T77" fmla="*/ 46 h 503"/>
                  <a:gd name="T78" fmla="*/ 422 w 730"/>
                  <a:gd name="T79" fmla="*/ 94 h 503"/>
                  <a:gd name="T80" fmla="*/ 465 w 730"/>
                  <a:gd name="T81" fmla="*/ 136 h 503"/>
                  <a:gd name="T82" fmla="*/ 480 w 730"/>
                  <a:gd name="T83" fmla="*/ 138 h 503"/>
                  <a:gd name="T84" fmla="*/ 507 w 730"/>
                  <a:gd name="T85" fmla="*/ 144 h 503"/>
                  <a:gd name="T86" fmla="*/ 572 w 730"/>
                  <a:gd name="T87" fmla="*/ 158 h 503"/>
                  <a:gd name="T88" fmla="*/ 576 w 730"/>
                  <a:gd name="T89" fmla="*/ 160 h 503"/>
                  <a:gd name="T90" fmla="*/ 603 w 730"/>
                  <a:gd name="T91" fmla="*/ 200 h 503"/>
                  <a:gd name="T92" fmla="*/ 685 w 730"/>
                  <a:gd name="T93" fmla="*/ 288 h 503"/>
                  <a:gd name="T94" fmla="*/ 708 w 730"/>
                  <a:gd name="T95" fmla="*/ 332 h 503"/>
                  <a:gd name="T96" fmla="*/ 718 w 730"/>
                  <a:gd name="T97" fmla="*/ 354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30" h="503">
                    <a:moveTo>
                      <a:pt x="730" y="373"/>
                    </a:moveTo>
                    <a:lnTo>
                      <a:pt x="722" y="375"/>
                    </a:lnTo>
                    <a:lnTo>
                      <a:pt x="720" y="367"/>
                    </a:lnTo>
                    <a:lnTo>
                      <a:pt x="701" y="377"/>
                    </a:lnTo>
                    <a:lnTo>
                      <a:pt x="641" y="402"/>
                    </a:lnTo>
                    <a:lnTo>
                      <a:pt x="632" y="398"/>
                    </a:lnTo>
                    <a:lnTo>
                      <a:pt x="614" y="405"/>
                    </a:lnTo>
                    <a:lnTo>
                      <a:pt x="609" y="403"/>
                    </a:lnTo>
                    <a:lnTo>
                      <a:pt x="593" y="411"/>
                    </a:lnTo>
                    <a:lnTo>
                      <a:pt x="587" y="405"/>
                    </a:lnTo>
                    <a:lnTo>
                      <a:pt x="568" y="413"/>
                    </a:lnTo>
                    <a:lnTo>
                      <a:pt x="561" y="409"/>
                    </a:lnTo>
                    <a:lnTo>
                      <a:pt x="453" y="450"/>
                    </a:lnTo>
                    <a:lnTo>
                      <a:pt x="422" y="461"/>
                    </a:lnTo>
                    <a:lnTo>
                      <a:pt x="403" y="471"/>
                    </a:lnTo>
                    <a:lnTo>
                      <a:pt x="392" y="465"/>
                    </a:lnTo>
                    <a:lnTo>
                      <a:pt x="346" y="482"/>
                    </a:lnTo>
                    <a:lnTo>
                      <a:pt x="334" y="484"/>
                    </a:lnTo>
                    <a:lnTo>
                      <a:pt x="322" y="488"/>
                    </a:lnTo>
                    <a:lnTo>
                      <a:pt x="315" y="486"/>
                    </a:lnTo>
                    <a:lnTo>
                      <a:pt x="299" y="492"/>
                    </a:lnTo>
                    <a:lnTo>
                      <a:pt x="290" y="490"/>
                    </a:lnTo>
                    <a:lnTo>
                      <a:pt x="257" y="503"/>
                    </a:lnTo>
                    <a:lnTo>
                      <a:pt x="255" y="498"/>
                    </a:lnTo>
                    <a:lnTo>
                      <a:pt x="255" y="492"/>
                    </a:lnTo>
                    <a:lnTo>
                      <a:pt x="251" y="482"/>
                    </a:lnTo>
                    <a:lnTo>
                      <a:pt x="244" y="444"/>
                    </a:lnTo>
                    <a:lnTo>
                      <a:pt x="240" y="444"/>
                    </a:lnTo>
                    <a:lnTo>
                      <a:pt x="207" y="452"/>
                    </a:lnTo>
                    <a:lnTo>
                      <a:pt x="200" y="453"/>
                    </a:lnTo>
                    <a:lnTo>
                      <a:pt x="150" y="465"/>
                    </a:lnTo>
                    <a:lnTo>
                      <a:pt x="144" y="453"/>
                    </a:lnTo>
                    <a:lnTo>
                      <a:pt x="140" y="450"/>
                    </a:lnTo>
                    <a:lnTo>
                      <a:pt x="136" y="440"/>
                    </a:lnTo>
                    <a:lnTo>
                      <a:pt x="134" y="425"/>
                    </a:lnTo>
                    <a:lnTo>
                      <a:pt x="129" y="407"/>
                    </a:lnTo>
                    <a:lnTo>
                      <a:pt x="115" y="380"/>
                    </a:lnTo>
                    <a:lnTo>
                      <a:pt x="98" y="338"/>
                    </a:lnTo>
                    <a:lnTo>
                      <a:pt x="96" y="336"/>
                    </a:lnTo>
                    <a:lnTo>
                      <a:pt x="94" y="321"/>
                    </a:lnTo>
                    <a:lnTo>
                      <a:pt x="102" y="265"/>
                    </a:lnTo>
                    <a:lnTo>
                      <a:pt x="104" y="244"/>
                    </a:lnTo>
                    <a:lnTo>
                      <a:pt x="104" y="233"/>
                    </a:lnTo>
                    <a:lnTo>
                      <a:pt x="102" y="223"/>
                    </a:lnTo>
                    <a:lnTo>
                      <a:pt x="100" y="215"/>
                    </a:lnTo>
                    <a:lnTo>
                      <a:pt x="94" y="208"/>
                    </a:lnTo>
                    <a:lnTo>
                      <a:pt x="10" y="125"/>
                    </a:lnTo>
                    <a:lnTo>
                      <a:pt x="0" y="117"/>
                    </a:lnTo>
                    <a:lnTo>
                      <a:pt x="4" y="115"/>
                    </a:lnTo>
                    <a:lnTo>
                      <a:pt x="10" y="106"/>
                    </a:lnTo>
                    <a:lnTo>
                      <a:pt x="19" y="96"/>
                    </a:lnTo>
                    <a:lnTo>
                      <a:pt x="23" y="90"/>
                    </a:lnTo>
                    <a:lnTo>
                      <a:pt x="50" y="104"/>
                    </a:lnTo>
                    <a:lnTo>
                      <a:pt x="67" y="111"/>
                    </a:lnTo>
                    <a:lnTo>
                      <a:pt x="81" y="111"/>
                    </a:lnTo>
                    <a:lnTo>
                      <a:pt x="92" y="104"/>
                    </a:lnTo>
                    <a:lnTo>
                      <a:pt x="123" y="106"/>
                    </a:lnTo>
                    <a:lnTo>
                      <a:pt x="125" y="102"/>
                    </a:lnTo>
                    <a:lnTo>
                      <a:pt x="136" y="81"/>
                    </a:lnTo>
                    <a:lnTo>
                      <a:pt x="144" y="75"/>
                    </a:lnTo>
                    <a:lnTo>
                      <a:pt x="150" y="71"/>
                    </a:lnTo>
                    <a:lnTo>
                      <a:pt x="159" y="65"/>
                    </a:lnTo>
                    <a:lnTo>
                      <a:pt x="173" y="56"/>
                    </a:lnTo>
                    <a:lnTo>
                      <a:pt x="182" y="44"/>
                    </a:lnTo>
                    <a:lnTo>
                      <a:pt x="203" y="60"/>
                    </a:lnTo>
                    <a:lnTo>
                      <a:pt x="219" y="69"/>
                    </a:lnTo>
                    <a:lnTo>
                      <a:pt x="226" y="58"/>
                    </a:lnTo>
                    <a:lnTo>
                      <a:pt x="236" y="48"/>
                    </a:lnTo>
                    <a:lnTo>
                      <a:pt x="242" y="44"/>
                    </a:lnTo>
                    <a:lnTo>
                      <a:pt x="244" y="38"/>
                    </a:lnTo>
                    <a:lnTo>
                      <a:pt x="250" y="33"/>
                    </a:lnTo>
                    <a:lnTo>
                      <a:pt x="261" y="25"/>
                    </a:lnTo>
                    <a:lnTo>
                      <a:pt x="290" y="14"/>
                    </a:lnTo>
                    <a:lnTo>
                      <a:pt x="305" y="8"/>
                    </a:lnTo>
                    <a:lnTo>
                      <a:pt x="311" y="0"/>
                    </a:lnTo>
                    <a:lnTo>
                      <a:pt x="317" y="4"/>
                    </a:lnTo>
                    <a:lnTo>
                      <a:pt x="326" y="15"/>
                    </a:lnTo>
                    <a:lnTo>
                      <a:pt x="372" y="46"/>
                    </a:lnTo>
                    <a:lnTo>
                      <a:pt x="397" y="75"/>
                    </a:lnTo>
                    <a:lnTo>
                      <a:pt x="422" y="94"/>
                    </a:lnTo>
                    <a:lnTo>
                      <a:pt x="432" y="104"/>
                    </a:lnTo>
                    <a:lnTo>
                      <a:pt x="465" y="136"/>
                    </a:lnTo>
                    <a:lnTo>
                      <a:pt x="472" y="138"/>
                    </a:lnTo>
                    <a:lnTo>
                      <a:pt x="480" y="138"/>
                    </a:lnTo>
                    <a:lnTo>
                      <a:pt x="491" y="140"/>
                    </a:lnTo>
                    <a:lnTo>
                      <a:pt x="507" y="144"/>
                    </a:lnTo>
                    <a:lnTo>
                      <a:pt x="511" y="144"/>
                    </a:lnTo>
                    <a:lnTo>
                      <a:pt x="572" y="158"/>
                    </a:lnTo>
                    <a:lnTo>
                      <a:pt x="574" y="158"/>
                    </a:lnTo>
                    <a:lnTo>
                      <a:pt x="576" y="160"/>
                    </a:lnTo>
                    <a:lnTo>
                      <a:pt x="601" y="200"/>
                    </a:lnTo>
                    <a:lnTo>
                      <a:pt x="603" y="200"/>
                    </a:lnTo>
                    <a:lnTo>
                      <a:pt x="626" y="238"/>
                    </a:lnTo>
                    <a:lnTo>
                      <a:pt x="685" y="288"/>
                    </a:lnTo>
                    <a:lnTo>
                      <a:pt x="693" y="300"/>
                    </a:lnTo>
                    <a:lnTo>
                      <a:pt x="708" y="332"/>
                    </a:lnTo>
                    <a:lnTo>
                      <a:pt x="714" y="346"/>
                    </a:lnTo>
                    <a:lnTo>
                      <a:pt x="718" y="354"/>
                    </a:lnTo>
                    <a:lnTo>
                      <a:pt x="730" y="373"/>
                    </a:lnTo>
                    <a:close/>
                  </a:path>
                </a:pathLst>
              </a:custGeom>
              <a:solidFill>
                <a:schemeClr val="accent6">
                  <a:lumMod val="20000"/>
                  <a:lumOff val="80000"/>
                </a:schemeClr>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57" name="Freeform 45">
                <a:extLst>
                  <a:ext uri="{FF2B5EF4-FFF2-40B4-BE49-F238E27FC236}">
                    <a16:creationId xmlns:a16="http://schemas.microsoft.com/office/drawing/2014/main" id="{0D1CFBC5-4CE4-4393-969C-DB2A3BFA1010}"/>
                  </a:ext>
                </a:extLst>
              </p:cNvPr>
              <p:cNvSpPr>
                <a:spLocks/>
              </p:cNvSpPr>
              <p:nvPr/>
            </p:nvSpPr>
            <p:spPr bwMode="gray">
              <a:xfrm>
                <a:off x="5534573" y="3087152"/>
                <a:ext cx="725172" cy="747727"/>
              </a:xfrm>
              <a:custGeom>
                <a:avLst/>
                <a:gdLst>
                  <a:gd name="T0" fmla="*/ 618 w 643"/>
                  <a:gd name="T1" fmla="*/ 640 h 663"/>
                  <a:gd name="T2" fmla="*/ 572 w 643"/>
                  <a:gd name="T3" fmla="*/ 638 h 663"/>
                  <a:gd name="T4" fmla="*/ 549 w 643"/>
                  <a:gd name="T5" fmla="*/ 638 h 663"/>
                  <a:gd name="T6" fmla="*/ 501 w 643"/>
                  <a:gd name="T7" fmla="*/ 640 h 663"/>
                  <a:gd name="T8" fmla="*/ 486 w 643"/>
                  <a:gd name="T9" fmla="*/ 640 h 663"/>
                  <a:gd name="T10" fmla="*/ 468 w 643"/>
                  <a:gd name="T11" fmla="*/ 651 h 663"/>
                  <a:gd name="T12" fmla="*/ 444 w 643"/>
                  <a:gd name="T13" fmla="*/ 657 h 663"/>
                  <a:gd name="T14" fmla="*/ 419 w 643"/>
                  <a:gd name="T15" fmla="*/ 663 h 663"/>
                  <a:gd name="T16" fmla="*/ 403 w 643"/>
                  <a:gd name="T17" fmla="*/ 636 h 663"/>
                  <a:gd name="T18" fmla="*/ 382 w 643"/>
                  <a:gd name="T19" fmla="*/ 590 h 663"/>
                  <a:gd name="T20" fmla="*/ 315 w 643"/>
                  <a:gd name="T21" fmla="*/ 528 h 663"/>
                  <a:gd name="T22" fmla="*/ 290 w 643"/>
                  <a:gd name="T23" fmla="*/ 490 h 663"/>
                  <a:gd name="T24" fmla="*/ 263 w 643"/>
                  <a:gd name="T25" fmla="*/ 448 h 663"/>
                  <a:gd name="T26" fmla="*/ 200 w 643"/>
                  <a:gd name="T27" fmla="*/ 434 h 663"/>
                  <a:gd name="T28" fmla="*/ 180 w 643"/>
                  <a:gd name="T29" fmla="*/ 430 h 663"/>
                  <a:gd name="T30" fmla="*/ 161 w 643"/>
                  <a:gd name="T31" fmla="*/ 428 h 663"/>
                  <a:gd name="T32" fmla="*/ 121 w 643"/>
                  <a:gd name="T33" fmla="*/ 394 h 663"/>
                  <a:gd name="T34" fmla="*/ 86 w 643"/>
                  <a:gd name="T35" fmla="*/ 365 h 663"/>
                  <a:gd name="T36" fmla="*/ 15 w 643"/>
                  <a:gd name="T37" fmla="*/ 305 h 663"/>
                  <a:gd name="T38" fmla="*/ 0 w 643"/>
                  <a:gd name="T39" fmla="*/ 290 h 663"/>
                  <a:gd name="T40" fmla="*/ 11 w 643"/>
                  <a:gd name="T41" fmla="*/ 275 h 663"/>
                  <a:gd name="T42" fmla="*/ 60 w 643"/>
                  <a:gd name="T43" fmla="*/ 181 h 663"/>
                  <a:gd name="T44" fmla="*/ 63 w 643"/>
                  <a:gd name="T45" fmla="*/ 159 h 663"/>
                  <a:gd name="T46" fmla="*/ 61 w 643"/>
                  <a:gd name="T47" fmla="*/ 77 h 663"/>
                  <a:gd name="T48" fmla="*/ 60 w 643"/>
                  <a:gd name="T49" fmla="*/ 58 h 663"/>
                  <a:gd name="T50" fmla="*/ 58 w 643"/>
                  <a:gd name="T51" fmla="*/ 38 h 663"/>
                  <a:gd name="T52" fmla="*/ 65 w 643"/>
                  <a:gd name="T53" fmla="*/ 21 h 663"/>
                  <a:gd name="T54" fmla="*/ 81 w 643"/>
                  <a:gd name="T55" fmla="*/ 4 h 663"/>
                  <a:gd name="T56" fmla="*/ 148 w 643"/>
                  <a:gd name="T57" fmla="*/ 36 h 663"/>
                  <a:gd name="T58" fmla="*/ 180 w 643"/>
                  <a:gd name="T59" fmla="*/ 58 h 663"/>
                  <a:gd name="T60" fmla="*/ 230 w 643"/>
                  <a:gd name="T61" fmla="*/ 92 h 663"/>
                  <a:gd name="T62" fmla="*/ 313 w 643"/>
                  <a:gd name="T63" fmla="*/ 113 h 663"/>
                  <a:gd name="T64" fmla="*/ 342 w 643"/>
                  <a:gd name="T65" fmla="*/ 125 h 663"/>
                  <a:gd name="T66" fmla="*/ 388 w 643"/>
                  <a:gd name="T67" fmla="*/ 169 h 663"/>
                  <a:gd name="T68" fmla="*/ 422 w 643"/>
                  <a:gd name="T69" fmla="*/ 248 h 663"/>
                  <a:gd name="T70" fmla="*/ 442 w 643"/>
                  <a:gd name="T71" fmla="*/ 298 h 663"/>
                  <a:gd name="T72" fmla="*/ 493 w 643"/>
                  <a:gd name="T73" fmla="*/ 375 h 663"/>
                  <a:gd name="T74" fmla="*/ 591 w 643"/>
                  <a:gd name="T75" fmla="*/ 419 h 663"/>
                  <a:gd name="T76" fmla="*/ 641 w 643"/>
                  <a:gd name="T77" fmla="*/ 442 h 663"/>
                  <a:gd name="T78" fmla="*/ 603 w 643"/>
                  <a:gd name="T79" fmla="*/ 528 h 663"/>
                  <a:gd name="T80" fmla="*/ 593 w 643"/>
                  <a:gd name="T81" fmla="*/ 559 h 663"/>
                  <a:gd name="T82" fmla="*/ 588 w 643"/>
                  <a:gd name="T83" fmla="*/ 576 h 663"/>
                  <a:gd name="T84" fmla="*/ 599 w 643"/>
                  <a:gd name="T85" fmla="*/ 592 h 663"/>
                  <a:gd name="T86" fmla="*/ 643 w 643"/>
                  <a:gd name="T87" fmla="*/ 611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3" h="663">
                    <a:moveTo>
                      <a:pt x="628" y="632"/>
                    </a:moveTo>
                    <a:lnTo>
                      <a:pt x="618" y="640"/>
                    </a:lnTo>
                    <a:lnTo>
                      <a:pt x="597" y="636"/>
                    </a:lnTo>
                    <a:lnTo>
                      <a:pt x="572" y="638"/>
                    </a:lnTo>
                    <a:lnTo>
                      <a:pt x="551" y="647"/>
                    </a:lnTo>
                    <a:lnTo>
                      <a:pt x="549" y="638"/>
                    </a:lnTo>
                    <a:lnTo>
                      <a:pt x="511" y="642"/>
                    </a:lnTo>
                    <a:lnTo>
                      <a:pt x="501" y="640"/>
                    </a:lnTo>
                    <a:lnTo>
                      <a:pt x="493" y="645"/>
                    </a:lnTo>
                    <a:lnTo>
                      <a:pt x="486" y="640"/>
                    </a:lnTo>
                    <a:lnTo>
                      <a:pt x="478" y="644"/>
                    </a:lnTo>
                    <a:lnTo>
                      <a:pt x="468" y="651"/>
                    </a:lnTo>
                    <a:lnTo>
                      <a:pt x="463" y="647"/>
                    </a:lnTo>
                    <a:lnTo>
                      <a:pt x="444" y="657"/>
                    </a:lnTo>
                    <a:lnTo>
                      <a:pt x="440" y="655"/>
                    </a:lnTo>
                    <a:lnTo>
                      <a:pt x="419" y="663"/>
                    </a:lnTo>
                    <a:lnTo>
                      <a:pt x="407" y="644"/>
                    </a:lnTo>
                    <a:lnTo>
                      <a:pt x="403" y="636"/>
                    </a:lnTo>
                    <a:lnTo>
                      <a:pt x="397" y="622"/>
                    </a:lnTo>
                    <a:lnTo>
                      <a:pt x="382" y="590"/>
                    </a:lnTo>
                    <a:lnTo>
                      <a:pt x="374" y="578"/>
                    </a:lnTo>
                    <a:lnTo>
                      <a:pt x="315" y="528"/>
                    </a:lnTo>
                    <a:lnTo>
                      <a:pt x="292" y="490"/>
                    </a:lnTo>
                    <a:lnTo>
                      <a:pt x="290" y="490"/>
                    </a:lnTo>
                    <a:lnTo>
                      <a:pt x="265" y="450"/>
                    </a:lnTo>
                    <a:lnTo>
                      <a:pt x="263" y="448"/>
                    </a:lnTo>
                    <a:lnTo>
                      <a:pt x="261" y="448"/>
                    </a:lnTo>
                    <a:lnTo>
                      <a:pt x="200" y="434"/>
                    </a:lnTo>
                    <a:lnTo>
                      <a:pt x="196" y="434"/>
                    </a:lnTo>
                    <a:lnTo>
                      <a:pt x="180" y="430"/>
                    </a:lnTo>
                    <a:lnTo>
                      <a:pt x="169" y="428"/>
                    </a:lnTo>
                    <a:lnTo>
                      <a:pt x="161" y="428"/>
                    </a:lnTo>
                    <a:lnTo>
                      <a:pt x="154" y="426"/>
                    </a:lnTo>
                    <a:lnTo>
                      <a:pt x="121" y="394"/>
                    </a:lnTo>
                    <a:lnTo>
                      <a:pt x="111" y="384"/>
                    </a:lnTo>
                    <a:lnTo>
                      <a:pt x="86" y="365"/>
                    </a:lnTo>
                    <a:lnTo>
                      <a:pt x="61" y="336"/>
                    </a:lnTo>
                    <a:lnTo>
                      <a:pt x="15" y="305"/>
                    </a:lnTo>
                    <a:lnTo>
                      <a:pt x="6" y="294"/>
                    </a:lnTo>
                    <a:lnTo>
                      <a:pt x="0" y="290"/>
                    </a:lnTo>
                    <a:lnTo>
                      <a:pt x="6" y="282"/>
                    </a:lnTo>
                    <a:lnTo>
                      <a:pt x="11" y="275"/>
                    </a:lnTo>
                    <a:lnTo>
                      <a:pt x="56" y="194"/>
                    </a:lnTo>
                    <a:lnTo>
                      <a:pt x="60" y="181"/>
                    </a:lnTo>
                    <a:lnTo>
                      <a:pt x="65" y="165"/>
                    </a:lnTo>
                    <a:lnTo>
                      <a:pt x="63" y="159"/>
                    </a:lnTo>
                    <a:lnTo>
                      <a:pt x="63" y="108"/>
                    </a:lnTo>
                    <a:lnTo>
                      <a:pt x="61" y="77"/>
                    </a:lnTo>
                    <a:lnTo>
                      <a:pt x="60" y="65"/>
                    </a:lnTo>
                    <a:lnTo>
                      <a:pt x="60" y="58"/>
                    </a:lnTo>
                    <a:lnTo>
                      <a:pt x="58" y="48"/>
                    </a:lnTo>
                    <a:lnTo>
                      <a:pt x="58" y="38"/>
                    </a:lnTo>
                    <a:lnTo>
                      <a:pt x="60" y="31"/>
                    </a:lnTo>
                    <a:lnTo>
                      <a:pt x="65" y="21"/>
                    </a:lnTo>
                    <a:lnTo>
                      <a:pt x="75" y="0"/>
                    </a:lnTo>
                    <a:lnTo>
                      <a:pt x="81" y="4"/>
                    </a:lnTo>
                    <a:lnTo>
                      <a:pt x="138" y="31"/>
                    </a:lnTo>
                    <a:lnTo>
                      <a:pt x="148" y="36"/>
                    </a:lnTo>
                    <a:lnTo>
                      <a:pt x="163" y="46"/>
                    </a:lnTo>
                    <a:lnTo>
                      <a:pt x="180" y="58"/>
                    </a:lnTo>
                    <a:lnTo>
                      <a:pt x="211" y="85"/>
                    </a:lnTo>
                    <a:lnTo>
                      <a:pt x="230" y="92"/>
                    </a:lnTo>
                    <a:lnTo>
                      <a:pt x="307" y="111"/>
                    </a:lnTo>
                    <a:lnTo>
                      <a:pt x="313" y="113"/>
                    </a:lnTo>
                    <a:lnTo>
                      <a:pt x="326" y="117"/>
                    </a:lnTo>
                    <a:lnTo>
                      <a:pt x="342" y="125"/>
                    </a:lnTo>
                    <a:lnTo>
                      <a:pt x="365" y="144"/>
                    </a:lnTo>
                    <a:lnTo>
                      <a:pt x="388" y="169"/>
                    </a:lnTo>
                    <a:lnTo>
                      <a:pt x="403" y="190"/>
                    </a:lnTo>
                    <a:lnTo>
                      <a:pt x="422" y="248"/>
                    </a:lnTo>
                    <a:lnTo>
                      <a:pt x="424" y="263"/>
                    </a:lnTo>
                    <a:lnTo>
                      <a:pt x="442" y="298"/>
                    </a:lnTo>
                    <a:lnTo>
                      <a:pt x="484" y="363"/>
                    </a:lnTo>
                    <a:lnTo>
                      <a:pt x="493" y="375"/>
                    </a:lnTo>
                    <a:lnTo>
                      <a:pt x="507" y="382"/>
                    </a:lnTo>
                    <a:lnTo>
                      <a:pt x="591" y="419"/>
                    </a:lnTo>
                    <a:lnTo>
                      <a:pt x="603" y="426"/>
                    </a:lnTo>
                    <a:lnTo>
                      <a:pt x="641" y="442"/>
                    </a:lnTo>
                    <a:lnTo>
                      <a:pt x="612" y="507"/>
                    </a:lnTo>
                    <a:lnTo>
                      <a:pt x="603" y="528"/>
                    </a:lnTo>
                    <a:lnTo>
                      <a:pt x="601" y="542"/>
                    </a:lnTo>
                    <a:lnTo>
                      <a:pt x="593" y="559"/>
                    </a:lnTo>
                    <a:lnTo>
                      <a:pt x="589" y="567"/>
                    </a:lnTo>
                    <a:lnTo>
                      <a:pt x="588" y="576"/>
                    </a:lnTo>
                    <a:lnTo>
                      <a:pt x="589" y="584"/>
                    </a:lnTo>
                    <a:lnTo>
                      <a:pt x="599" y="592"/>
                    </a:lnTo>
                    <a:lnTo>
                      <a:pt x="614" y="599"/>
                    </a:lnTo>
                    <a:lnTo>
                      <a:pt x="643" y="611"/>
                    </a:lnTo>
                    <a:lnTo>
                      <a:pt x="628" y="632"/>
                    </a:lnTo>
                    <a:close/>
                  </a:path>
                </a:pathLst>
              </a:custGeom>
              <a:solidFill>
                <a:schemeClr val="accent6">
                  <a:lumMod val="20000"/>
                  <a:lumOff val="80000"/>
                </a:schemeClr>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58" name="Freeform 46">
                <a:extLst>
                  <a:ext uri="{FF2B5EF4-FFF2-40B4-BE49-F238E27FC236}">
                    <a16:creationId xmlns:a16="http://schemas.microsoft.com/office/drawing/2014/main" id="{2541B520-A758-4EC6-98E8-C0C8DC131769}"/>
                  </a:ext>
                </a:extLst>
              </p:cNvPr>
              <p:cNvSpPr>
                <a:spLocks/>
              </p:cNvSpPr>
              <p:nvPr/>
            </p:nvSpPr>
            <p:spPr bwMode="gray">
              <a:xfrm>
                <a:off x="5153379" y="3007079"/>
                <a:ext cx="465779" cy="532318"/>
              </a:xfrm>
              <a:custGeom>
                <a:avLst/>
                <a:gdLst>
                  <a:gd name="T0" fmla="*/ 332 w 413"/>
                  <a:gd name="T1" fmla="*/ 369 h 472"/>
                  <a:gd name="T2" fmla="*/ 288 w 413"/>
                  <a:gd name="T3" fmla="*/ 386 h 472"/>
                  <a:gd name="T4" fmla="*/ 271 w 413"/>
                  <a:gd name="T5" fmla="*/ 399 h 472"/>
                  <a:gd name="T6" fmla="*/ 263 w 413"/>
                  <a:gd name="T7" fmla="*/ 409 h 472"/>
                  <a:gd name="T8" fmla="*/ 246 w 413"/>
                  <a:gd name="T9" fmla="*/ 430 h 472"/>
                  <a:gd name="T10" fmla="*/ 209 w 413"/>
                  <a:gd name="T11" fmla="*/ 405 h 472"/>
                  <a:gd name="T12" fmla="*/ 186 w 413"/>
                  <a:gd name="T13" fmla="*/ 426 h 472"/>
                  <a:gd name="T14" fmla="*/ 171 w 413"/>
                  <a:gd name="T15" fmla="*/ 436 h 472"/>
                  <a:gd name="T16" fmla="*/ 152 w 413"/>
                  <a:gd name="T17" fmla="*/ 463 h 472"/>
                  <a:gd name="T18" fmla="*/ 119 w 413"/>
                  <a:gd name="T19" fmla="*/ 465 h 472"/>
                  <a:gd name="T20" fmla="*/ 94 w 413"/>
                  <a:gd name="T21" fmla="*/ 472 h 472"/>
                  <a:gd name="T22" fmla="*/ 50 w 413"/>
                  <a:gd name="T23" fmla="*/ 451 h 472"/>
                  <a:gd name="T24" fmla="*/ 61 w 413"/>
                  <a:gd name="T25" fmla="*/ 405 h 472"/>
                  <a:gd name="T26" fmla="*/ 52 w 413"/>
                  <a:gd name="T27" fmla="*/ 376 h 472"/>
                  <a:gd name="T28" fmla="*/ 4 w 413"/>
                  <a:gd name="T29" fmla="*/ 373 h 472"/>
                  <a:gd name="T30" fmla="*/ 23 w 413"/>
                  <a:gd name="T31" fmla="*/ 305 h 472"/>
                  <a:gd name="T32" fmla="*/ 52 w 413"/>
                  <a:gd name="T33" fmla="*/ 284 h 472"/>
                  <a:gd name="T34" fmla="*/ 61 w 413"/>
                  <a:gd name="T35" fmla="*/ 280 h 472"/>
                  <a:gd name="T36" fmla="*/ 67 w 413"/>
                  <a:gd name="T37" fmla="*/ 278 h 472"/>
                  <a:gd name="T38" fmla="*/ 86 w 413"/>
                  <a:gd name="T39" fmla="*/ 271 h 472"/>
                  <a:gd name="T40" fmla="*/ 90 w 413"/>
                  <a:gd name="T41" fmla="*/ 271 h 472"/>
                  <a:gd name="T42" fmla="*/ 131 w 413"/>
                  <a:gd name="T43" fmla="*/ 196 h 472"/>
                  <a:gd name="T44" fmla="*/ 163 w 413"/>
                  <a:gd name="T45" fmla="*/ 106 h 472"/>
                  <a:gd name="T46" fmla="*/ 190 w 413"/>
                  <a:gd name="T47" fmla="*/ 56 h 472"/>
                  <a:gd name="T48" fmla="*/ 257 w 413"/>
                  <a:gd name="T49" fmla="*/ 0 h 472"/>
                  <a:gd name="T50" fmla="*/ 290 w 413"/>
                  <a:gd name="T51" fmla="*/ 27 h 472"/>
                  <a:gd name="T52" fmla="*/ 386 w 413"/>
                  <a:gd name="T53" fmla="*/ 58 h 472"/>
                  <a:gd name="T54" fmla="*/ 403 w 413"/>
                  <a:gd name="T55" fmla="*/ 92 h 472"/>
                  <a:gd name="T56" fmla="*/ 396 w 413"/>
                  <a:gd name="T57" fmla="*/ 109 h 472"/>
                  <a:gd name="T58" fmla="*/ 398 w 413"/>
                  <a:gd name="T59" fmla="*/ 129 h 472"/>
                  <a:gd name="T60" fmla="*/ 399 w 413"/>
                  <a:gd name="T61" fmla="*/ 148 h 472"/>
                  <a:gd name="T62" fmla="*/ 401 w 413"/>
                  <a:gd name="T63" fmla="*/ 230 h 472"/>
                  <a:gd name="T64" fmla="*/ 398 w 413"/>
                  <a:gd name="T65" fmla="*/ 252 h 472"/>
                  <a:gd name="T66" fmla="*/ 349 w 413"/>
                  <a:gd name="T67" fmla="*/ 346 h 472"/>
                  <a:gd name="T68" fmla="*/ 338 w 413"/>
                  <a:gd name="T69" fmla="*/ 361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3" h="472">
                    <a:moveTo>
                      <a:pt x="338" y="361"/>
                    </a:moveTo>
                    <a:lnTo>
                      <a:pt x="332" y="369"/>
                    </a:lnTo>
                    <a:lnTo>
                      <a:pt x="317" y="375"/>
                    </a:lnTo>
                    <a:lnTo>
                      <a:pt x="288" y="386"/>
                    </a:lnTo>
                    <a:lnTo>
                      <a:pt x="277" y="394"/>
                    </a:lnTo>
                    <a:lnTo>
                      <a:pt x="271" y="399"/>
                    </a:lnTo>
                    <a:lnTo>
                      <a:pt x="269" y="405"/>
                    </a:lnTo>
                    <a:lnTo>
                      <a:pt x="263" y="409"/>
                    </a:lnTo>
                    <a:lnTo>
                      <a:pt x="253" y="419"/>
                    </a:lnTo>
                    <a:lnTo>
                      <a:pt x="246" y="430"/>
                    </a:lnTo>
                    <a:lnTo>
                      <a:pt x="230" y="421"/>
                    </a:lnTo>
                    <a:lnTo>
                      <a:pt x="209" y="405"/>
                    </a:lnTo>
                    <a:lnTo>
                      <a:pt x="200" y="417"/>
                    </a:lnTo>
                    <a:lnTo>
                      <a:pt x="186" y="426"/>
                    </a:lnTo>
                    <a:lnTo>
                      <a:pt x="177" y="432"/>
                    </a:lnTo>
                    <a:lnTo>
                      <a:pt x="171" y="436"/>
                    </a:lnTo>
                    <a:lnTo>
                      <a:pt x="163" y="442"/>
                    </a:lnTo>
                    <a:lnTo>
                      <a:pt x="152" y="463"/>
                    </a:lnTo>
                    <a:lnTo>
                      <a:pt x="150" y="467"/>
                    </a:lnTo>
                    <a:lnTo>
                      <a:pt x="119" y="465"/>
                    </a:lnTo>
                    <a:lnTo>
                      <a:pt x="108" y="472"/>
                    </a:lnTo>
                    <a:lnTo>
                      <a:pt x="94" y="472"/>
                    </a:lnTo>
                    <a:lnTo>
                      <a:pt x="77" y="465"/>
                    </a:lnTo>
                    <a:lnTo>
                      <a:pt x="50" y="451"/>
                    </a:lnTo>
                    <a:lnTo>
                      <a:pt x="63" y="421"/>
                    </a:lnTo>
                    <a:lnTo>
                      <a:pt x="61" y="405"/>
                    </a:lnTo>
                    <a:lnTo>
                      <a:pt x="54" y="384"/>
                    </a:lnTo>
                    <a:lnTo>
                      <a:pt x="52" y="376"/>
                    </a:lnTo>
                    <a:lnTo>
                      <a:pt x="29" y="382"/>
                    </a:lnTo>
                    <a:lnTo>
                      <a:pt x="4" y="373"/>
                    </a:lnTo>
                    <a:lnTo>
                      <a:pt x="0" y="361"/>
                    </a:lnTo>
                    <a:lnTo>
                      <a:pt x="23" y="305"/>
                    </a:lnTo>
                    <a:lnTo>
                      <a:pt x="38" y="313"/>
                    </a:lnTo>
                    <a:lnTo>
                      <a:pt x="52" y="284"/>
                    </a:lnTo>
                    <a:lnTo>
                      <a:pt x="56" y="280"/>
                    </a:lnTo>
                    <a:lnTo>
                      <a:pt x="61" y="280"/>
                    </a:lnTo>
                    <a:lnTo>
                      <a:pt x="65" y="282"/>
                    </a:lnTo>
                    <a:lnTo>
                      <a:pt x="67" y="278"/>
                    </a:lnTo>
                    <a:lnTo>
                      <a:pt x="71" y="275"/>
                    </a:lnTo>
                    <a:lnTo>
                      <a:pt x="86" y="271"/>
                    </a:lnTo>
                    <a:lnTo>
                      <a:pt x="88" y="271"/>
                    </a:lnTo>
                    <a:lnTo>
                      <a:pt x="90" y="271"/>
                    </a:lnTo>
                    <a:lnTo>
                      <a:pt x="125" y="209"/>
                    </a:lnTo>
                    <a:lnTo>
                      <a:pt x="131" y="196"/>
                    </a:lnTo>
                    <a:lnTo>
                      <a:pt x="140" y="173"/>
                    </a:lnTo>
                    <a:lnTo>
                      <a:pt x="163" y="106"/>
                    </a:lnTo>
                    <a:lnTo>
                      <a:pt x="177" y="71"/>
                    </a:lnTo>
                    <a:lnTo>
                      <a:pt x="190" y="56"/>
                    </a:lnTo>
                    <a:lnTo>
                      <a:pt x="236" y="27"/>
                    </a:lnTo>
                    <a:lnTo>
                      <a:pt x="257" y="0"/>
                    </a:lnTo>
                    <a:lnTo>
                      <a:pt x="271" y="15"/>
                    </a:lnTo>
                    <a:lnTo>
                      <a:pt x="290" y="27"/>
                    </a:lnTo>
                    <a:lnTo>
                      <a:pt x="309" y="38"/>
                    </a:lnTo>
                    <a:lnTo>
                      <a:pt x="386" y="58"/>
                    </a:lnTo>
                    <a:lnTo>
                      <a:pt x="413" y="71"/>
                    </a:lnTo>
                    <a:lnTo>
                      <a:pt x="403" y="92"/>
                    </a:lnTo>
                    <a:lnTo>
                      <a:pt x="398" y="102"/>
                    </a:lnTo>
                    <a:lnTo>
                      <a:pt x="396" y="109"/>
                    </a:lnTo>
                    <a:lnTo>
                      <a:pt x="396" y="119"/>
                    </a:lnTo>
                    <a:lnTo>
                      <a:pt x="398" y="129"/>
                    </a:lnTo>
                    <a:lnTo>
                      <a:pt x="398" y="136"/>
                    </a:lnTo>
                    <a:lnTo>
                      <a:pt x="399" y="148"/>
                    </a:lnTo>
                    <a:lnTo>
                      <a:pt x="401" y="179"/>
                    </a:lnTo>
                    <a:lnTo>
                      <a:pt x="401" y="230"/>
                    </a:lnTo>
                    <a:lnTo>
                      <a:pt x="403" y="236"/>
                    </a:lnTo>
                    <a:lnTo>
                      <a:pt x="398" y="252"/>
                    </a:lnTo>
                    <a:lnTo>
                      <a:pt x="394" y="265"/>
                    </a:lnTo>
                    <a:lnTo>
                      <a:pt x="349" y="346"/>
                    </a:lnTo>
                    <a:lnTo>
                      <a:pt x="344" y="353"/>
                    </a:lnTo>
                    <a:lnTo>
                      <a:pt x="338" y="36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59" name="Freeform 47">
                <a:extLst>
                  <a:ext uri="{FF2B5EF4-FFF2-40B4-BE49-F238E27FC236}">
                    <a16:creationId xmlns:a16="http://schemas.microsoft.com/office/drawing/2014/main" id="{4359C8FE-03B5-4FBD-99F3-C8B42352A4D7}"/>
                  </a:ext>
                </a:extLst>
              </p:cNvPr>
              <p:cNvSpPr>
                <a:spLocks/>
              </p:cNvSpPr>
              <p:nvPr/>
            </p:nvSpPr>
            <p:spPr bwMode="gray">
              <a:xfrm>
                <a:off x="4908647" y="2931516"/>
                <a:ext cx="444351" cy="668782"/>
              </a:xfrm>
              <a:custGeom>
                <a:avLst/>
                <a:gdLst>
                  <a:gd name="T0" fmla="*/ 380 w 394"/>
                  <a:gd name="T1" fmla="*/ 173 h 593"/>
                  <a:gd name="T2" fmla="*/ 348 w 394"/>
                  <a:gd name="T3" fmla="*/ 263 h 593"/>
                  <a:gd name="T4" fmla="*/ 307 w 394"/>
                  <a:gd name="T5" fmla="*/ 338 h 593"/>
                  <a:gd name="T6" fmla="*/ 303 w 394"/>
                  <a:gd name="T7" fmla="*/ 338 h 593"/>
                  <a:gd name="T8" fmla="*/ 284 w 394"/>
                  <a:gd name="T9" fmla="*/ 345 h 593"/>
                  <a:gd name="T10" fmla="*/ 278 w 394"/>
                  <a:gd name="T11" fmla="*/ 347 h 593"/>
                  <a:gd name="T12" fmla="*/ 269 w 394"/>
                  <a:gd name="T13" fmla="*/ 351 h 593"/>
                  <a:gd name="T14" fmla="*/ 240 w 394"/>
                  <a:gd name="T15" fmla="*/ 372 h 593"/>
                  <a:gd name="T16" fmla="*/ 221 w 394"/>
                  <a:gd name="T17" fmla="*/ 440 h 593"/>
                  <a:gd name="T18" fmla="*/ 269 w 394"/>
                  <a:gd name="T19" fmla="*/ 443 h 593"/>
                  <a:gd name="T20" fmla="*/ 278 w 394"/>
                  <a:gd name="T21" fmla="*/ 472 h 593"/>
                  <a:gd name="T22" fmla="*/ 267 w 394"/>
                  <a:gd name="T23" fmla="*/ 518 h 593"/>
                  <a:gd name="T24" fmla="*/ 254 w 394"/>
                  <a:gd name="T25" fmla="*/ 534 h 593"/>
                  <a:gd name="T26" fmla="*/ 244 w 394"/>
                  <a:gd name="T27" fmla="*/ 545 h 593"/>
                  <a:gd name="T28" fmla="*/ 184 w 394"/>
                  <a:gd name="T29" fmla="*/ 588 h 593"/>
                  <a:gd name="T30" fmla="*/ 167 w 394"/>
                  <a:gd name="T31" fmla="*/ 580 h 593"/>
                  <a:gd name="T32" fmla="*/ 150 w 394"/>
                  <a:gd name="T33" fmla="*/ 541 h 593"/>
                  <a:gd name="T34" fmla="*/ 113 w 394"/>
                  <a:gd name="T35" fmla="*/ 501 h 593"/>
                  <a:gd name="T36" fmla="*/ 92 w 394"/>
                  <a:gd name="T37" fmla="*/ 466 h 593"/>
                  <a:gd name="T38" fmla="*/ 75 w 394"/>
                  <a:gd name="T39" fmla="*/ 438 h 593"/>
                  <a:gd name="T40" fmla="*/ 63 w 394"/>
                  <a:gd name="T41" fmla="*/ 405 h 593"/>
                  <a:gd name="T42" fmla="*/ 38 w 394"/>
                  <a:gd name="T43" fmla="*/ 393 h 593"/>
                  <a:gd name="T44" fmla="*/ 44 w 394"/>
                  <a:gd name="T45" fmla="*/ 378 h 593"/>
                  <a:gd name="T46" fmla="*/ 46 w 394"/>
                  <a:gd name="T47" fmla="*/ 370 h 593"/>
                  <a:gd name="T48" fmla="*/ 10 w 394"/>
                  <a:gd name="T49" fmla="*/ 322 h 593"/>
                  <a:gd name="T50" fmla="*/ 2 w 394"/>
                  <a:gd name="T51" fmla="*/ 292 h 593"/>
                  <a:gd name="T52" fmla="*/ 2 w 394"/>
                  <a:gd name="T53" fmla="*/ 272 h 593"/>
                  <a:gd name="T54" fmla="*/ 15 w 394"/>
                  <a:gd name="T55" fmla="*/ 246 h 593"/>
                  <a:gd name="T56" fmla="*/ 40 w 394"/>
                  <a:gd name="T57" fmla="*/ 165 h 593"/>
                  <a:gd name="T58" fmla="*/ 37 w 394"/>
                  <a:gd name="T59" fmla="*/ 123 h 593"/>
                  <a:gd name="T60" fmla="*/ 35 w 394"/>
                  <a:gd name="T61" fmla="*/ 103 h 593"/>
                  <a:gd name="T62" fmla="*/ 37 w 394"/>
                  <a:gd name="T63" fmla="*/ 59 h 593"/>
                  <a:gd name="T64" fmla="*/ 37 w 394"/>
                  <a:gd name="T65" fmla="*/ 50 h 593"/>
                  <a:gd name="T66" fmla="*/ 15 w 394"/>
                  <a:gd name="T67" fmla="*/ 27 h 593"/>
                  <a:gd name="T68" fmla="*/ 21 w 394"/>
                  <a:gd name="T69" fmla="*/ 9 h 593"/>
                  <a:gd name="T70" fmla="*/ 60 w 394"/>
                  <a:gd name="T71" fmla="*/ 0 h 593"/>
                  <a:gd name="T72" fmla="*/ 90 w 394"/>
                  <a:gd name="T73" fmla="*/ 11 h 593"/>
                  <a:gd name="T74" fmla="*/ 123 w 394"/>
                  <a:gd name="T75" fmla="*/ 32 h 593"/>
                  <a:gd name="T76" fmla="*/ 165 w 394"/>
                  <a:gd name="T77" fmla="*/ 69 h 593"/>
                  <a:gd name="T78" fmla="*/ 198 w 394"/>
                  <a:gd name="T79" fmla="*/ 94 h 593"/>
                  <a:gd name="T80" fmla="*/ 238 w 394"/>
                  <a:gd name="T81" fmla="*/ 94 h 593"/>
                  <a:gd name="T82" fmla="*/ 259 w 394"/>
                  <a:gd name="T83" fmla="*/ 103 h 593"/>
                  <a:gd name="T84" fmla="*/ 330 w 394"/>
                  <a:gd name="T85" fmla="*/ 96 h 593"/>
                  <a:gd name="T86" fmla="*/ 365 w 394"/>
                  <a:gd name="T87" fmla="*/ 103 h 593"/>
                  <a:gd name="T88" fmla="*/ 394 w 394"/>
                  <a:gd name="T89" fmla="*/ 138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94" h="593">
                    <a:moveTo>
                      <a:pt x="394" y="138"/>
                    </a:moveTo>
                    <a:lnTo>
                      <a:pt x="380" y="173"/>
                    </a:lnTo>
                    <a:lnTo>
                      <a:pt x="357" y="240"/>
                    </a:lnTo>
                    <a:lnTo>
                      <a:pt x="348" y="263"/>
                    </a:lnTo>
                    <a:lnTo>
                      <a:pt x="342" y="276"/>
                    </a:lnTo>
                    <a:lnTo>
                      <a:pt x="307" y="338"/>
                    </a:lnTo>
                    <a:lnTo>
                      <a:pt x="305" y="338"/>
                    </a:lnTo>
                    <a:lnTo>
                      <a:pt x="303" y="338"/>
                    </a:lnTo>
                    <a:lnTo>
                      <a:pt x="288" y="342"/>
                    </a:lnTo>
                    <a:lnTo>
                      <a:pt x="284" y="345"/>
                    </a:lnTo>
                    <a:lnTo>
                      <a:pt x="282" y="349"/>
                    </a:lnTo>
                    <a:lnTo>
                      <a:pt x="278" y="347"/>
                    </a:lnTo>
                    <a:lnTo>
                      <a:pt x="273" y="347"/>
                    </a:lnTo>
                    <a:lnTo>
                      <a:pt x="269" y="351"/>
                    </a:lnTo>
                    <a:lnTo>
                      <a:pt x="255" y="380"/>
                    </a:lnTo>
                    <a:lnTo>
                      <a:pt x="240" y="372"/>
                    </a:lnTo>
                    <a:lnTo>
                      <a:pt x="217" y="428"/>
                    </a:lnTo>
                    <a:lnTo>
                      <a:pt x="221" y="440"/>
                    </a:lnTo>
                    <a:lnTo>
                      <a:pt x="246" y="449"/>
                    </a:lnTo>
                    <a:lnTo>
                      <a:pt x="269" y="443"/>
                    </a:lnTo>
                    <a:lnTo>
                      <a:pt x="271" y="451"/>
                    </a:lnTo>
                    <a:lnTo>
                      <a:pt x="278" y="472"/>
                    </a:lnTo>
                    <a:lnTo>
                      <a:pt x="280" y="488"/>
                    </a:lnTo>
                    <a:lnTo>
                      <a:pt x="267" y="518"/>
                    </a:lnTo>
                    <a:lnTo>
                      <a:pt x="263" y="524"/>
                    </a:lnTo>
                    <a:lnTo>
                      <a:pt x="254" y="534"/>
                    </a:lnTo>
                    <a:lnTo>
                      <a:pt x="248" y="543"/>
                    </a:lnTo>
                    <a:lnTo>
                      <a:pt x="244" y="545"/>
                    </a:lnTo>
                    <a:lnTo>
                      <a:pt x="217" y="568"/>
                    </a:lnTo>
                    <a:lnTo>
                      <a:pt x="184" y="588"/>
                    </a:lnTo>
                    <a:lnTo>
                      <a:pt x="171" y="593"/>
                    </a:lnTo>
                    <a:lnTo>
                      <a:pt x="167" y="580"/>
                    </a:lnTo>
                    <a:lnTo>
                      <a:pt x="163" y="570"/>
                    </a:lnTo>
                    <a:lnTo>
                      <a:pt x="150" y="541"/>
                    </a:lnTo>
                    <a:lnTo>
                      <a:pt x="129" y="516"/>
                    </a:lnTo>
                    <a:lnTo>
                      <a:pt x="113" y="501"/>
                    </a:lnTo>
                    <a:lnTo>
                      <a:pt x="102" y="488"/>
                    </a:lnTo>
                    <a:lnTo>
                      <a:pt x="92" y="466"/>
                    </a:lnTo>
                    <a:lnTo>
                      <a:pt x="77" y="449"/>
                    </a:lnTo>
                    <a:lnTo>
                      <a:pt x="75" y="438"/>
                    </a:lnTo>
                    <a:lnTo>
                      <a:pt x="73" y="426"/>
                    </a:lnTo>
                    <a:lnTo>
                      <a:pt x="63" y="405"/>
                    </a:lnTo>
                    <a:lnTo>
                      <a:pt x="54" y="397"/>
                    </a:lnTo>
                    <a:lnTo>
                      <a:pt x="38" y="393"/>
                    </a:lnTo>
                    <a:lnTo>
                      <a:pt x="33" y="388"/>
                    </a:lnTo>
                    <a:lnTo>
                      <a:pt x="44" y="378"/>
                    </a:lnTo>
                    <a:lnTo>
                      <a:pt x="50" y="374"/>
                    </a:lnTo>
                    <a:lnTo>
                      <a:pt x="46" y="370"/>
                    </a:lnTo>
                    <a:lnTo>
                      <a:pt x="40" y="365"/>
                    </a:lnTo>
                    <a:lnTo>
                      <a:pt x="10" y="322"/>
                    </a:lnTo>
                    <a:lnTo>
                      <a:pt x="4" y="296"/>
                    </a:lnTo>
                    <a:lnTo>
                      <a:pt x="2" y="292"/>
                    </a:lnTo>
                    <a:lnTo>
                      <a:pt x="0" y="282"/>
                    </a:lnTo>
                    <a:lnTo>
                      <a:pt x="2" y="272"/>
                    </a:lnTo>
                    <a:lnTo>
                      <a:pt x="8" y="263"/>
                    </a:lnTo>
                    <a:lnTo>
                      <a:pt x="15" y="246"/>
                    </a:lnTo>
                    <a:lnTo>
                      <a:pt x="31" y="203"/>
                    </a:lnTo>
                    <a:lnTo>
                      <a:pt x="40" y="165"/>
                    </a:lnTo>
                    <a:lnTo>
                      <a:pt x="38" y="161"/>
                    </a:lnTo>
                    <a:lnTo>
                      <a:pt x="37" y="123"/>
                    </a:lnTo>
                    <a:lnTo>
                      <a:pt x="35" y="105"/>
                    </a:lnTo>
                    <a:lnTo>
                      <a:pt x="35" y="103"/>
                    </a:lnTo>
                    <a:lnTo>
                      <a:pt x="35" y="88"/>
                    </a:lnTo>
                    <a:lnTo>
                      <a:pt x="37" y="59"/>
                    </a:lnTo>
                    <a:lnTo>
                      <a:pt x="37" y="52"/>
                    </a:lnTo>
                    <a:lnTo>
                      <a:pt x="37" y="50"/>
                    </a:lnTo>
                    <a:lnTo>
                      <a:pt x="27" y="38"/>
                    </a:lnTo>
                    <a:lnTo>
                      <a:pt x="15" y="27"/>
                    </a:lnTo>
                    <a:lnTo>
                      <a:pt x="0" y="17"/>
                    </a:lnTo>
                    <a:lnTo>
                      <a:pt x="21" y="9"/>
                    </a:lnTo>
                    <a:lnTo>
                      <a:pt x="38" y="0"/>
                    </a:lnTo>
                    <a:lnTo>
                      <a:pt x="60" y="0"/>
                    </a:lnTo>
                    <a:lnTo>
                      <a:pt x="79" y="4"/>
                    </a:lnTo>
                    <a:lnTo>
                      <a:pt x="90" y="11"/>
                    </a:lnTo>
                    <a:lnTo>
                      <a:pt x="117" y="30"/>
                    </a:lnTo>
                    <a:lnTo>
                      <a:pt x="123" y="32"/>
                    </a:lnTo>
                    <a:lnTo>
                      <a:pt x="140" y="48"/>
                    </a:lnTo>
                    <a:lnTo>
                      <a:pt x="165" y="69"/>
                    </a:lnTo>
                    <a:lnTo>
                      <a:pt x="188" y="86"/>
                    </a:lnTo>
                    <a:lnTo>
                      <a:pt x="198" y="94"/>
                    </a:lnTo>
                    <a:lnTo>
                      <a:pt x="209" y="94"/>
                    </a:lnTo>
                    <a:lnTo>
                      <a:pt x="238" y="94"/>
                    </a:lnTo>
                    <a:lnTo>
                      <a:pt x="254" y="101"/>
                    </a:lnTo>
                    <a:lnTo>
                      <a:pt x="259" y="103"/>
                    </a:lnTo>
                    <a:lnTo>
                      <a:pt x="288" y="103"/>
                    </a:lnTo>
                    <a:lnTo>
                      <a:pt x="330" y="96"/>
                    </a:lnTo>
                    <a:lnTo>
                      <a:pt x="336" y="96"/>
                    </a:lnTo>
                    <a:lnTo>
                      <a:pt x="365" y="103"/>
                    </a:lnTo>
                    <a:lnTo>
                      <a:pt x="376" y="111"/>
                    </a:lnTo>
                    <a:lnTo>
                      <a:pt x="394" y="13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60" name="Freeform 48">
                <a:extLst>
                  <a:ext uri="{FF2B5EF4-FFF2-40B4-BE49-F238E27FC236}">
                    <a16:creationId xmlns:a16="http://schemas.microsoft.com/office/drawing/2014/main" id="{DB09F10F-D7DB-4D41-A4F3-D5D7B57BABA5}"/>
                  </a:ext>
                </a:extLst>
              </p:cNvPr>
              <p:cNvSpPr>
                <a:spLocks noEditPoints="1"/>
              </p:cNvSpPr>
              <p:nvPr/>
            </p:nvSpPr>
            <p:spPr bwMode="gray">
              <a:xfrm>
                <a:off x="5073305" y="2530022"/>
                <a:ext cx="539085" cy="435328"/>
              </a:xfrm>
              <a:custGeom>
                <a:avLst/>
                <a:gdLst>
                  <a:gd name="T0" fmla="*/ 461 w 478"/>
                  <a:gd name="T1" fmla="*/ 221 h 386"/>
                  <a:gd name="T2" fmla="*/ 442 w 478"/>
                  <a:gd name="T3" fmla="*/ 208 h 386"/>
                  <a:gd name="T4" fmla="*/ 424 w 478"/>
                  <a:gd name="T5" fmla="*/ 196 h 386"/>
                  <a:gd name="T6" fmla="*/ 413 w 478"/>
                  <a:gd name="T7" fmla="*/ 194 h 386"/>
                  <a:gd name="T8" fmla="*/ 388 w 478"/>
                  <a:gd name="T9" fmla="*/ 179 h 386"/>
                  <a:gd name="T10" fmla="*/ 371 w 478"/>
                  <a:gd name="T11" fmla="*/ 160 h 386"/>
                  <a:gd name="T12" fmla="*/ 344 w 478"/>
                  <a:gd name="T13" fmla="*/ 146 h 386"/>
                  <a:gd name="T14" fmla="*/ 315 w 478"/>
                  <a:gd name="T15" fmla="*/ 104 h 386"/>
                  <a:gd name="T16" fmla="*/ 313 w 478"/>
                  <a:gd name="T17" fmla="*/ 83 h 386"/>
                  <a:gd name="T18" fmla="*/ 301 w 478"/>
                  <a:gd name="T19" fmla="*/ 62 h 386"/>
                  <a:gd name="T20" fmla="*/ 307 w 478"/>
                  <a:gd name="T21" fmla="*/ 46 h 386"/>
                  <a:gd name="T22" fmla="*/ 323 w 478"/>
                  <a:gd name="T23" fmla="*/ 54 h 386"/>
                  <a:gd name="T24" fmla="*/ 332 w 478"/>
                  <a:gd name="T25" fmla="*/ 66 h 386"/>
                  <a:gd name="T26" fmla="*/ 361 w 478"/>
                  <a:gd name="T27" fmla="*/ 96 h 386"/>
                  <a:gd name="T28" fmla="*/ 390 w 478"/>
                  <a:gd name="T29" fmla="*/ 112 h 386"/>
                  <a:gd name="T30" fmla="*/ 478 w 478"/>
                  <a:gd name="T31" fmla="*/ 204 h 386"/>
                  <a:gd name="T32" fmla="*/ 465 w 478"/>
                  <a:gd name="T33" fmla="*/ 217 h 386"/>
                  <a:gd name="T34" fmla="*/ 294 w 478"/>
                  <a:gd name="T35" fmla="*/ 386 h 386"/>
                  <a:gd name="T36" fmla="*/ 179 w 478"/>
                  <a:gd name="T37" fmla="*/ 267 h 386"/>
                  <a:gd name="T38" fmla="*/ 119 w 478"/>
                  <a:gd name="T39" fmla="*/ 240 h 386"/>
                  <a:gd name="T40" fmla="*/ 67 w 478"/>
                  <a:gd name="T41" fmla="*/ 231 h 386"/>
                  <a:gd name="T42" fmla="*/ 0 w 478"/>
                  <a:gd name="T43" fmla="*/ 223 h 386"/>
                  <a:gd name="T44" fmla="*/ 2 w 478"/>
                  <a:gd name="T45" fmla="*/ 196 h 386"/>
                  <a:gd name="T46" fmla="*/ 13 w 478"/>
                  <a:gd name="T47" fmla="*/ 183 h 386"/>
                  <a:gd name="T48" fmla="*/ 33 w 478"/>
                  <a:gd name="T49" fmla="*/ 175 h 386"/>
                  <a:gd name="T50" fmla="*/ 54 w 478"/>
                  <a:gd name="T51" fmla="*/ 164 h 386"/>
                  <a:gd name="T52" fmla="*/ 75 w 478"/>
                  <a:gd name="T53" fmla="*/ 139 h 386"/>
                  <a:gd name="T54" fmla="*/ 98 w 478"/>
                  <a:gd name="T55" fmla="*/ 116 h 386"/>
                  <a:gd name="T56" fmla="*/ 117 w 478"/>
                  <a:gd name="T57" fmla="*/ 75 h 386"/>
                  <a:gd name="T58" fmla="*/ 161 w 478"/>
                  <a:gd name="T59" fmla="*/ 27 h 386"/>
                  <a:gd name="T60" fmla="*/ 202 w 478"/>
                  <a:gd name="T61" fmla="*/ 14 h 386"/>
                  <a:gd name="T62" fmla="*/ 223 w 478"/>
                  <a:gd name="T63" fmla="*/ 6 h 386"/>
                  <a:gd name="T64" fmla="*/ 255 w 478"/>
                  <a:gd name="T65" fmla="*/ 0 h 386"/>
                  <a:gd name="T66" fmla="*/ 282 w 478"/>
                  <a:gd name="T67" fmla="*/ 12 h 386"/>
                  <a:gd name="T68" fmla="*/ 292 w 478"/>
                  <a:gd name="T69" fmla="*/ 37 h 386"/>
                  <a:gd name="T70" fmla="*/ 292 w 478"/>
                  <a:gd name="T71" fmla="*/ 58 h 386"/>
                  <a:gd name="T72" fmla="*/ 323 w 478"/>
                  <a:gd name="T73" fmla="*/ 142 h 386"/>
                  <a:gd name="T74" fmla="*/ 401 w 478"/>
                  <a:gd name="T75" fmla="*/ 202 h 386"/>
                  <a:gd name="T76" fmla="*/ 403 w 478"/>
                  <a:gd name="T77" fmla="*/ 219 h 386"/>
                  <a:gd name="T78" fmla="*/ 419 w 478"/>
                  <a:gd name="T79" fmla="*/ 233 h 386"/>
                  <a:gd name="T80" fmla="*/ 394 w 478"/>
                  <a:gd name="T81" fmla="*/ 252 h 386"/>
                  <a:gd name="T82" fmla="*/ 357 w 478"/>
                  <a:gd name="T83" fmla="*/ 281 h 386"/>
                  <a:gd name="T84" fmla="*/ 340 w 478"/>
                  <a:gd name="T85" fmla="*/ 300 h 386"/>
                  <a:gd name="T86" fmla="*/ 296 w 478"/>
                  <a:gd name="T87" fmla="*/ 373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8" h="386">
                    <a:moveTo>
                      <a:pt x="465" y="217"/>
                    </a:moveTo>
                    <a:lnTo>
                      <a:pt x="461" y="221"/>
                    </a:lnTo>
                    <a:lnTo>
                      <a:pt x="449" y="217"/>
                    </a:lnTo>
                    <a:lnTo>
                      <a:pt x="442" y="208"/>
                    </a:lnTo>
                    <a:lnTo>
                      <a:pt x="438" y="198"/>
                    </a:lnTo>
                    <a:lnTo>
                      <a:pt x="424" y="196"/>
                    </a:lnTo>
                    <a:lnTo>
                      <a:pt x="424" y="194"/>
                    </a:lnTo>
                    <a:lnTo>
                      <a:pt x="413" y="194"/>
                    </a:lnTo>
                    <a:lnTo>
                      <a:pt x="399" y="189"/>
                    </a:lnTo>
                    <a:lnTo>
                      <a:pt x="388" y="179"/>
                    </a:lnTo>
                    <a:lnTo>
                      <a:pt x="380" y="167"/>
                    </a:lnTo>
                    <a:lnTo>
                      <a:pt x="371" y="160"/>
                    </a:lnTo>
                    <a:lnTo>
                      <a:pt x="359" y="156"/>
                    </a:lnTo>
                    <a:lnTo>
                      <a:pt x="344" y="146"/>
                    </a:lnTo>
                    <a:lnTo>
                      <a:pt x="326" y="123"/>
                    </a:lnTo>
                    <a:lnTo>
                      <a:pt x="315" y="104"/>
                    </a:lnTo>
                    <a:lnTo>
                      <a:pt x="315" y="94"/>
                    </a:lnTo>
                    <a:lnTo>
                      <a:pt x="313" y="83"/>
                    </a:lnTo>
                    <a:lnTo>
                      <a:pt x="307" y="73"/>
                    </a:lnTo>
                    <a:lnTo>
                      <a:pt x="301" y="62"/>
                    </a:lnTo>
                    <a:lnTo>
                      <a:pt x="303" y="50"/>
                    </a:lnTo>
                    <a:lnTo>
                      <a:pt x="307" y="46"/>
                    </a:lnTo>
                    <a:lnTo>
                      <a:pt x="315" y="46"/>
                    </a:lnTo>
                    <a:lnTo>
                      <a:pt x="323" y="54"/>
                    </a:lnTo>
                    <a:lnTo>
                      <a:pt x="326" y="62"/>
                    </a:lnTo>
                    <a:lnTo>
                      <a:pt x="332" y="66"/>
                    </a:lnTo>
                    <a:lnTo>
                      <a:pt x="342" y="79"/>
                    </a:lnTo>
                    <a:lnTo>
                      <a:pt x="361" y="96"/>
                    </a:lnTo>
                    <a:lnTo>
                      <a:pt x="374" y="102"/>
                    </a:lnTo>
                    <a:lnTo>
                      <a:pt x="390" y="112"/>
                    </a:lnTo>
                    <a:lnTo>
                      <a:pt x="474" y="194"/>
                    </a:lnTo>
                    <a:lnTo>
                      <a:pt x="478" y="204"/>
                    </a:lnTo>
                    <a:lnTo>
                      <a:pt x="472" y="214"/>
                    </a:lnTo>
                    <a:lnTo>
                      <a:pt x="465" y="217"/>
                    </a:lnTo>
                    <a:close/>
                    <a:moveTo>
                      <a:pt x="298" y="383"/>
                    </a:moveTo>
                    <a:lnTo>
                      <a:pt x="294" y="386"/>
                    </a:lnTo>
                    <a:lnTo>
                      <a:pt x="211" y="292"/>
                    </a:lnTo>
                    <a:lnTo>
                      <a:pt x="179" y="267"/>
                    </a:lnTo>
                    <a:lnTo>
                      <a:pt x="152" y="252"/>
                    </a:lnTo>
                    <a:lnTo>
                      <a:pt x="119" y="240"/>
                    </a:lnTo>
                    <a:lnTo>
                      <a:pt x="98" y="237"/>
                    </a:lnTo>
                    <a:lnTo>
                      <a:pt x="67" y="231"/>
                    </a:lnTo>
                    <a:lnTo>
                      <a:pt x="35" y="225"/>
                    </a:lnTo>
                    <a:lnTo>
                      <a:pt x="0" y="223"/>
                    </a:lnTo>
                    <a:lnTo>
                      <a:pt x="2" y="206"/>
                    </a:lnTo>
                    <a:lnTo>
                      <a:pt x="2" y="196"/>
                    </a:lnTo>
                    <a:lnTo>
                      <a:pt x="4" y="190"/>
                    </a:lnTo>
                    <a:lnTo>
                      <a:pt x="13" y="183"/>
                    </a:lnTo>
                    <a:lnTo>
                      <a:pt x="21" y="179"/>
                    </a:lnTo>
                    <a:lnTo>
                      <a:pt x="33" y="175"/>
                    </a:lnTo>
                    <a:lnTo>
                      <a:pt x="40" y="173"/>
                    </a:lnTo>
                    <a:lnTo>
                      <a:pt x="54" y="164"/>
                    </a:lnTo>
                    <a:lnTo>
                      <a:pt x="65" y="152"/>
                    </a:lnTo>
                    <a:lnTo>
                      <a:pt x="75" y="139"/>
                    </a:lnTo>
                    <a:lnTo>
                      <a:pt x="90" y="127"/>
                    </a:lnTo>
                    <a:lnTo>
                      <a:pt x="98" y="116"/>
                    </a:lnTo>
                    <a:lnTo>
                      <a:pt x="102" y="104"/>
                    </a:lnTo>
                    <a:lnTo>
                      <a:pt x="117" y="75"/>
                    </a:lnTo>
                    <a:lnTo>
                      <a:pt x="132" y="48"/>
                    </a:lnTo>
                    <a:lnTo>
                      <a:pt x="161" y="27"/>
                    </a:lnTo>
                    <a:lnTo>
                      <a:pt x="184" y="16"/>
                    </a:lnTo>
                    <a:lnTo>
                      <a:pt x="202" y="14"/>
                    </a:lnTo>
                    <a:lnTo>
                      <a:pt x="213" y="14"/>
                    </a:lnTo>
                    <a:lnTo>
                      <a:pt x="223" y="6"/>
                    </a:lnTo>
                    <a:lnTo>
                      <a:pt x="238" y="4"/>
                    </a:lnTo>
                    <a:lnTo>
                      <a:pt x="255" y="0"/>
                    </a:lnTo>
                    <a:lnTo>
                      <a:pt x="275" y="4"/>
                    </a:lnTo>
                    <a:lnTo>
                      <a:pt x="282" y="12"/>
                    </a:lnTo>
                    <a:lnTo>
                      <a:pt x="286" y="19"/>
                    </a:lnTo>
                    <a:lnTo>
                      <a:pt x="292" y="37"/>
                    </a:lnTo>
                    <a:lnTo>
                      <a:pt x="292" y="52"/>
                    </a:lnTo>
                    <a:lnTo>
                      <a:pt x="292" y="58"/>
                    </a:lnTo>
                    <a:lnTo>
                      <a:pt x="300" y="96"/>
                    </a:lnTo>
                    <a:lnTo>
                      <a:pt x="323" y="142"/>
                    </a:lnTo>
                    <a:lnTo>
                      <a:pt x="371" y="183"/>
                    </a:lnTo>
                    <a:lnTo>
                      <a:pt x="401" y="202"/>
                    </a:lnTo>
                    <a:lnTo>
                      <a:pt x="405" y="206"/>
                    </a:lnTo>
                    <a:lnTo>
                      <a:pt x="403" y="219"/>
                    </a:lnTo>
                    <a:lnTo>
                      <a:pt x="415" y="227"/>
                    </a:lnTo>
                    <a:lnTo>
                      <a:pt x="419" y="233"/>
                    </a:lnTo>
                    <a:lnTo>
                      <a:pt x="415" y="238"/>
                    </a:lnTo>
                    <a:lnTo>
                      <a:pt x="394" y="252"/>
                    </a:lnTo>
                    <a:lnTo>
                      <a:pt x="390" y="256"/>
                    </a:lnTo>
                    <a:lnTo>
                      <a:pt x="357" y="281"/>
                    </a:lnTo>
                    <a:lnTo>
                      <a:pt x="346" y="294"/>
                    </a:lnTo>
                    <a:lnTo>
                      <a:pt x="340" y="300"/>
                    </a:lnTo>
                    <a:lnTo>
                      <a:pt x="311" y="336"/>
                    </a:lnTo>
                    <a:lnTo>
                      <a:pt x="296" y="373"/>
                    </a:lnTo>
                    <a:lnTo>
                      <a:pt x="298" y="38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61" name="Freeform 49">
                <a:extLst>
                  <a:ext uri="{FF2B5EF4-FFF2-40B4-BE49-F238E27FC236}">
                    <a16:creationId xmlns:a16="http://schemas.microsoft.com/office/drawing/2014/main" id="{387E1007-29D4-4D4D-AFF2-6F5A8D78D8BB}"/>
                  </a:ext>
                </a:extLst>
              </p:cNvPr>
              <p:cNvSpPr>
                <a:spLocks/>
              </p:cNvSpPr>
              <p:nvPr/>
            </p:nvSpPr>
            <p:spPr bwMode="gray">
              <a:xfrm>
                <a:off x="5404876" y="2790542"/>
                <a:ext cx="796222" cy="576303"/>
              </a:xfrm>
              <a:custGeom>
                <a:avLst/>
                <a:gdLst>
                  <a:gd name="T0" fmla="*/ 649 w 706"/>
                  <a:gd name="T1" fmla="*/ 150 h 511"/>
                  <a:gd name="T2" fmla="*/ 689 w 706"/>
                  <a:gd name="T3" fmla="*/ 228 h 511"/>
                  <a:gd name="T4" fmla="*/ 689 w 706"/>
                  <a:gd name="T5" fmla="*/ 242 h 511"/>
                  <a:gd name="T6" fmla="*/ 651 w 706"/>
                  <a:gd name="T7" fmla="*/ 282 h 511"/>
                  <a:gd name="T8" fmla="*/ 672 w 706"/>
                  <a:gd name="T9" fmla="*/ 294 h 511"/>
                  <a:gd name="T10" fmla="*/ 697 w 706"/>
                  <a:gd name="T11" fmla="*/ 299 h 511"/>
                  <a:gd name="T12" fmla="*/ 706 w 706"/>
                  <a:gd name="T13" fmla="*/ 315 h 511"/>
                  <a:gd name="T14" fmla="*/ 685 w 706"/>
                  <a:gd name="T15" fmla="*/ 340 h 511"/>
                  <a:gd name="T16" fmla="*/ 660 w 706"/>
                  <a:gd name="T17" fmla="*/ 363 h 511"/>
                  <a:gd name="T18" fmla="*/ 637 w 706"/>
                  <a:gd name="T19" fmla="*/ 405 h 511"/>
                  <a:gd name="T20" fmla="*/ 620 w 706"/>
                  <a:gd name="T21" fmla="*/ 413 h 511"/>
                  <a:gd name="T22" fmla="*/ 593 w 706"/>
                  <a:gd name="T23" fmla="*/ 457 h 511"/>
                  <a:gd name="T24" fmla="*/ 582 w 706"/>
                  <a:gd name="T25" fmla="*/ 492 h 511"/>
                  <a:gd name="T26" fmla="*/ 574 w 706"/>
                  <a:gd name="T27" fmla="*/ 497 h 511"/>
                  <a:gd name="T28" fmla="*/ 555 w 706"/>
                  <a:gd name="T29" fmla="*/ 507 h 511"/>
                  <a:gd name="T30" fmla="*/ 518 w 706"/>
                  <a:gd name="T31" fmla="*/ 453 h 511"/>
                  <a:gd name="T32" fmla="*/ 480 w 706"/>
                  <a:gd name="T33" fmla="*/ 407 h 511"/>
                  <a:gd name="T34" fmla="*/ 441 w 706"/>
                  <a:gd name="T35" fmla="*/ 380 h 511"/>
                  <a:gd name="T36" fmla="*/ 422 w 706"/>
                  <a:gd name="T37" fmla="*/ 374 h 511"/>
                  <a:gd name="T38" fmla="*/ 326 w 706"/>
                  <a:gd name="T39" fmla="*/ 348 h 511"/>
                  <a:gd name="T40" fmla="*/ 278 w 706"/>
                  <a:gd name="T41" fmla="*/ 309 h 511"/>
                  <a:gd name="T42" fmla="*/ 253 w 706"/>
                  <a:gd name="T43" fmla="*/ 294 h 511"/>
                  <a:gd name="T44" fmla="*/ 190 w 706"/>
                  <a:gd name="T45" fmla="*/ 263 h 511"/>
                  <a:gd name="T46" fmla="*/ 86 w 706"/>
                  <a:gd name="T47" fmla="*/ 230 h 511"/>
                  <a:gd name="T48" fmla="*/ 48 w 706"/>
                  <a:gd name="T49" fmla="*/ 207 h 511"/>
                  <a:gd name="T50" fmla="*/ 30 w 706"/>
                  <a:gd name="T51" fmla="*/ 190 h 511"/>
                  <a:gd name="T52" fmla="*/ 4 w 706"/>
                  <a:gd name="T53" fmla="*/ 152 h 511"/>
                  <a:gd name="T54" fmla="*/ 17 w 706"/>
                  <a:gd name="T55" fmla="*/ 140 h 511"/>
                  <a:gd name="T56" fmla="*/ 55 w 706"/>
                  <a:gd name="T57" fmla="*/ 77 h 511"/>
                  <a:gd name="T58" fmla="*/ 123 w 706"/>
                  <a:gd name="T59" fmla="*/ 25 h 511"/>
                  <a:gd name="T60" fmla="*/ 165 w 706"/>
                  <a:gd name="T61" fmla="*/ 9 h 511"/>
                  <a:gd name="T62" fmla="*/ 171 w 706"/>
                  <a:gd name="T63" fmla="*/ 0 h 511"/>
                  <a:gd name="T64" fmla="*/ 173 w 706"/>
                  <a:gd name="T65" fmla="*/ 7 h 511"/>
                  <a:gd name="T66" fmla="*/ 182 w 706"/>
                  <a:gd name="T67" fmla="*/ 9 h 511"/>
                  <a:gd name="T68" fmla="*/ 251 w 706"/>
                  <a:gd name="T69" fmla="*/ 105 h 511"/>
                  <a:gd name="T70" fmla="*/ 322 w 706"/>
                  <a:gd name="T71" fmla="*/ 152 h 511"/>
                  <a:gd name="T72" fmla="*/ 374 w 706"/>
                  <a:gd name="T73" fmla="*/ 184 h 511"/>
                  <a:gd name="T74" fmla="*/ 418 w 706"/>
                  <a:gd name="T75" fmla="*/ 196 h 511"/>
                  <a:gd name="T76" fmla="*/ 426 w 706"/>
                  <a:gd name="T77" fmla="*/ 198 h 511"/>
                  <a:gd name="T78" fmla="*/ 432 w 706"/>
                  <a:gd name="T79" fmla="*/ 200 h 511"/>
                  <a:gd name="T80" fmla="*/ 439 w 706"/>
                  <a:gd name="T81" fmla="*/ 200 h 511"/>
                  <a:gd name="T82" fmla="*/ 457 w 706"/>
                  <a:gd name="T83" fmla="*/ 202 h 511"/>
                  <a:gd name="T84" fmla="*/ 480 w 706"/>
                  <a:gd name="T85" fmla="*/ 203 h 511"/>
                  <a:gd name="T86" fmla="*/ 499 w 706"/>
                  <a:gd name="T87" fmla="*/ 202 h 511"/>
                  <a:gd name="T88" fmla="*/ 532 w 706"/>
                  <a:gd name="T89" fmla="*/ 198 h 511"/>
                  <a:gd name="T90" fmla="*/ 545 w 706"/>
                  <a:gd name="T91" fmla="*/ 196 h 511"/>
                  <a:gd name="T92" fmla="*/ 553 w 706"/>
                  <a:gd name="T93" fmla="*/ 202 h 511"/>
                  <a:gd name="T94" fmla="*/ 559 w 706"/>
                  <a:gd name="T95" fmla="*/ 200 h 511"/>
                  <a:gd name="T96" fmla="*/ 562 w 706"/>
                  <a:gd name="T97" fmla="*/ 198 h 511"/>
                  <a:gd name="T98" fmla="*/ 566 w 706"/>
                  <a:gd name="T99" fmla="*/ 202 h 511"/>
                  <a:gd name="T100" fmla="*/ 574 w 706"/>
                  <a:gd name="T101" fmla="*/ 200 h 511"/>
                  <a:gd name="T102" fmla="*/ 582 w 706"/>
                  <a:gd name="T103" fmla="*/ 175 h 511"/>
                  <a:gd name="T104" fmla="*/ 639 w 706"/>
                  <a:gd name="T105" fmla="*/ 14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06" h="511">
                    <a:moveTo>
                      <a:pt x="639" y="140"/>
                    </a:moveTo>
                    <a:lnTo>
                      <a:pt x="649" y="150"/>
                    </a:lnTo>
                    <a:lnTo>
                      <a:pt x="679" y="211"/>
                    </a:lnTo>
                    <a:lnTo>
                      <a:pt x="689" y="228"/>
                    </a:lnTo>
                    <a:lnTo>
                      <a:pt x="691" y="234"/>
                    </a:lnTo>
                    <a:lnTo>
                      <a:pt x="689" y="242"/>
                    </a:lnTo>
                    <a:lnTo>
                      <a:pt x="683" y="251"/>
                    </a:lnTo>
                    <a:lnTo>
                      <a:pt x="651" y="282"/>
                    </a:lnTo>
                    <a:lnTo>
                      <a:pt x="656" y="290"/>
                    </a:lnTo>
                    <a:lnTo>
                      <a:pt x="672" y="294"/>
                    </a:lnTo>
                    <a:lnTo>
                      <a:pt x="687" y="296"/>
                    </a:lnTo>
                    <a:lnTo>
                      <a:pt x="697" y="299"/>
                    </a:lnTo>
                    <a:lnTo>
                      <a:pt x="704" y="305"/>
                    </a:lnTo>
                    <a:lnTo>
                      <a:pt x="706" y="315"/>
                    </a:lnTo>
                    <a:lnTo>
                      <a:pt x="703" y="323"/>
                    </a:lnTo>
                    <a:lnTo>
                      <a:pt x="685" y="340"/>
                    </a:lnTo>
                    <a:lnTo>
                      <a:pt x="662" y="359"/>
                    </a:lnTo>
                    <a:lnTo>
                      <a:pt x="660" y="363"/>
                    </a:lnTo>
                    <a:lnTo>
                      <a:pt x="649" y="399"/>
                    </a:lnTo>
                    <a:lnTo>
                      <a:pt x="637" y="405"/>
                    </a:lnTo>
                    <a:lnTo>
                      <a:pt x="630" y="409"/>
                    </a:lnTo>
                    <a:lnTo>
                      <a:pt x="620" y="413"/>
                    </a:lnTo>
                    <a:lnTo>
                      <a:pt x="601" y="434"/>
                    </a:lnTo>
                    <a:lnTo>
                      <a:pt x="593" y="457"/>
                    </a:lnTo>
                    <a:lnTo>
                      <a:pt x="585" y="478"/>
                    </a:lnTo>
                    <a:lnTo>
                      <a:pt x="582" y="492"/>
                    </a:lnTo>
                    <a:lnTo>
                      <a:pt x="578" y="495"/>
                    </a:lnTo>
                    <a:lnTo>
                      <a:pt x="574" y="497"/>
                    </a:lnTo>
                    <a:lnTo>
                      <a:pt x="568" y="501"/>
                    </a:lnTo>
                    <a:lnTo>
                      <a:pt x="555" y="507"/>
                    </a:lnTo>
                    <a:lnTo>
                      <a:pt x="537" y="511"/>
                    </a:lnTo>
                    <a:lnTo>
                      <a:pt x="518" y="453"/>
                    </a:lnTo>
                    <a:lnTo>
                      <a:pt x="503" y="432"/>
                    </a:lnTo>
                    <a:lnTo>
                      <a:pt x="480" y="407"/>
                    </a:lnTo>
                    <a:lnTo>
                      <a:pt x="457" y="388"/>
                    </a:lnTo>
                    <a:lnTo>
                      <a:pt x="441" y="380"/>
                    </a:lnTo>
                    <a:lnTo>
                      <a:pt x="428" y="376"/>
                    </a:lnTo>
                    <a:lnTo>
                      <a:pt x="422" y="374"/>
                    </a:lnTo>
                    <a:lnTo>
                      <a:pt x="345" y="355"/>
                    </a:lnTo>
                    <a:lnTo>
                      <a:pt x="326" y="348"/>
                    </a:lnTo>
                    <a:lnTo>
                      <a:pt x="295" y="321"/>
                    </a:lnTo>
                    <a:lnTo>
                      <a:pt x="278" y="309"/>
                    </a:lnTo>
                    <a:lnTo>
                      <a:pt x="263" y="299"/>
                    </a:lnTo>
                    <a:lnTo>
                      <a:pt x="253" y="294"/>
                    </a:lnTo>
                    <a:lnTo>
                      <a:pt x="196" y="267"/>
                    </a:lnTo>
                    <a:lnTo>
                      <a:pt x="190" y="263"/>
                    </a:lnTo>
                    <a:lnTo>
                      <a:pt x="163" y="250"/>
                    </a:lnTo>
                    <a:lnTo>
                      <a:pt x="86" y="230"/>
                    </a:lnTo>
                    <a:lnTo>
                      <a:pt x="67" y="219"/>
                    </a:lnTo>
                    <a:lnTo>
                      <a:pt x="48" y="207"/>
                    </a:lnTo>
                    <a:lnTo>
                      <a:pt x="34" y="192"/>
                    </a:lnTo>
                    <a:lnTo>
                      <a:pt x="30" y="190"/>
                    </a:lnTo>
                    <a:lnTo>
                      <a:pt x="0" y="155"/>
                    </a:lnTo>
                    <a:lnTo>
                      <a:pt x="4" y="152"/>
                    </a:lnTo>
                    <a:lnTo>
                      <a:pt x="9" y="153"/>
                    </a:lnTo>
                    <a:lnTo>
                      <a:pt x="17" y="140"/>
                    </a:lnTo>
                    <a:lnTo>
                      <a:pt x="25" y="113"/>
                    </a:lnTo>
                    <a:lnTo>
                      <a:pt x="55" y="77"/>
                    </a:lnTo>
                    <a:lnTo>
                      <a:pt x="98" y="38"/>
                    </a:lnTo>
                    <a:lnTo>
                      <a:pt x="123" y="25"/>
                    </a:lnTo>
                    <a:lnTo>
                      <a:pt x="150" y="13"/>
                    </a:lnTo>
                    <a:lnTo>
                      <a:pt x="165" y="9"/>
                    </a:lnTo>
                    <a:lnTo>
                      <a:pt x="165" y="2"/>
                    </a:lnTo>
                    <a:lnTo>
                      <a:pt x="171" y="0"/>
                    </a:lnTo>
                    <a:lnTo>
                      <a:pt x="171" y="2"/>
                    </a:lnTo>
                    <a:lnTo>
                      <a:pt x="173" y="7"/>
                    </a:lnTo>
                    <a:lnTo>
                      <a:pt x="175" y="7"/>
                    </a:lnTo>
                    <a:lnTo>
                      <a:pt x="182" y="9"/>
                    </a:lnTo>
                    <a:lnTo>
                      <a:pt x="213" y="34"/>
                    </a:lnTo>
                    <a:lnTo>
                      <a:pt x="251" y="105"/>
                    </a:lnTo>
                    <a:lnTo>
                      <a:pt x="271" y="117"/>
                    </a:lnTo>
                    <a:lnTo>
                      <a:pt x="322" y="152"/>
                    </a:lnTo>
                    <a:lnTo>
                      <a:pt x="332" y="161"/>
                    </a:lnTo>
                    <a:lnTo>
                      <a:pt x="374" y="184"/>
                    </a:lnTo>
                    <a:lnTo>
                      <a:pt x="416" y="196"/>
                    </a:lnTo>
                    <a:lnTo>
                      <a:pt x="418" y="196"/>
                    </a:lnTo>
                    <a:lnTo>
                      <a:pt x="424" y="196"/>
                    </a:lnTo>
                    <a:lnTo>
                      <a:pt x="426" y="198"/>
                    </a:lnTo>
                    <a:lnTo>
                      <a:pt x="430" y="200"/>
                    </a:lnTo>
                    <a:lnTo>
                      <a:pt x="432" y="200"/>
                    </a:lnTo>
                    <a:lnTo>
                      <a:pt x="434" y="198"/>
                    </a:lnTo>
                    <a:lnTo>
                      <a:pt x="439" y="200"/>
                    </a:lnTo>
                    <a:lnTo>
                      <a:pt x="447" y="202"/>
                    </a:lnTo>
                    <a:lnTo>
                      <a:pt x="457" y="202"/>
                    </a:lnTo>
                    <a:lnTo>
                      <a:pt x="468" y="202"/>
                    </a:lnTo>
                    <a:lnTo>
                      <a:pt x="480" y="203"/>
                    </a:lnTo>
                    <a:lnTo>
                      <a:pt x="493" y="205"/>
                    </a:lnTo>
                    <a:lnTo>
                      <a:pt x="499" y="202"/>
                    </a:lnTo>
                    <a:lnTo>
                      <a:pt x="520" y="200"/>
                    </a:lnTo>
                    <a:lnTo>
                      <a:pt x="532" y="198"/>
                    </a:lnTo>
                    <a:lnTo>
                      <a:pt x="539" y="194"/>
                    </a:lnTo>
                    <a:lnTo>
                      <a:pt x="545" y="196"/>
                    </a:lnTo>
                    <a:lnTo>
                      <a:pt x="551" y="200"/>
                    </a:lnTo>
                    <a:lnTo>
                      <a:pt x="553" y="202"/>
                    </a:lnTo>
                    <a:lnTo>
                      <a:pt x="555" y="202"/>
                    </a:lnTo>
                    <a:lnTo>
                      <a:pt x="559" y="200"/>
                    </a:lnTo>
                    <a:lnTo>
                      <a:pt x="560" y="200"/>
                    </a:lnTo>
                    <a:lnTo>
                      <a:pt x="562" y="198"/>
                    </a:lnTo>
                    <a:lnTo>
                      <a:pt x="564" y="200"/>
                    </a:lnTo>
                    <a:lnTo>
                      <a:pt x="566" y="202"/>
                    </a:lnTo>
                    <a:lnTo>
                      <a:pt x="568" y="205"/>
                    </a:lnTo>
                    <a:lnTo>
                      <a:pt x="574" y="200"/>
                    </a:lnTo>
                    <a:lnTo>
                      <a:pt x="568" y="180"/>
                    </a:lnTo>
                    <a:lnTo>
                      <a:pt x="582" y="175"/>
                    </a:lnTo>
                    <a:lnTo>
                      <a:pt x="624" y="138"/>
                    </a:lnTo>
                    <a:lnTo>
                      <a:pt x="639" y="14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62" name="Freeform 50">
                <a:extLst>
                  <a:ext uri="{FF2B5EF4-FFF2-40B4-BE49-F238E27FC236}">
                    <a16:creationId xmlns:a16="http://schemas.microsoft.com/office/drawing/2014/main" id="{3E02A2D9-610E-4C6D-BED5-4C8039544AEC}"/>
                  </a:ext>
                </a:extLst>
              </p:cNvPr>
              <p:cNvSpPr>
                <a:spLocks noEditPoints="1"/>
              </p:cNvSpPr>
              <p:nvPr/>
            </p:nvSpPr>
            <p:spPr bwMode="gray">
              <a:xfrm>
                <a:off x="5546978" y="2298825"/>
                <a:ext cx="1934167" cy="881934"/>
              </a:xfrm>
              <a:custGeom>
                <a:avLst/>
                <a:gdLst>
                  <a:gd name="T0" fmla="*/ 1715 w 1715"/>
                  <a:gd name="T1" fmla="*/ 326 h 782"/>
                  <a:gd name="T2" fmla="*/ 1692 w 1715"/>
                  <a:gd name="T3" fmla="*/ 380 h 782"/>
                  <a:gd name="T4" fmla="*/ 1675 w 1715"/>
                  <a:gd name="T5" fmla="*/ 443 h 782"/>
                  <a:gd name="T6" fmla="*/ 1665 w 1715"/>
                  <a:gd name="T7" fmla="*/ 499 h 782"/>
                  <a:gd name="T8" fmla="*/ 1629 w 1715"/>
                  <a:gd name="T9" fmla="*/ 588 h 782"/>
                  <a:gd name="T10" fmla="*/ 1465 w 1715"/>
                  <a:gd name="T11" fmla="*/ 653 h 782"/>
                  <a:gd name="T12" fmla="*/ 1352 w 1715"/>
                  <a:gd name="T13" fmla="*/ 687 h 782"/>
                  <a:gd name="T14" fmla="*/ 1346 w 1715"/>
                  <a:gd name="T15" fmla="*/ 651 h 782"/>
                  <a:gd name="T16" fmla="*/ 1300 w 1715"/>
                  <a:gd name="T17" fmla="*/ 611 h 782"/>
                  <a:gd name="T18" fmla="*/ 1235 w 1715"/>
                  <a:gd name="T19" fmla="*/ 495 h 782"/>
                  <a:gd name="T20" fmla="*/ 1181 w 1715"/>
                  <a:gd name="T21" fmla="*/ 426 h 782"/>
                  <a:gd name="T22" fmla="*/ 1118 w 1715"/>
                  <a:gd name="T23" fmla="*/ 417 h 782"/>
                  <a:gd name="T24" fmla="*/ 1030 w 1715"/>
                  <a:gd name="T25" fmla="*/ 447 h 782"/>
                  <a:gd name="T26" fmla="*/ 1020 w 1715"/>
                  <a:gd name="T27" fmla="*/ 488 h 782"/>
                  <a:gd name="T28" fmla="*/ 999 w 1715"/>
                  <a:gd name="T29" fmla="*/ 486 h 782"/>
                  <a:gd name="T30" fmla="*/ 1080 w 1715"/>
                  <a:gd name="T31" fmla="*/ 603 h 782"/>
                  <a:gd name="T32" fmla="*/ 974 w 1715"/>
                  <a:gd name="T33" fmla="*/ 470 h 782"/>
                  <a:gd name="T34" fmla="*/ 1016 w 1715"/>
                  <a:gd name="T35" fmla="*/ 420 h 782"/>
                  <a:gd name="T36" fmla="*/ 1108 w 1715"/>
                  <a:gd name="T37" fmla="*/ 388 h 782"/>
                  <a:gd name="T38" fmla="*/ 1108 w 1715"/>
                  <a:gd name="T39" fmla="*/ 311 h 782"/>
                  <a:gd name="T40" fmla="*/ 961 w 1715"/>
                  <a:gd name="T41" fmla="*/ 346 h 782"/>
                  <a:gd name="T42" fmla="*/ 895 w 1715"/>
                  <a:gd name="T43" fmla="*/ 184 h 782"/>
                  <a:gd name="T44" fmla="*/ 987 w 1715"/>
                  <a:gd name="T45" fmla="*/ 134 h 782"/>
                  <a:gd name="T46" fmla="*/ 1014 w 1715"/>
                  <a:gd name="T47" fmla="*/ 200 h 782"/>
                  <a:gd name="T48" fmla="*/ 1085 w 1715"/>
                  <a:gd name="T49" fmla="*/ 276 h 782"/>
                  <a:gd name="T50" fmla="*/ 1129 w 1715"/>
                  <a:gd name="T51" fmla="*/ 276 h 782"/>
                  <a:gd name="T52" fmla="*/ 1105 w 1715"/>
                  <a:gd name="T53" fmla="*/ 167 h 782"/>
                  <a:gd name="T54" fmla="*/ 1218 w 1715"/>
                  <a:gd name="T55" fmla="*/ 157 h 782"/>
                  <a:gd name="T56" fmla="*/ 1297 w 1715"/>
                  <a:gd name="T57" fmla="*/ 117 h 782"/>
                  <a:gd name="T58" fmla="*/ 1373 w 1715"/>
                  <a:gd name="T59" fmla="*/ 121 h 782"/>
                  <a:gd name="T60" fmla="*/ 1512 w 1715"/>
                  <a:gd name="T61" fmla="*/ 136 h 782"/>
                  <a:gd name="T62" fmla="*/ 235 w 1715"/>
                  <a:gd name="T63" fmla="*/ 194 h 782"/>
                  <a:gd name="T64" fmla="*/ 329 w 1715"/>
                  <a:gd name="T65" fmla="*/ 249 h 782"/>
                  <a:gd name="T66" fmla="*/ 494 w 1715"/>
                  <a:gd name="T67" fmla="*/ 232 h 782"/>
                  <a:gd name="T68" fmla="*/ 552 w 1715"/>
                  <a:gd name="T69" fmla="*/ 248 h 782"/>
                  <a:gd name="T70" fmla="*/ 642 w 1715"/>
                  <a:gd name="T71" fmla="*/ 234 h 782"/>
                  <a:gd name="T72" fmla="*/ 703 w 1715"/>
                  <a:gd name="T73" fmla="*/ 288 h 782"/>
                  <a:gd name="T74" fmla="*/ 697 w 1715"/>
                  <a:gd name="T75" fmla="*/ 351 h 782"/>
                  <a:gd name="T76" fmla="*/ 617 w 1715"/>
                  <a:gd name="T77" fmla="*/ 361 h 782"/>
                  <a:gd name="T78" fmla="*/ 509 w 1715"/>
                  <a:gd name="T79" fmla="*/ 405 h 782"/>
                  <a:gd name="T80" fmla="*/ 352 w 1715"/>
                  <a:gd name="T81" fmla="*/ 442 h 782"/>
                  <a:gd name="T82" fmla="*/ 267 w 1715"/>
                  <a:gd name="T83" fmla="*/ 376 h 782"/>
                  <a:gd name="T84" fmla="*/ 187 w 1715"/>
                  <a:gd name="T85" fmla="*/ 313 h 782"/>
                  <a:gd name="T86" fmla="*/ 89 w 1715"/>
                  <a:gd name="T87" fmla="*/ 271 h 782"/>
                  <a:gd name="T88" fmla="*/ 10 w 1715"/>
                  <a:gd name="T89" fmla="*/ 207 h 782"/>
                  <a:gd name="T90" fmla="*/ 66 w 1715"/>
                  <a:gd name="T91" fmla="*/ 153 h 782"/>
                  <a:gd name="T92" fmla="*/ 1383 w 1715"/>
                  <a:gd name="T93" fmla="*/ 84 h 782"/>
                  <a:gd name="T94" fmla="*/ 1283 w 1715"/>
                  <a:gd name="T95" fmla="*/ 59 h 782"/>
                  <a:gd name="T96" fmla="*/ 1128 w 1715"/>
                  <a:gd name="T97" fmla="*/ 55 h 782"/>
                  <a:gd name="T98" fmla="*/ 1020 w 1715"/>
                  <a:gd name="T99" fmla="*/ 77 h 782"/>
                  <a:gd name="T100" fmla="*/ 1045 w 1715"/>
                  <a:gd name="T101" fmla="*/ 44 h 782"/>
                  <a:gd name="T102" fmla="*/ 1281 w 1715"/>
                  <a:gd name="T103" fmla="*/ 782 h 782"/>
                  <a:gd name="T104" fmla="*/ 1183 w 1715"/>
                  <a:gd name="T105" fmla="*/ 684 h 782"/>
                  <a:gd name="T106" fmla="*/ 285 w 1715"/>
                  <a:gd name="T107" fmla="*/ 442 h 782"/>
                  <a:gd name="T108" fmla="*/ 233 w 1715"/>
                  <a:gd name="T109" fmla="*/ 365 h 782"/>
                  <a:gd name="T110" fmla="*/ 1093 w 1715"/>
                  <a:gd name="T111" fmla="*/ 522 h 782"/>
                  <a:gd name="T112" fmla="*/ 1097 w 1715"/>
                  <a:gd name="T113" fmla="*/ 559 h 782"/>
                  <a:gd name="T114" fmla="*/ 1076 w 1715"/>
                  <a:gd name="T115" fmla="*/ 561 h 782"/>
                  <a:gd name="T116" fmla="*/ 1087 w 1715"/>
                  <a:gd name="T117" fmla="*/ 530 h 782"/>
                  <a:gd name="T118" fmla="*/ 1035 w 1715"/>
                  <a:gd name="T119" fmla="*/ 499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15" h="782">
                    <a:moveTo>
                      <a:pt x="1512" y="136"/>
                    </a:moveTo>
                    <a:lnTo>
                      <a:pt x="1537" y="142"/>
                    </a:lnTo>
                    <a:lnTo>
                      <a:pt x="1577" y="169"/>
                    </a:lnTo>
                    <a:lnTo>
                      <a:pt x="1617" y="201"/>
                    </a:lnTo>
                    <a:lnTo>
                      <a:pt x="1658" y="230"/>
                    </a:lnTo>
                    <a:lnTo>
                      <a:pt x="1682" y="257"/>
                    </a:lnTo>
                    <a:lnTo>
                      <a:pt x="1696" y="292"/>
                    </a:lnTo>
                    <a:lnTo>
                      <a:pt x="1707" y="311"/>
                    </a:lnTo>
                    <a:lnTo>
                      <a:pt x="1715" y="326"/>
                    </a:lnTo>
                    <a:lnTo>
                      <a:pt x="1713" y="336"/>
                    </a:lnTo>
                    <a:lnTo>
                      <a:pt x="1709" y="346"/>
                    </a:lnTo>
                    <a:lnTo>
                      <a:pt x="1700" y="349"/>
                    </a:lnTo>
                    <a:lnTo>
                      <a:pt x="1694" y="353"/>
                    </a:lnTo>
                    <a:lnTo>
                      <a:pt x="1692" y="359"/>
                    </a:lnTo>
                    <a:lnTo>
                      <a:pt x="1696" y="365"/>
                    </a:lnTo>
                    <a:lnTo>
                      <a:pt x="1692" y="369"/>
                    </a:lnTo>
                    <a:lnTo>
                      <a:pt x="1690" y="374"/>
                    </a:lnTo>
                    <a:lnTo>
                      <a:pt x="1692" y="380"/>
                    </a:lnTo>
                    <a:lnTo>
                      <a:pt x="1688" y="388"/>
                    </a:lnTo>
                    <a:lnTo>
                      <a:pt x="1686" y="394"/>
                    </a:lnTo>
                    <a:lnTo>
                      <a:pt x="1686" y="405"/>
                    </a:lnTo>
                    <a:lnTo>
                      <a:pt x="1681" y="411"/>
                    </a:lnTo>
                    <a:lnTo>
                      <a:pt x="1682" y="420"/>
                    </a:lnTo>
                    <a:lnTo>
                      <a:pt x="1679" y="424"/>
                    </a:lnTo>
                    <a:lnTo>
                      <a:pt x="1675" y="432"/>
                    </a:lnTo>
                    <a:lnTo>
                      <a:pt x="1679" y="440"/>
                    </a:lnTo>
                    <a:lnTo>
                      <a:pt x="1675" y="443"/>
                    </a:lnTo>
                    <a:lnTo>
                      <a:pt x="1671" y="449"/>
                    </a:lnTo>
                    <a:lnTo>
                      <a:pt x="1673" y="457"/>
                    </a:lnTo>
                    <a:lnTo>
                      <a:pt x="1673" y="463"/>
                    </a:lnTo>
                    <a:lnTo>
                      <a:pt x="1669" y="467"/>
                    </a:lnTo>
                    <a:lnTo>
                      <a:pt x="1667" y="472"/>
                    </a:lnTo>
                    <a:lnTo>
                      <a:pt x="1667" y="482"/>
                    </a:lnTo>
                    <a:lnTo>
                      <a:pt x="1663" y="488"/>
                    </a:lnTo>
                    <a:lnTo>
                      <a:pt x="1663" y="492"/>
                    </a:lnTo>
                    <a:lnTo>
                      <a:pt x="1665" y="499"/>
                    </a:lnTo>
                    <a:lnTo>
                      <a:pt x="1661" y="507"/>
                    </a:lnTo>
                    <a:lnTo>
                      <a:pt x="1659" y="515"/>
                    </a:lnTo>
                    <a:lnTo>
                      <a:pt x="1659" y="530"/>
                    </a:lnTo>
                    <a:lnTo>
                      <a:pt x="1658" y="540"/>
                    </a:lnTo>
                    <a:lnTo>
                      <a:pt x="1667" y="541"/>
                    </a:lnTo>
                    <a:lnTo>
                      <a:pt x="1663" y="559"/>
                    </a:lnTo>
                    <a:lnTo>
                      <a:pt x="1658" y="574"/>
                    </a:lnTo>
                    <a:lnTo>
                      <a:pt x="1652" y="582"/>
                    </a:lnTo>
                    <a:lnTo>
                      <a:pt x="1629" y="588"/>
                    </a:lnTo>
                    <a:lnTo>
                      <a:pt x="1623" y="588"/>
                    </a:lnTo>
                    <a:lnTo>
                      <a:pt x="1621" y="589"/>
                    </a:lnTo>
                    <a:lnTo>
                      <a:pt x="1602" y="599"/>
                    </a:lnTo>
                    <a:lnTo>
                      <a:pt x="1583" y="605"/>
                    </a:lnTo>
                    <a:lnTo>
                      <a:pt x="1556" y="613"/>
                    </a:lnTo>
                    <a:lnTo>
                      <a:pt x="1535" y="622"/>
                    </a:lnTo>
                    <a:lnTo>
                      <a:pt x="1523" y="634"/>
                    </a:lnTo>
                    <a:lnTo>
                      <a:pt x="1498" y="639"/>
                    </a:lnTo>
                    <a:lnTo>
                      <a:pt x="1465" y="653"/>
                    </a:lnTo>
                    <a:lnTo>
                      <a:pt x="1450" y="662"/>
                    </a:lnTo>
                    <a:lnTo>
                      <a:pt x="1437" y="668"/>
                    </a:lnTo>
                    <a:lnTo>
                      <a:pt x="1410" y="674"/>
                    </a:lnTo>
                    <a:lnTo>
                      <a:pt x="1394" y="680"/>
                    </a:lnTo>
                    <a:lnTo>
                      <a:pt x="1379" y="687"/>
                    </a:lnTo>
                    <a:lnTo>
                      <a:pt x="1371" y="697"/>
                    </a:lnTo>
                    <a:lnTo>
                      <a:pt x="1356" y="697"/>
                    </a:lnTo>
                    <a:lnTo>
                      <a:pt x="1352" y="695"/>
                    </a:lnTo>
                    <a:lnTo>
                      <a:pt x="1352" y="687"/>
                    </a:lnTo>
                    <a:lnTo>
                      <a:pt x="1354" y="684"/>
                    </a:lnTo>
                    <a:lnTo>
                      <a:pt x="1358" y="680"/>
                    </a:lnTo>
                    <a:lnTo>
                      <a:pt x="1360" y="676"/>
                    </a:lnTo>
                    <a:lnTo>
                      <a:pt x="1360" y="672"/>
                    </a:lnTo>
                    <a:lnTo>
                      <a:pt x="1354" y="672"/>
                    </a:lnTo>
                    <a:lnTo>
                      <a:pt x="1350" y="668"/>
                    </a:lnTo>
                    <a:lnTo>
                      <a:pt x="1350" y="662"/>
                    </a:lnTo>
                    <a:lnTo>
                      <a:pt x="1350" y="657"/>
                    </a:lnTo>
                    <a:lnTo>
                      <a:pt x="1346" y="651"/>
                    </a:lnTo>
                    <a:lnTo>
                      <a:pt x="1339" y="651"/>
                    </a:lnTo>
                    <a:lnTo>
                      <a:pt x="1331" y="647"/>
                    </a:lnTo>
                    <a:lnTo>
                      <a:pt x="1323" y="638"/>
                    </a:lnTo>
                    <a:lnTo>
                      <a:pt x="1323" y="636"/>
                    </a:lnTo>
                    <a:lnTo>
                      <a:pt x="1323" y="628"/>
                    </a:lnTo>
                    <a:lnTo>
                      <a:pt x="1316" y="624"/>
                    </a:lnTo>
                    <a:lnTo>
                      <a:pt x="1316" y="618"/>
                    </a:lnTo>
                    <a:lnTo>
                      <a:pt x="1308" y="614"/>
                    </a:lnTo>
                    <a:lnTo>
                      <a:pt x="1300" y="611"/>
                    </a:lnTo>
                    <a:lnTo>
                      <a:pt x="1283" y="609"/>
                    </a:lnTo>
                    <a:lnTo>
                      <a:pt x="1281" y="609"/>
                    </a:lnTo>
                    <a:lnTo>
                      <a:pt x="1285" y="603"/>
                    </a:lnTo>
                    <a:lnTo>
                      <a:pt x="1291" y="597"/>
                    </a:lnTo>
                    <a:lnTo>
                      <a:pt x="1291" y="588"/>
                    </a:lnTo>
                    <a:lnTo>
                      <a:pt x="1235" y="513"/>
                    </a:lnTo>
                    <a:lnTo>
                      <a:pt x="1235" y="505"/>
                    </a:lnTo>
                    <a:lnTo>
                      <a:pt x="1239" y="501"/>
                    </a:lnTo>
                    <a:lnTo>
                      <a:pt x="1235" y="495"/>
                    </a:lnTo>
                    <a:lnTo>
                      <a:pt x="1227" y="486"/>
                    </a:lnTo>
                    <a:lnTo>
                      <a:pt x="1222" y="486"/>
                    </a:lnTo>
                    <a:lnTo>
                      <a:pt x="1218" y="493"/>
                    </a:lnTo>
                    <a:lnTo>
                      <a:pt x="1214" y="488"/>
                    </a:lnTo>
                    <a:lnTo>
                      <a:pt x="1206" y="486"/>
                    </a:lnTo>
                    <a:lnTo>
                      <a:pt x="1202" y="480"/>
                    </a:lnTo>
                    <a:lnTo>
                      <a:pt x="1204" y="476"/>
                    </a:lnTo>
                    <a:lnTo>
                      <a:pt x="1195" y="443"/>
                    </a:lnTo>
                    <a:lnTo>
                      <a:pt x="1181" y="426"/>
                    </a:lnTo>
                    <a:lnTo>
                      <a:pt x="1170" y="415"/>
                    </a:lnTo>
                    <a:lnTo>
                      <a:pt x="1160" y="409"/>
                    </a:lnTo>
                    <a:lnTo>
                      <a:pt x="1158" y="403"/>
                    </a:lnTo>
                    <a:lnTo>
                      <a:pt x="1149" y="401"/>
                    </a:lnTo>
                    <a:lnTo>
                      <a:pt x="1141" y="397"/>
                    </a:lnTo>
                    <a:lnTo>
                      <a:pt x="1133" y="397"/>
                    </a:lnTo>
                    <a:lnTo>
                      <a:pt x="1129" y="403"/>
                    </a:lnTo>
                    <a:lnTo>
                      <a:pt x="1124" y="411"/>
                    </a:lnTo>
                    <a:lnTo>
                      <a:pt x="1118" y="417"/>
                    </a:lnTo>
                    <a:lnTo>
                      <a:pt x="1114" y="420"/>
                    </a:lnTo>
                    <a:lnTo>
                      <a:pt x="1105" y="424"/>
                    </a:lnTo>
                    <a:lnTo>
                      <a:pt x="1093" y="430"/>
                    </a:lnTo>
                    <a:lnTo>
                      <a:pt x="1072" y="438"/>
                    </a:lnTo>
                    <a:lnTo>
                      <a:pt x="1060" y="436"/>
                    </a:lnTo>
                    <a:lnTo>
                      <a:pt x="1057" y="434"/>
                    </a:lnTo>
                    <a:lnTo>
                      <a:pt x="1045" y="436"/>
                    </a:lnTo>
                    <a:lnTo>
                      <a:pt x="1035" y="440"/>
                    </a:lnTo>
                    <a:lnTo>
                      <a:pt x="1030" y="447"/>
                    </a:lnTo>
                    <a:lnTo>
                      <a:pt x="1026" y="447"/>
                    </a:lnTo>
                    <a:lnTo>
                      <a:pt x="1022" y="449"/>
                    </a:lnTo>
                    <a:lnTo>
                      <a:pt x="1024" y="453"/>
                    </a:lnTo>
                    <a:lnTo>
                      <a:pt x="1024" y="457"/>
                    </a:lnTo>
                    <a:lnTo>
                      <a:pt x="1026" y="459"/>
                    </a:lnTo>
                    <a:lnTo>
                      <a:pt x="1028" y="467"/>
                    </a:lnTo>
                    <a:lnTo>
                      <a:pt x="1033" y="470"/>
                    </a:lnTo>
                    <a:lnTo>
                      <a:pt x="1035" y="478"/>
                    </a:lnTo>
                    <a:lnTo>
                      <a:pt x="1020" y="488"/>
                    </a:lnTo>
                    <a:lnTo>
                      <a:pt x="1020" y="486"/>
                    </a:lnTo>
                    <a:lnTo>
                      <a:pt x="1010" y="470"/>
                    </a:lnTo>
                    <a:lnTo>
                      <a:pt x="1009" y="470"/>
                    </a:lnTo>
                    <a:lnTo>
                      <a:pt x="1005" y="470"/>
                    </a:lnTo>
                    <a:lnTo>
                      <a:pt x="1003" y="472"/>
                    </a:lnTo>
                    <a:lnTo>
                      <a:pt x="999" y="474"/>
                    </a:lnTo>
                    <a:lnTo>
                      <a:pt x="997" y="476"/>
                    </a:lnTo>
                    <a:lnTo>
                      <a:pt x="999" y="484"/>
                    </a:lnTo>
                    <a:lnTo>
                      <a:pt x="999" y="486"/>
                    </a:lnTo>
                    <a:lnTo>
                      <a:pt x="997" y="486"/>
                    </a:lnTo>
                    <a:lnTo>
                      <a:pt x="993" y="488"/>
                    </a:lnTo>
                    <a:lnTo>
                      <a:pt x="991" y="490"/>
                    </a:lnTo>
                    <a:lnTo>
                      <a:pt x="991" y="492"/>
                    </a:lnTo>
                    <a:lnTo>
                      <a:pt x="1003" y="515"/>
                    </a:lnTo>
                    <a:lnTo>
                      <a:pt x="1020" y="543"/>
                    </a:lnTo>
                    <a:lnTo>
                      <a:pt x="1041" y="566"/>
                    </a:lnTo>
                    <a:lnTo>
                      <a:pt x="1064" y="591"/>
                    </a:lnTo>
                    <a:lnTo>
                      <a:pt x="1080" y="603"/>
                    </a:lnTo>
                    <a:lnTo>
                      <a:pt x="1081" y="603"/>
                    </a:lnTo>
                    <a:lnTo>
                      <a:pt x="1083" y="607"/>
                    </a:lnTo>
                    <a:lnTo>
                      <a:pt x="1081" y="609"/>
                    </a:lnTo>
                    <a:lnTo>
                      <a:pt x="1076" y="609"/>
                    </a:lnTo>
                    <a:lnTo>
                      <a:pt x="1055" y="591"/>
                    </a:lnTo>
                    <a:lnTo>
                      <a:pt x="1037" y="574"/>
                    </a:lnTo>
                    <a:lnTo>
                      <a:pt x="1009" y="540"/>
                    </a:lnTo>
                    <a:lnTo>
                      <a:pt x="985" y="501"/>
                    </a:lnTo>
                    <a:lnTo>
                      <a:pt x="974" y="470"/>
                    </a:lnTo>
                    <a:lnTo>
                      <a:pt x="968" y="455"/>
                    </a:lnTo>
                    <a:lnTo>
                      <a:pt x="962" y="442"/>
                    </a:lnTo>
                    <a:lnTo>
                      <a:pt x="959" y="426"/>
                    </a:lnTo>
                    <a:lnTo>
                      <a:pt x="961" y="420"/>
                    </a:lnTo>
                    <a:lnTo>
                      <a:pt x="966" y="417"/>
                    </a:lnTo>
                    <a:lnTo>
                      <a:pt x="997" y="417"/>
                    </a:lnTo>
                    <a:lnTo>
                      <a:pt x="1003" y="419"/>
                    </a:lnTo>
                    <a:lnTo>
                      <a:pt x="1007" y="420"/>
                    </a:lnTo>
                    <a:lnTo>
                      <a:pt x="1016" y="420"/>
                    </a:lnTo>
                    <a:lnTo>
                      <a:pt x="1018" y="419"/>
                    </a:lnTo>
                    <a:lnTo>
                      <a:pt x="1060" y="419"/>
                    </a:lnTo>
                    <a:lnTo>
                      <a:pt x="1074" y="419"/>
                    </a:lnTo>
                    <a:lnTo>
                      <a:pt x="1091" y="413"/>
                    </a:lnTo>
                    <a:lnTo>
                      <a:pt x="1105" y="403"/>
                    </a:lnTo>
                    <a:lnTo>
                      <a:pt x="1106" y="397"/>
                    </a:lnTo>
                    <a:lnTo>
                      <a:pt x="1112" y="395"/>
                    </a:lnTo>
                    <a:lnTo>
                      <a:pt x="1114" y="394"/>
                    </a:lnTo>
                    <a:lnTo>
                      <a:pt x="1108" y="388"/>
                    </a:lnTo>
                    <a:lnTo>
                      <a:pt x="1105" y="386"/>
                    </a:lnTo>
                    <a:lnTo>
                      <a:pt x="1101" y="380"/>
                    </a:lnTo>
                    <a:lnTo>
                      <a:pt x="1099" y="376"/>
                    </a:lnTo>
                    <a:lnTo>
                      <a:pt x="1097" y="367"/>
                    </a:lnTo>
                    <a:lnTo>
                      <a:pt x="1099" y="359"/>
                    </a:lnTo>
                    <a:lnTo>
                      <a:pt x="1099" y="351"/>
                    </a:lnTo>
                    <a:lnTo>
                      <a:pt x="1114" y="321"/>
                    </a:lnTo>
                    <a:lnTo>
                      <a:pt x="1118" y="313"/>
                    </a:lnTo>
                    <a:lnTo>
                      <a:pt x="1108" y="311"/>
                    </a:lnTo>
                    <a:lnTo>
                      <a:pt x="1097" y="309"/>
                    </a:lnTo>
                    <a:lnTo>
                      <a:pt x="1087" y="313"/>
                    </a:lnTo>
                    <a:lnTo>
                      <a:pt x="1081" y="317"/>
                    </a:lnTo>
                    <a:lnTo>
                      <a:pt x="1074" y="328"/>
                    </a:lnTo>
                    <a:lnTo>
                      <a:pt x="1062" y="342"/>
                    </a:lnTo>
                    <a:lnTo>
                      <a:pt x="1051" y="347"/>
                    </a:lnTo>
                    <a:lnTo>
                      <a:pt x="1037" y="349"/>
                    </a:lnTo>
                    <a:lnTo>
                      <a:pt x="974" y="346"/>
                    </a:lnTo>
                    <a:lnTo>
                      <a:pt x="961" y="346"/>
                    </a:lnTo>
                    <a:lnTo>
                      <a:pt x="943" y="342"/>
                    </a:lnTo>
                    <a:lnTo>
                      <a:pt x="930" y="332"/>
                    </a:lnTo>
                    <a:lnTo>
                      <a:pt x="922" y="321"/>
                    </a:lnTo>
                    <a:lnTo>
                      <a:pt x="905" y="267"/>
                    </a:lnTo>
                    <a:lnTo>
                      <a:pt x="895" y="244"/>
                    </a:lnTo>
                    <a:lnTo>
                      <a:pt x="891" y="226"/>
                    </a:lnTo>
                    <a:lnTo>
                      <a:pt x="891" y="211"/>
                    </a:lnTo>
                    <a:lnTo>
                      <a:pt x="891" y="196"/>
                    </a:lnTo>
                    <a:lnTo>
                      <a:pt x="895" y="184"/>
                    </a:lnTo>
                    <a:lnTo>
                      <a:pt x="905" y="169"/>
                    </a:lnTo>
                    <a:lnTo>
                      <a:pt x="922" y="151"/>
                    </a:lnTo>
                    <a:lnTo>
                      <a:pt x="936" y="138"/>
                    </a:lnTo>
                    <a:lnTo>
                      <a:pt x="949" y="128"/>
                    </a:lnTo>
                    <a:lnTo>
                      <a:pt x="957" y="123"/>
                    </a:lnTo>
                    <a:lnTo>
                      <a:pt x="964" y="121"/>
                    </a:lnTo>
                    <a:lnTo>
                      <a:pt x="974" y="125"/>
                    </a:lnTo>
                    <a:lnTo>
                      <a:pt x="982" y="132"/>
                    </a:lnTo>
                    <a:lnTo>
                      <a:pt x="987" y="134"/>
                    </a:lnTo>
                    <a:lnTo>
                      <a:pt x="989" y="144"/>
                    </a:lnTo>
                    <a:lnTo>
                      <a:pt x="989" y="151"/>
                    </a:lnTo>
                    <a:lnTo>
                      <a:pt x="982" y="148"/>
                    </a:lnTo>
                    <a:lnTo>
                      <a:pt x="982" y="155"/>
                    </a:lnTo>
                    <a:lnTo>
                      <a:pt x="999" y="176"/>
                    </a:lnTo>
                    <a:lnTo>
                      <a:pt x="1005" y="184"/>
                    </a:lnTo>
                    <a:lnTo>
                      <a:pt x="1010" y="186"/>
                    </a:lnTo>
                    <a:lnTo>
                      <a:pt x="1010" y="192"/>
                    </a:lnTo>
                    <a:lnTo>
                      <a:pt x="1014" y="200"/>
                    </a:lnTo>
                    <a:lnTo>
                      <a:pt x="1022" y="209"/>
                    </a:lnTo>
                    <a:lnTo>
                      <a:pt x="1033" y="211"/>
                    </a:lnTo>
                    <a:lnTo>
                      <a:pt x="1047" y="219"/>
                    </a:lnTo>
                    <a:lnTo>
                      <a:pt x="1055" y="223"/>
                    </a:lnTo>
                    <a:lnTo>
                      <a:pt x="1064" y="230"/>
                    </a:lnTo>
                    <a:lnTo>
                      <a:pt x="1066" y="240"/>
                    </a:lnTo>
                    <a:lnTo>
                      <a:pt x="1074" y="249"/>
                    </a:lnTo>
                    <a:lnTo>
                      <a:pt x="1080" y="261"/>
                    </a:lnTo>
                    <a:lnTo>
                      <a:pt x="1085" y="276"/>
                    </a:lnTo>
                    <a:lnTo>
                      <a:pt x="1089" y="288"/>
                    </a:lnTo>
                    <a:lnTo>
                      <a:pt x="1085" y="299"/>
                    </a:lnTo>
                    <a:lnTo>
                      <a:pt x="1097" y="299"/>
                    </a:lnTo>
                    <a:lnTo>
                      <a:pt x="1108" y="297"/>
                    </a:lnTo>
                    <a:lnTo>
                      <a:pt x="1118" y="301"/>
                    </a:lnTo>
                    <a:lnTo>
                      <a:pt x="1126" y="301"/>
                    </a:lnTo>
                    <a:lnTo>
                      <a:pt x="1129" y="297"/>
                    </a:lnTo>
                    <a:lnTo>
                      <a:pt x="1131" y="292"/>
                    </a:lnTo>
                    <a:lnTo>
                      <a:pt x="1129" y="276"/>
                    </a:lnTo>
                    <a:lnTo>
                      <a:pt x="1122" y="255"/>
                    </a:lnTo>
                    <a:lnTo>
                      <a:pt x="1112" y="240"/>
                    </a:lnTo>
                    <a:lnTo>
                      <a:pt x="1110" y="232"/>
                    </a:lnTo>
                    <a:lnTo>
                      <a:pt x="1106" y="224"/>
                    </a:lnTo>
                    <a:lnTo>
                      <a:pt x="1108" y="215"/>
                    </a:lnTo>
                    <a:lnTo>
                      <a:pt x="1105" y="198"/>
                    </a:lnTo>
                    <a:lnTo>
                      <a:pt x="1105" y="180"/>
                    </a:lnTo>
                    <a:lnTo>
                      <a:pt x="1103" y="175"/>
                    </a:lnTo>
                    <a:lnTo>
                      <a:pt x="1105" y="167"/>
                    </a:lnTo>
                    <a:lnTo>
                      <a:pt x="1110" y="163"/>
                    </a:lnTo>
                    <a:lnTo>
                      <a:pt x="1116" y="159"/>
                    </a:lnTo>
                    <a:lnTo>
                      <a:pt x="1126" y="169"/>
                    </a:lnTo>
                    <a:lnTo>
                      <a:pt x="1141" y="171"/>
                    </a:lnTo>
                    <a:lnTo>
                      <a:pt x="1158" y="171"/>
                    </a:lnTo>
                    <a:lnTo>
                      <a:pt x="1170" y="171"/>
                    </a:lnTo>
                    <a:lnTo>
                      <a:pt x="1185" y="175"/>
                    </a:lnTo>
                    <a:lnTo>
                      <a:pt x="1204" y="165"/>
                    </a:lnTo>
                    <a:lnTo>
                      <a:pt x="1218" y="157"/>
                    </a:lnTo>
                    <a:lnTo>
                      <a:pt x="1227" y="148"/>
                    </a:lnTo>
                    <a:lnTo>
                      <a:pt x="1235" y="140"/>
                    </a:lnTo>
                    <a:lnTo>
                      <a:pt x="1239" y="128"/>
                    </a:lnTo>
                    <a:lnTo>
                      <a:pt x="1254" y="111"/>
                    </a:lnTo>
                    <a:lnTo>
                      <a:pt x="1252" y="100"/>
                    </a:lnTo>
                    <a:lnTo>
                      <a:pt x="1268" y="103"/>
                    </a:lnTo>
                    <a:lnTo>
                      <a:pt x="1277" y="111"/>
                    </a:lnTo>
                    <a:lnTo>
                      <a:pt x="1285" y="117"/>
                    </a:lnTo>
                    <a:lnTo>
                      <a:pt x="1297" y="117"/>
                    </a:lnTo>
                    <a:lnTo>
                      <a:pt x="1300" y="123"/>
                    </a:lnTo>
                    <a:lnTo>
                      <a:pt x="1304" y="117"/>
                    </a:lnTo>
                    <a:lnTo>
                      <a:pt x="1316" y="119"/>
                    </a:lnTo>
                    <a:lnTo>
                      <a:pt x="1325" y="121"/>
                    </a:lnTo>
                    <a:lnTo>
                      <a:pt x="1333" y="128"/>
                    </a:lnTo>
                    <a:lnTo>
                      <a:pt x="1343" y="128"/>
                    </a:lnTo>
                    <a:lnTo>
                      <a:pt x="1356" y="136"/>
                    </a:lnTo>
                    <a:lnTo>
                      <a:pt x="1360" y="127"/>
                    </a:lnTo>
                    <a:lnTo>
                      <a:pt x="1373" y="121"/>
                    </a:lnTo>
                    <a:lnTo>
                      <a:pt x="1381" y="113"/>
                    </a:lnTo>
                    <a:lnTo>
                      <a:pt x="1381" y="105"/>
                    </a:lnTo>
                    <a:lnTo>
                      <a:pt x="1393" y="96"/>
                    </a:lnTo>
                    <a:lnTo>
                      <a:pt x="1414" y="96"/>
                    </a:lnTo>
                    <a:lnTo>
                      <a:pt x="1429" y="98"/>
                    </a:lnTo>
                    <a:lnTo>
                      <a:pt x="1439" y="103"/>
                    </a:lnTo>
                    <a:lnTo>
                      <a:pt x="1467" y="115"/>
                    </a:lnTo>
                    <a:lnTo>
                      <a:pt x="1490" y="127"/>
                    </a:lnTo>
                    <a:lnTo>
                      <a:pt x="1512" y="136"/>
                    </a:lnTo>
                    <a:close/>
                    <a:moveTo>
                      <a:pt x="85" y="138"/>
                    </a:moveTo>
                    <a:lnTo>
                      <a:pt x="97" y="144"/>
                    </a:lnTo>
                    <a:lnTo>
                      <a:pt x="104" y="144"/>
                    </a:lnTo>
                    <a:lnTo>
                      <a:pt x="114" y="151"/>
                    </a:lnTo>
                    <a:lnTo>
                      <a:pt x="129" y="153"/>
                    </a:lnTo>
                    <a:lnTo>
                      <a:pt x="200" y="184"/>
                    </a:lnTo>
                    <a:lnTo>
                      <a:pt x="208" y="180"/>
                    </a:lnTo>
                    <a:lnTo>
                      <a:pt x="229" y="194"/>
                    </a:lnTo>
                    <a:lnTo>
                      <a:pt x="235" y="194"/>
                    </a:lnTo>
                    <a:lnTo>
                      <a:pt x="246" y="205"/>
                    </a:lnTo>
                    <a:lnTo>
                      <a:pt x="246" y="219"/>
                    </a:lnTo>
                    <a:lnTo>
                      <a:pt x="265" y="226"/>
                    </a:lnTo>
                    <a:lnTo>
                      <a:pt x="294" y="234"/>
                    </a:lnTo>
                    <a:lnTo>
                      <a:pt x="308" y="230"/>
                    </a:lnTo>
                    <a:lnTo>
                      <a:pt x="317" y="234"/>
                    </a:lnTo>
                    <a:lnTo>
                      <a:pt x="319" y="242"/>
                    </a:lnTo>
                    <a:lnTo>
                      <a:pt x="329" y="244"/>
                    </a:lnTo>
                    <a:lnTo>
                      <a:pt x="329" y="249"/>
                    </a:lnTo>
                    <a:lnTo>
                      <a:pt x="383" y="251"/>
                    </a:lnTo>
                    <a:lnTo>
                      <a:pt x="402" y="240"/>
                    </a:lnTo>
                    <a:lnTo>
                      <a:pt x="425" y="236"/>
                    </a:lnTo>
                    <a:lnTo>
                      <a:pt x="446" y="232"/>
                    </a:lnTo>
                    <a:lnTo>
                      <a:pt x="452" y="230"/>
                    </a:lnTo>
                    <a:lnTo>
                      <a:pt x="463" y="234"/>
                    </a:lnTo>
                    <a:lnTo>
                      <a:pt x="479" y="226"/>
                    </a:lnTo>
                    <a:lnTo>
                      <a:pt x="482" y="230"/>
                    </a:lnTo>
                    <a:lnTo>
                      <a:pt x="494" y="232"/>
                    </a:lnTo>
                    <a:lnTo>
                      <a:pt x="502" y="232"/>
                    </a:lnTo>
                    <a:lnTo>
                      <a:pt x="511" y="234"/>
                    </a:lnTo>
                    <a:lnTo>
                      <a:pt x="517" y="242"/>
                    </a:lnTo>
                    <a:lnTo>
                      <a:pt x="523" y="244"/>
                    </a:lnTo>
                    <a:lnTo>
                      <a:pt x="527" y="244"/>
                    </a:lnTo>
                    <a:lnTo>
                      <a:pt x="532" y="240"/>
                    </a:lnTo>
                    <a:lnTo>
                      <a:pt x="542" y="244"/>
                    </a:lnTo>
                    <a:lnTo>
                      <a:pt x="546" y="244"/>
                    </a:lnTo>
                    <a:lnTo>
                      <a:pt x="552" y="248"/>
                    </a:lnTo>
                    <a:lnTo>
                      <a:pt x="565" y="251"/>
                    </a:lnTo>
                    <a:lnTo>
                      <a:pt x="573" y="253"/>
                    </a:lnTo>
                    <a:lnTo>
                      <a:pt x="582" y="246"/>
                    </a:lnTo>
                    <a:lnTo>
                      <a:pt x="598" y="244"/>
                    </a:lnTo>
                    <a:lnTo>
                      <a:pt x="603" y="249"/>
                    </a:lnTo>
                    <a:lnTo>
                      <a:pt x="611" y="249"/>
                    </a:lnTo>
                    <a:lnTo>
                      <a:pt x="623" y="242"/>
                    </a:lnTo>
                    <a:lnTo>
                      <a:pt x="632" y="242"/>
                    </a:lnTo>
                    <a:lnTo>
                      <a:pt x="642" y="234"/>
                    </a:lnTo>
                    <a:lnTo>
                      <a:pt x="649" y="242"/>
                    </a:lnTo>
                    <a:lnTo>
                      <a:pt x="655" y="244"/>
                    </a:lnTo>
                    <a:lnTo>
                      <a:pt x="661" y="240"/>
                    </a:lnTo>
                    <a:lnTo>
                      <a:pt x="684" y="246"/>
                    </a:lnTo>
                    <a:lnTo>
                      <a:pt x="701" y="259"/>
                    </a:lnTo>
                    <a:lnTo>
                      <a:pt x="703" y="265"/>
                    </a:lnTo>
                    <a:lnTo>
                      <a:pt x="703" y="273"/>
                    </a:lnTo>
                    <a:lnTo>
                      <a:pt x="709" y="278"/>
                    </a:lnTo>
                    <a:lnTo>
                      <a:pt x="703" y="288"/>
                    </a:lnTo>
                    <a:lnTo>
                      <a:pt x="701" y="301"/>
                    </a:lnTo>
                    <a:lnTo>
                      <a:pt x="697" y="313"/>
                    </a:lnTo>
                    <a:lnTo>
                      <a:pt x="692" y="321"/>
                    </a:lnTo>
                    <a:lnTo>
                      <a:pt x="696" y="328"/>
                    </a:lnTo>
                    <a:lnTo>
                      <a:pt x="694" y="338"/>
                    </a:lnTo>
                    <a:lnTo>
                      <a:pt x="703" y="340"/>
                    </a:lnTo>
                    <a:lnTo>
                      <a:pt x="711" y="351"/>
                    </a:lnTo>
                    <a:lnTo>
                      <a:pt x="705" y="357"/>
                    </a:lnTo>
                    <a:lnTo>
                      <a:pt x="697" y="351"/>
                    </a:lnTo>
                    <a:lnTo>
                      <a:pt x="692" y="355"/>
                    </a:lnTo>
                    <a:lnTo>
                      <a:pt x="686" y="353"/>
                    </a:lnTo>
                    <a:lnTo>
                      <a:pt x="678" y="353"/>
                    </a:lnTo>
                    <a:lnTo>
                      <a:pt x="674" y="361"/>
                    </a:lnTo>
                    <a:lnTo>
                      <a:pt x="661" y="359"/>
                    </a:lnTo>
                    <a:lnTo>
                      <a:pt x="646" y="359"/>
                    </a:lnTo>
                    <a:lnTo>
                      <a:pt x="634" y="363"/>
                    </a:lnTo>
                    <a:lnTo>
                      <a:pt x="623" y="367"/>
                    </a:lnTo>
                    <a:lnTo>
                      <a:pt x="617" y="361"/>
                    </a:lnTo>
                    <a:lnTo>
                      <a:pt x="609" y="359"/>
                    </a:lnTo>
                    <a:lnTo>
                      <a:pt x="598" y="363"/>
                    </a:lnTo>
                    <a:lnTo>
                      <a:pt x="586" y="363"/>
                    </a:lnTo>
                    <a:lnTo>
                      <a:pt x="565" y="365"/>
                    </a:lnTo>
                    <a:lnTo>
                      <a:pt x="546" y="369"/>
                    </a:lnTo>
                    <a:lnTo>
                      <a:pt x="530" y="376"/>
                    </a:lnTo>
                    <a:lnTo>
                      <a:pt x="521" y="386"/>
                    </a:lnTo>
                    <a:lnTo>
                      <a:pt x="517" y="395"/>
                    </a:lnTo>
                    <a:lnTo>
                      <a:pt x="509" y="405"/>
                    </a:lnTo>
                    <a:lnTo>
                      <a:pt x="502" y="403"/>
                    </a:lnTo>
                    <a:lnTo>
                      <a:pt x="482" y="417"/>
                    </a:lnTo>
                    <a:lnTo>
                      <a:pt x="467" y="413"/>
                    </a:lnTo>
                    <a:lnTo>
                      <a:pt x="456" y="424"/>
                    </a:lnTo>
                    <a:lnTo>
                      <a:pt x="442" y="430"/>
                    </a:lnTo>
                    <a:lnTo>
                      <a:pt x="419" y="428"/>
                    </a:lnTo>
                    <a:lnTo>
                      <a:pt x="390" y="440"/>
                    </a:lnTo>
                    <a:lnTo>
                      <a:pt x="361" y="443"/>
                    </a:lnTo>
                    <a:lnTo>
                      <a:pt x="352" y="442"/>
                    </a:lnTo>
                    <a:lnTo>
                      <a:pt x="346" y="445"/>
                    </a:lnTo>
                    <a:lnTo>
                      <a:pt x="335" y="422"/>
                    </a:lnTo>
                    <a:lnTo>
                      <a:pt x="319" y="409"/>
                    </a:lnTo>
                    <a:lnTo>
                      <a:pt x="312" y="395"/>
                    </a:lnTo>
                    <a:lnTo>
                      <a:pt x="296" y="380"/>
                    </a:lnTo>
                    <a:lnTo>
                      <a:pt x="290" y="376"/>
                    </a:lnTo>
                    <a:lnTo>
                      <a:pt x="285" y="374"/>
                    </a:lnTo>
                    <a:lnTo>
                      <a:pt x="275" y="378"/>
                    </a:lnTo>
                    <a:lnTo>
                      <a:pt x="267" y="376"/>
                    </a:lnTo>
                    <a:lnTo>
                      <a:pt x="260" y="370"/>
                    </a:lnTo>
                    <a:lnTo>
                      <a:pt x="250" y="357"/>
                    </a:lnTo>
                    <a:lnTo>
                      <a:pt x="244" y="346"/>
                    </a:lnTo>
                    <a:lnTo>
                      <a:pt x="241" y="336"/>
                    </a:lnTo>
                    <a:lnTo>
                      <a:pt x="229" y="334"/>
                    </a:lnTo>
                    <a:lnTo>
                      <a:pt x="216" y="328"/>
                    </a:lnTo>
                    <a:lnTo>
                      <a:pt x="208" y="319"/>
                    </a:lnTo>
                    <a:lnTo>
                      <a:pt x="196" y="321"/>
                    </a:lnTo>
                    <a:lnTo>
                      <a:pt x="187" y="313"/>
                    </a:lnTo>
                    <a:lnTo>
                      <a:pt x="175" y="307"/>
                    </a:lnTo>
                    <a:lnTo>
                      <a:pt x="160" y="301"/>
                    </a:lnTo>
                    <a:lnTo>
                      <a:pt x="160" y="296"/>
                    </a:lnTo>
                    <a:lnTo>
                      <a:pt x="150" y="286"/>
                    </a:lnTo>
                    <a:lnTo>
                      <a:pt x="141" y="280"/>
                    </a:lnTo>
                    <a:lnTo>
                      <a:pt x="131" y="278"/>
                    </a:lnTo>
                    <a:lnTo>
                      <a:pt x="120" y="274"/>
                    </a:lnTo>
                    <a:lnTo>
                      <a:pt x="104" y="273"/>
                    </a:lnTo>
                    <a:lnTo>
                      <a:pt x="89" y="271"/>
                    </a:lnTo>
                    <a:lnTo>
                      <a:pt x="85" y="265"/>
                    </a:lnTo>
                    <a:lnTo>
                      <a:pt x="81" y="251"/>
                    </a:lnTo>
                    <a:lnTo>
                      <a:pt x="77" y="249"/>
                    </a:lnTo>
                    <a:lnTo>
                      <a:pt x="66" y="251"/>
                    </a:lnTo>
                    <a:lnTo>
                      <a:pt x="52" y="255"/>
                    </a:lnTo>
                    <a:lnTo>
                      <a:pt x="43" y="246"/>
                    </a:lnTo>
                    <a:lnTo>
                      <a:pt x="31" y="240"/>
                    </a:lnTo>
                    <a:lnTo>
                      <a:pt x="14" y="213"/>
                    </a:lnTo>
                    <a:lnTo>
                      <a:pt x="10" y="207"/>
                    </a:lnTo>
                    <a:lnTo>
                      <a:pt x="0" y="198"/>
                    </a:lnTo>
                    <a:lnTo>
                      <a:pt x="6" y="192"/>
                    </a:lnTo>
                    <a:lnTo>
                      <a:pt x="4" y="184"/>
                    </a:lnTo>
                    <a:lnTo>
                      <a:pt x="22" y="182"/>
                    </a:lnTo>
                    <a:lnTo>
                      <a:pt x="37" y="176"/>
                    </a:lnTo>
                    <a:lnTo>
                      <a:pt x="43" y="169"/>
                    </a:lnTo>
                    <a:lnTo>
                      <a:pt x="49" y="155"/>
                    </a:lnTo>
                    <a:lnTo>
                      <a:pt x="58" y="157"/>
                    </a:lnTo>
                    <a:lnTo>
                      <a:pt x="66" y="153"/>
                    </a:lnTo>
                    <a:lnTo>
                      <a:pt x="72" y="155"/>
                    </a:lnTo>
                    <a:lnTo>
                      <a:pt x="75" y="144"/>
                    </a:lnTo>
                    <a:lnTo>
                      <a:pt x="85" y="138"/>
                    </a:lnTo>
                    <a:close/>
                    <a:moveTo>
                      <a:pt x="1270" y="17"/>
                    </a:moveTo>
                    <a:lnTo>
                      <a:pt x="1285" y="46"/>
                    </a:lnTo>
                    <a:lnTo>
                      <a:pt x="1297" y="59"/>
                    </a:lnTo>
                    <a:lnTo>
                      <a:pt x="1314" y="65"/>
                    </a:lnTo>
                    <a:lnTo>
                      <a:pt x="1369" y="75"/>
                    </a:lnTo>
                    <a:lnTo>
                      <a:pt x="1383" y="84"/>
                    </a:lnTo>
                    <a:lnTo>
                      <a:pt x="1377" y="92"/>
                    </a:lnTo>
                    <a:lnTo>
                      <a:pt x="1369" y="92"/>
                    </a:lnTo>
                    <a:lnTo>
                      <a:pt x="1366" y="84"/>
                    </a:lnTo>
                    <a:lnTo>
                      <a:pt x="1354" y="82"/>
                    </a:lnTo>
                    <a:lnTo>
                      <a:pt x="1337" y="80"/>
                    </a:lnTo>
                    <a:lnTo>
                      <a:pt x="1321" y="80"/>
                    </a:lnTo>
                    <a:lnTo>
                      <a:pt x="1310" y="80"/>
                    </a:lnTo>
                    <a:lnTo>
                      <a:pt x="1297" y="77"/>
                    </a:lnTo>
                    <a:lnTo>
                      <a:pt x="1283" y="59"/>
                    </a:lnTo>
                    <a:lnTo>
                      <a:pt x="1270" y="59"/>
                    </a:lnTo>
                    <a:lnTo>
                      <a:pt x="1212" y="65"/>
                    </a:lnTo>
                    <a:lnTo>
                      <a:pt x="1206" y="61"/>
                    </a:lnTo>
                    <a:lnTo>
                      <a:pt x="1204" y="50"/>
                    </a:lnTo>
                    <a:lnTo>
                      <a:pt x="1201" y="40"/>
                    </a:lnTo>
                    <a:lnTo>
                      <a:pt x="1193" y="40"/>
                    </a:lnTo>
                    <a:lnTo>
                      <a:pt x="1176" y="44"/>
                    </a:lnTo>
                    <a:lnTo>
                      <a:pt x="1153" y="50"/>
                    </a:lnTo>
                    <a:lnTo>
                      <a:pt x="1128" y="55"/>
                    </a:lnTo>
                    <a:lnTo>
                      <a:pt x="1122" y="57"/>
                    </a:lnTo>
                    <a:lnTo>
                      <a:pt x="1091" y="65"/>
                    </a:lnTo>
                    <a:lnTo>
                      <a:pt x="1085" y="63"/>
                    </a:lnTo>
                    <a:lnTo>
                      <a:pt x="1081" y="65"/>
                    </a:lnTo>
                    <a:lnTo>
                      <a:pt x="1066" y="65"/>
                    </a:lnTo>
                    <a:lnTo>
                      <a:pt x="1055" y="59"/>
                    </a:lnTo>
                    <a:lnTo>
                      <a:pt x="1045" y="59"/>
                    </a:lnTo>
                    <a:lnTo>
                      <a:pt x="1035" y="65"/>
                    </a:lnTo>
                    <a:lnTo>
                      <a:pt x="1020" y="77"/>
                    </a:lnTo>
                    <a:lnTo>
                      <a:pt x="1018" y="82"/>
                    </a:lnTo>
                    <a:lnTo>
                      <a:pt x="1012" y="82"/>
                    </a:lnTo>
                    <a:lnTo>
                      <a:pt x="1007" y="84"/>
                    </a:lnTo>
                    <a:lnTo>
                      <a:pt x="1003" y="82"/>
                    </a:lnTo>
                    <a:lnTo>
                      <a:pt x="1007" y="78"/>
                    </a:lnTo>
                    <a:lnTo>
                      <a:pt x="1009" y="75"/>
                    </a:lnTo>
                    <a:lnTo>
                      <a:pt x="1010" y="71"/>
                    </a:lnTo>
                    <a:lnTo>
                      <a:pt x="1032" y="54"/>
                    </a:lnTo>
                    <a:lnTo>
                      <a:pt x="1045" y="44"/>
                    </a:lnTo>
                    <a:lnTo>
                      <a:pt x="1062" y="38"/>
                    </a:lnTo>
                    <a:lnTo>
                      <a:pt x="1116" y="23"/>
                    </a:lnTo>
                    <a:lnTo>
                      <a:pt x="1170" y="7"/>
                    </a:lnTo>
                    <a:lnTo>
                      <a:pt x="1212" y="0"/>
                    </a:lnTo>
                    <a:lnTo>
                      <a:pt x="1245" y="2"/>
                    </a:lnTo>
                    <a:lnTo>
                      <a:pt x="1260" y="7"/>
                    </a:lnTo>
                    <a:lnTo>
                      <a:pt x="1270" y="17"/>
                    </a:lnTo>
                    <a:close/>
                    <a:moveTo>
                      <a:pt x="1289" y="770"/>
                    </a:moveTo>
                    <a:lnTo>
                      <a:pt x="1281" y="782"/>
                    </a:lnTo>
                    <a:lnTo>
                      <a:pt x="1254" y="760"/>
                    </a:lnTo>
                    <a:lnTo>
                      <a:pt x="1156" y="676"/>
                    </a:lnTo>
                    <a:lnTo>
                      <a:pt x="1156" y="670"/>
                    </a:lnTo>
                    <a:lnTo>
                      <a:pt x="1156" y="662"/>
                    </a:lnTo>
                    <a:lnTo>
                      <a:pt x="1162" y="657"/>
                    </a:lnTo>
                    <a:lnTo>
                      <a:pt x="1166" y="662"/>
                    </a:lnTo>
                    <a:lnTo>
                      <a:pt x="1168" y="668"/>
                    </a:lnTo>
                    <a:lnTo>
                      <a:pt x="1172" y="674"/>
                    </a:lnTo>
                    <a:lnTo>
                      <a:pt x="1183" y="684"/>
                    </a:lnTo>
                    <a:lnTo>
                      <a:pt x="1197" y="695"/>
                    </a:lnTo>
                    <a:lnTo>
                      <a:pt x="1222" y="711"/>
                    </a:lnTo>
                    <a:lnTo>
                      <a:pt x="1227" y="718"/>
                    </a:lnTo>
                    <a:lnTo>
                      <a:pt x="1235" y="728"/>
                    </a:lnTo>
                    <a:lnTo>
                      <a:pt x="1241" y="732"/>
                    </a:lnTo>
                    <a:lnTo>
                      <a:pt x="1277" y="760"/>
                    </a:lnTo>
                    <a:lnTo>
                      <a:pt x="1289" y="770"/>
                    </a:lnTo>
                    <a:close/>
                    <a:moveTo>
                      <a:pt x="296" y="442"/>
                    </a:moveTo>
                    <a:lnTo>
                      <a:pt x="285" y="442"/>
                    </a:lnTo>
                    <a:lnTo>
                      <a:pt x="277" y="436"/>
                    </a:lnTo>
                    <a:lnTo>
                      <a:pt x="265" y="422"/>
                    </a:lnTo>
                    <a:lnTo>
                      <a:pt x="254" y="415"/>
                    </a:lnTo>
                    <a:lnTo>
                      <a:pt x="244" y="405"/>
                    </a:lnTo>
                    <a:lnTo>
                      <a:pt x="242" y="394"/>
                    </a:lnTo>
                    <a:lnTo>
                      <a:pt x="206" y="355"/>
                    </a:lnTo>
                    <a:lnTo>
                      <a:pt x="216" y="353"/>
                    </a:lnTo>
                    <a:lnTo>
                      <a:pt x="225" y="357"/>
                    </a:lnTo>
                    <a:lnTo>
                      <a:pt x="233" y="365"/>
                    </a:lnTo>
                    <a:lnTo>
                      <a:pt x="239" y="378"/>
                    </a:lnTo>
                    <a:lnTo>
                      <a:pt x="248" y="390"/>
                    </a:lnTo>
                    <a:lnTo>
                      <a:pt x="267" y="397"/>
                    </a:lnTo>
                    <a:lnTo>
                      <a:pt x="283" y="405"/>
                    </a:lnTo>
                    <a:lnTo>
                      <a:pt x="298" y="417"/>
                    </a:lnTo>
                    <a:lnTo>
                      <a:pt x="302" y="432"/>
                    </a:lnTo>
                    <a:lnTo>
                      <a:pt x="296" y="442"/>
                    </a:lnTo>
                    <a:close/>
                    <a:moveTo>
                      <a:pt x="1085" y="516"/>
                    </a:moveTo>
                    <a:lnTo>
                      <a:pt x="1093" y="522"/>
                    </a:lnTo>
                    <a:lnTo>
                      <a:pt x="1097" y="528"/>
                    </a:lnTo>
                    <a:lnTo>
                      <a:pt x="1099" y="532"/>
                    </a:lnTo>
                    <a:lnTo>
                      <a:pt x="1097" y="538"/>
                    </a:lnTo>
                    <a:lnTo>
                      <a:pt x="1093" y="541"/>
                    </a:lnTo>
                    <a:lnTo>
                      <a:pt x="1087" y="545"/>
                    </a:lnTo>
                    <a:lnTo>
                      <a:pt x="1085" y="549"/>
                    </a:lnTo>
                    <a:lnTo>
                      <a:pt x="1087" y="553"/>
                    </a:lnTo>
                    <a:lnTo>
                      <a:pt x="1093" y="555"/>
                    </a:lnTo>
                    <a:lnTo>
                      <a:pt x="1097" y="559"/>
                    </a:lnTo>
                    <a:lnTo>
                      <a:pt x="1099" y="568"/>
                    </a:lnTo>
                    <a:lnTo>
                      <a:pt x="1095" y="570"/>
                    </a:lnTo>
                    <a:lnTo>
                      <a:pt x="1091" y="574"/>
                    </a:lnTo>
                    <a:lnTo>
                      <a:pt x="1089" y="572"/>
                    </a:lnTo>
                    <a:lnTo>
                      <a:pt x="1087" y="570"/>
                    </a:lnTo>
                    <a:lnTo>
                      <a:pt x="1087" y="568"/>
                    </a:lnTo>
                    <a:lnTo>
                      <a:pt x="1085" y="566"/>
                    </a:lnTo>
                    <a:lnTo>
                      <a:pt x="1078" y="566"/>
                    </a:lnTo>
                    <a:lnTo>
                      <a:pt x="1076" y="561"/>
                    </a:lnTo>
                    <a:lnTo>
                      <a:pt x="1070" y="553"/>
                    </a:lnTo>
                    <a:lnTo>
                      <a:pt x="1070" y="551"/>
                    </a:lnTo>
                    <a:lnTo>
                      <a:pt x="1074" y="549"/>
                    </a:lnTo>
                    <a:lnTo>
                      <a:pt x="1074" y="547"/>
                    </a:lnTo>
                    <a:lnTo>
                      <a:pt x="1078" y="541"/>
                    </a:lnTo>
                    <a:lnTo>
                      <a:pt x="1081" y="540"/>
                    </a:lnTo>
                    <a:lnTo>
                      <a:pt x="1087" y="534"/>
                    </a:lnTo>
                    <a:lnTo>
                      <a:pt x="1087" y="532"/>
                    </a:lnTo>
                    <a:lnTo>
                      <a:pt x="1087" y="530"/>
                    </a:lnTo>
                    <a:lnTo>
                      <a:pt x="1083" y="528"/>
                    </a:lnTo>
                    <a:lnTo>
                      <a:pt x="1083" y="526"/>
                    </a:lnTo>
                    <a:lnTo>
                      <a:pt x="1081" y="520"/>
                    </a:lnTo>
                    <a:lnTo>
                      <a:pt x="1078" y="518"/>
                    </a:lnTo>
                    <a:lnTo>
                      <a:pt x="1083" y="513"/>
                    </a:lnTo>
                    <a:lnTo>
                      <a:pt x="1085" y="516"/>
                    </a:lnTo>
                    <a:close/>
                    <a:moveTo>
                      <a:pt x="1043" y="497"/>
                    </a:moveTo>
                    <a:lnTo>
                      <a:pt x="1041" y="503"/>
                    </a:lnTo>
                    <a:lnTo>
                      <a:pt x="1035" y="499"/>
                    </a:lnTo>
                    <a:lnTo>
                      <a:pt x="1049" y="488"/>
                    </a:lnTo>
                    <a:lnTo>
                      <a:pt x="1049" y="492"/>
                    </a:lnTo>
                    <a:lnTo>
                      <a:pt x="1049" y="495"/>
                    </a:lnTo>
                    <a:lnTo>
                      <a:pt x="1043" y="497"/>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63" name="Freeform 51">
                <a:extLst>
                  <a:ext uri="{FF2B5EF4-FFF2-40B4-BE49-F238E27FC236}">
                    <a16:creationId xmlns:a16="http://schemas.microsoft.com/office/drawing/2014/main" id="{718C0C8F-9AF8-414C-9009-26FDD089776C}"/>
                  </a:ext>
                </a:extLst>
              </p:cNvPr>
              <p:cNvSpPr>
                <a:spLocks/>
              </p:cNvSpPr>
              <p:nvPr/>
            </p:nvSpPr>
            <p:spPr bwMode="gray">
              <a:xfrm>
                <a:off x="6010502" y="2872871"/>
                <a:ext cx="832312" cy="1011631"/>
              </a:xfrm>
              <a:custGeom>
                <a:avLst/>
                <a:gdLst>
                  <a:gd name="T0" fmla="*/ 738 w 738"/>
                  <a:gd name="T1" fmla="*/ 351 h 897"/>
                  <a:gd name="T2" fmla="*/ 720 w 738"/>
                  <a:gd name="T3" fmla="*/ 386 h 897"/>
                  <a:gd name="T4" fmla="*/ 644 w 738"/>
                  <a:gd name="T5" fmla="*/ 599 h 897"/>
                  <a:gd name="T6" fmla="*/ 592 w 738"/>
                  <a:gd name="T7" fmla="*/ 722 h 897"/>
                  <a:gd name="T8" fmla="*/ 538 w 738"/>
                  <a:gd name="T9" fmla="*/ 837 h 897"/>
                  <a:gd name="T10" fmla="*/ 492 w 738"/>
                  <a:gd name="T11" fmla="*/ 845 h 897"/>
                  <a:gd name="T12" fmla="*/ 436 w 738"/>
                  <a:gd name="T13" fmla="*/ 885 h 897"/>
                  <a:gd name="T14" fmla="*/ 392 w 738"/>
                  <a:gd name="T15" fmla="*/ 897 h 897"/>
                  <a:gd name="T16" fmla="*/ 283 w 738"/>
                  <a:gd name="T17" fmla="*/ 855 h 897"/>
                  <a:gd name="T18" fmla="*/ 223 w 738"/>
                  <a:gd name="T19" fmla="*/ 866 h 897"/>
                  <a:gd name="T20" fmla="*/ 212 w 738"/>
                  <a:gd name="T21" fmla="*/ 826 h 897"/>
                  <a:gd name="T22" fmla="*/ 221 w 738"/>
                  <a:gd name="T23" fmla="*/ 801 h 897"/>
                  <a:gd name="T24" fmla="*/ 177 w 738"/>
                  <a:gd name="T25" fmla="*/ 782 h 897"/>
                  <a:gd name="T26" fmla="*/ 166 w 738"/>
                  <a:gd name="T27" fmla="*/ 766 h 897"/>
                  <a:gd name="T28" fmla="*/ 171 w 738"/>
                  <a:gd name="T29" fmla="*/ 749 h 897"/>
                  <a:gd name="T30" fmla="*/ 181 w 738"/>
                  <a:gd name="T31" fmla="*/ 718 h 897"/>
                  <a:gd name="T32" fmla="*/ 219 w 738"/>
                  <a:gd name="T33" fmla="*/ 632 h 897"/>
                  <a:gd name="T34" fmla="*/ 169 w 738"/>
                  <a:gd name="T35" fmla="*/ 609 h 897"/>
                  <a:gd name="T36" fmla="*/ 71 w 738"/>
                  <a:gd name="T37" fmla="*/ 565 h 897"/>
                  <a:gd name="T38" fmla="*/ 20 w 738"/>
                  <a:gd name="T39" fmla="*/ 488 h 897"/>
                  <a:gd name="T40" fmla="*/ 0 w 738"/>
                  <a:gd name="T41" fmla="*/ 438 h 897"/>
                  <a:gd name="T42" fmla="*/ 31 w 738"/>
                  <a:gd name="T43" fmla="*/ 428 h 897"/>
                  <a:gd name="T44" fmla="*/ 41 w 738"/>
                  <a:gd name="T45" fmla="*/ 422 h 897"/>
                  <a:gd name="T46" fmla="*/ 48 w 738"/>
                  <a:gd name="T47" fmla="*/ 405 h 897"/>
                  <a:gd name="T48" fmla="*/ 64 w 738"/>
                  <a:gd name="T49" fmla="*/ 361 h 897"/>
                  <a:gd name="T50" fmla="*/ 93 w 738"/>
                  <a:gd name="T51" fmla="*/ 336 h 897"/>
                  <a:gd name="T52" fmla="*/ 112 w 738"/>
                  <a:gd name="T53" fmla="*/ 326 h 897"/>
                  <a:gd name="T54" fmla="*/ 125 w 738"/>
                  <a:gd name="T55" fmla="*/ 286 h 897"/>
                  <a:gd name="T56" fmla="*/ 166 w 738"/>
                  <a:gd name="T57" fmla="*/ 250 h 897"/>
                  <a:gd name="T58" fmla="*/ 167 w 738"/>
                  <a:gd name="T59" fmla="*/ 232 h 897"/>
                  <a:gd name="T60" fmla="*/ 150 w 738"/>
                  <a:gd name="T61" fmla="*/ 223 h 897"/>
                  <a:gd name="T62" fmla="*/ 119 w 738"/>
                  <a:gd name="T63" fmla="*/ 217 h 897"/>
                  <a:gd name="T64" fmla="*/ 146 w 738"/>
                  <a:gd name="T65" fmla="*/ 178 h 897"/>
                  <a:gd name="T66" fmla="*/ 154 w 738"/>
                  <a:gd name="T67" fmla="*/ 161 h 897"/>
                  <a:gd name="T68" fmla="*/ 142 w 738"/>
                  <a:gd name="T69" fmla="*/ 138 h 897"/>
                  <a:gd name="T70" fmla="*/ 102 w 738"/>
                  <a:gd name="T71" fmla="*/ 67 h 897"/>
                  <a:gd name="T72" fmla="*/ 104 w 738"/>
                  <a:gd name="T73" fmla="*/ 52 h 897"/>
                  <a:gd name="T74" fmla="*/ 106 w 738"/>
                  <a:gd name="T75" fmla="*/ 29 h 897"/>
                  <a:gd name="T76" fmla="*/ 179 w 738"/>
                  <a:gd name="T77" fmla="*/ 9 h 897"/>
                  <a:gd name="T78" fmla="*/ 210 w 738"/>
                  <a:gd name="T79" fmla="*/ 9 h 897"/>
                  <a:gd name="T80" fmla="*/ 235 w 738"/>
                  <a:gd name="T81" fmla="*/ 15 h 897"/>
                  <a:gd name="T82" fmla="*/ 258 w 738"/>
                  <a:gd name="T83" fmla="*/ 25 h 897"/>
                  <a:gd name="T84" fmla="*/ 237 w 738"/>
                  <a:gd name="T85" fmla="*/ 7 h 897"/>
                  <a:gd name="T86" fmla="*/ 248 w 738"/>
                  <a:gd name="T87" fmla="*/ 0 h 897"/>
                  <a:gd name="T88" fmla="*/ 286 w 738"/>
                  <a:gd name="T89" fmla="*/ 15 h 897"/>
                  <a:gd name="T90" fmla="*/ 329 w 738"/>
                  <a:gd name="T91" fmla="*/ 32 h 897"/>
                  <a:gd name="T92" fmla="*/ 373 w 738"/>
                  <a:gd name="T93" fmla="*/ 48 h 897"/>
                  <a:gd name="T94" fmla="*/ 392 w 738"/>
                  <a:gd name="T95" fmla="*/ 80 h 897"/>
                  <a:gd name="T96" fmla="*/ 438 w 738"/>
                  <a:gd name="T97" fmla="*/ 180 h 897"/>
                  <a:gd name="T98" fmla="*/ 459 w 738"/>
                  <a:gd name="T99" fmla="*/ 209 h 897"/>
                  <a:gd name="T100" fmla="*/ 482 w 738"/>
                  <a:gd name="T101" fmla="*/ 225 h 897"/>
                  <a:gd name="T102" fmla="*/ 461 w 738"/>
                  <a:gd name="T103" fmla="*/ 228 h 897"/>
                  <a:gd name="T104" fmla="*/ 459 w 738"/>
                  <a:gd name="T105" fmla="*/ 250 h 897"/>
                  <a:gd name="T106" fmla="*/ 486 w 738"/>
                  <a:gd name="T107" fmla="*/ 263 h 897"/>
                  <a:gd name="T108" fmla="*/ 513 w 738"/>
                  <a:gd name="T109" fmla="*/ 255 h 897"/>
                  <a:gd name="T110" fmla="*/ 536 w 738"/>
                  <a:gd name="T111" fmla="*/ 250 h 897"/>
                  <a:gd name="T112" fmla="*/ 538 w 738"/>
                  <a:gd name="T113" fmla="*/ 257 h 897"/>
                  <a:gd name="T114" fmla="*/ 546 w 738"/>
                  <a:gd name="T115" fmla="*/ 267 h 897"/>
                  <a:gd name="T116" fmla="*/ 588 w 738"/>
                  <a:gd name="T117" fmla="*/ 284 h 897"/>
                  <a:gd name="T118" fmla="*/ 598 w 738"/>
                  <a:gd name="T119" fmla="*/ 276 h 897"/>
                  <a:gd name="T120" fmla="*/ 726 w 738"/>
                  <a:gd name="T121" fmla="*/ 348 h 897"/>
                  <a:gd name="T122" fmla="*/ 738 w 738"/>
                  <a:gd name="T123" fmla="*/ 34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38" h="897">
                    <a:moveTo>
                      <a:pt x="738" y="349"/>
                    </a:moveTo>
                    <a:lnTo>
                      <a:pt x="738" y="351"/>
                    </a:lnTo>
                    <a:lnTo>
                      <a:pt x="728" y="380"/>
                    </a:lnTo>
                    <a:lnTo>
                      <a:pt x="720" y="386"/>
                    </a:lnTo>
                    <a:lnTo>
                      <a:pt x="728" y="397"/>
                    </a:lnTo>
                    <a:lnTo>
                      <a:pt x="644" y="599"/>
                    </a:lnTo>
                    <a:lnTo>
                      <a:pt x="624" y="643"/>
                    </a:lnTo>
                    <a:lnTo>
                      <a:pt x="592" y="722"/>
                    </a:lnTo>
                    <a:lnTo>
                      <a:pt x="553" y="818"/>
                    </a:lnTo>
                    <a:lnTo>
                      <a:pt x="538" y="837"/>
                    </a:lnTo>
                    <a:lnTo>
                      <a:pt x="523" y="837"/>
                    </a:lnTo>
                    <a:lnTo>
                      <a:pt x="492" y="845"/>
                    </a:lnTo>
                    <a:lnTo>
                      <a:pt x="463" y="862"/>
                    </a:lnTo>
                    <a:lnTo>
                      <a:pt x="436" y="885"/>
                    </a:lnTo>
                    <a:lnTo>
                      <a:pt x="417" y="893"/>
                    </a:lnTo>
                    <a:lnTo>
                      <a:pt x="392" y="897"/>
                    </a:lnTo>
                    <a:lnTo>
                      <a:pt x="358" y="885"/>
                    </a:lnTo>
                    <a:lnTo>
                      <a:pt x="283" y="855"/>
                    </a:lnTo>
                    <a:lnTo>
                      <a:pt x="217" y="872"/>
                    </a:lnTo>
                    <a:lnTo>
                      <a:pt x="223" y="866"/>
                    </a:lnTo>
                    <a:lnTo>
                      <a:pt x="223" y="855"/>
                    </a:lnTo>
                    <a:lnTo>
                      <a:pt x="212" y="826"/>
                    </a:lnTo>
                    <a:lnTo>
                      <a:pt x="206" y="822"/>
                    </a:lnTo>
                    <a:lnTo>
                      <a:pt x="221" y="801"/>
                    </a:lnTo>
                    <a:lnTo>
                      <a:pt x="192" y="789"/>
                    </a:lnTo>
                    <a:lnTo>
                      <a:pt x="177" y="782"/>
                    </a:lnTo>
                    <a:lnTo>
                      <a:pt x="167" y="774"/>
                    </a:lnTo>
                    <a:lnTo>
                      <a:pt x="166" y="766"/>
                    </a:lnTo>
                    <a:lnTo>
                      <a:pt x="167" y="757"/>
                    </a:lnTo>
                    <a:lnTo>
                      <a:pt x="171" y="749"/>
                    </a:lnTo>
                    <a:lnTo>
                      <a:pt x="179" y="732"/>
                    </a:lnTo>
                    <a:lnTo>
                      <a:pt x="181" y="718"/>
                    </a:lnTo>
                    <a:lnTo>
                      <a:pt x="190" y="697"/>
                    </a:lnTo>
                    <a:lnTo>
                      <a:pt x="219" y="632"/>
                    </a:lnTo>
                    <a:lnTo>
                      <a:pt x="181" y="616"/>
                    </a:lnTo>
                    <a:lnTo>
                      <a:pt x="169" y="609"/>
                    </a:lnTo>
                    <a:lnTo>
                      <a:pt x="85" y="572"/>
                    </a:lnTo>
                    <a:lnTo>
                      <a:pt x="71" y="565"/>
                    </a:lnTo>
                    <a:lnTo>
                      <a:pt x="62" y="553"/>
                    </a:lnTo>
                    <a:lnTo>
                      <a:pt x="20" y="488"/>
                    </a:lnTo>
                    <a:lnTo>
                      <a:pt x="2" y="453"/>
                    </a:lnTo>
                    <a:lnTo>
                      <a:pt x="0" y="438"/>
                    </a:lnTo>
                    <a:lnTo>
                      <a:pt x="18" y="434"/>
                    </a:lnTo>
                    <a:lnTo>
                      <a:pt x="31" y="428"/>
                    </a:lnTo>
                    <a:lnTo>
                      <a:pt x="37" y="424"/>
                    </a:lnTo>
                    <a:lnTo>
                      <a:pt x="41" y="422"/>
                    </a:lnTo>
                    <a:lnTo>
                      <a:pt x="45" y="419"/>
                    </a:lnTo>
                    <a:lnTo>
                      <a:pt x="48" y="405"/>
                    </a:lnTo>
                    <a:lnTo>
                      <a:pt x="56" y="384"/>
                    </a:lnTo>
                    <a:lnTo>
                      <a:pt x="64" y="361"/>
                    </a:lnTo>
                    <a:lnTo>
                      <a:pt x="83" y="340"/>
                    </a:lnTo>
                    <a:lnTo>
                      <a:pt x="93" y="336"/>
                    </a:lnTo>
                    <a:lnTo>
                      <a:pt x="100" y="332"/>
                    </a:lnTo>
                    <a:lnTo>
                      <a:pt x="112" y="326"/>
                    </a:lnTo>
                    <a:lnTo>
                      <a:pt x="123" y="290"/>
                    </a:lnTo>
                    <a:lnTo>
                      <a:pt x="125" y="286"/>
                    </a:lnTo>
                    <a:lnTo>
                      <a:pt x="148" y="267"/>
                    </a:lnTo>
                    <a:lnTo>
                      <a:pt x="166" y="250"/>
                    </a:lnTo>
                    <a:lnTo>
                      <a:pt x="169" y="242"/>
                    </a:lnTo>
                    <a:lnTo>
                      <a:pt x="167" y="232"/>
                    </a:lnTo>
                    <a:lnTo>
                      <a:pt x="160" y="226"/>
                    </a:lnTo>
                    <a:lnTo>
                      <a:pt x="150" y="223"/>
                    </a:lnTo>
                    <a:lnTo>
                      <a:pt x="135" y="221"/>
                    </a:lnTo>
                    <a:lnTo>
                      <a:pt x="119" y="217"/>
                    </a:lnTo>
                    <a:lnTo>
                      <a:pt x="114" y="209"/>
                    </a:lnTo>
                    <a:lnTo>
                      <a:pt x="146" y="178"/>
                    </a:lnTo>
                    <a:lnTo>
                      <a:pt x="152" y="169"/>
                    </a:lnTo>
                    <a:lnTo>
                      <a:pt x="154" y="161"/>
                    </a:lnTo>
                    <a:lnTo>
                      <a:pt x="152" y="155"/>
                    </a:lnTo>
                    <a:lnTo>
                      <a:pt x="142" y="138"/>
                    </a:lnTo>
                    <a:lnTo>
                      <a:pt x="112" y="77"/>
                    </a:lnTo>
                    <a:lnTo>
                      <a:pt x="102" y="67"/>
                    </a:lnTo>
                    <a:lnTo>
                      <a:pt x="106" y="59"/>
                    </a:lnTo>
                    <a:lnTo>
                      <a:pt x="104" y="52"/>
                    </a:lnTo>
                    <a:lnTo>
                      <a:pt x="96" y="48"/>
                    </a:lnTo>
                    <a:lnTo>
                      <a:pt x="106" y="29"/>
                    </a:lnTo>
                    <a:lnTo>
                      <a:pt x="131" y="13"/>
                    </a:lnTo>
                    <a:lnTo>
                      <a:pt x="179" y="9"/>
                    </a:lnTo>
                    <a:lnTo>
                      <a:pt x="189" y="4"/>
                    </a:lnTo>
                    <a:lnTo>
                      <a:pt x="210" y="9"/>
                    </a:lnTo>
                    <a:lnTo>
                      <a:pt x="223" y="7"/>
                    </a:lnTo>
                    <a:lnTo>
                      <a:pt x="235" y="15"/>
                    </a:lnTo>
                    <a:lnTo>
                      <a:pt x="250" y="21"/>
                    </a:lnTo>
                    <a:lnTo>
                      <a:pt x="258" y="25"/>
                    </a:lnTo>
                    <a:lnTo>
                      <a:pt x="250" y="13"/>
                    </a:lnTo>
                    <a:lnTo>
                      <a:pt x="237" y="7"/>
                    </a:lnTo>
                    <a:lnTo>
                      <a:pt x="238" y="2"/>
                    </a:lnTo>
                    <a:lnTo>
                      <a:pt x="248" y="0"/>
                    </a:lnTo>
                    <a:lnTo>
                      <a:pt x="277" y="11"/>
                    </a:lnTo>
                    <a:lnTo>
                      <a:pt x="286" y="15"/>
                    </a:lnTo>
                    <a:lnTo>
                      <a:pt x="317" y="27"/>
                    </a:lnTo>
                    <a:lnTo>
                      <a:pt x="329" y="32"/>
                    </a:lnTo>
                    <a:lnTo>
                      <a:pt x="361" y="42"/>
                    </a:lnTo>
                    <a:lnTo>
                      <a:pt x="373" y="48"/>
                    </a:lnTo>
                    <a:lnTo>
                      <a:pt x="377" y="54"/>
                    </a:lnTo>
                    <a:lnTo>
                      <a:pt x="392" y="80"/>
                    </a:lnTo>
                    <a:lnTo>
                      <a:pt x="402" y="92"/>
                    </a:lnTo>
                    <a:lnTo>
                      <a:pt x="438" y="180"/>
                    </a:lnTo>
                    <a:lnTo>
                      <a:pt x="450" y="200"/>
                    </a:lnTo>
                    <a:lnTo>
                      <a:pt x="459" y="209"/>
                    </a:lnTo>
                    <a:lnTo>
                      <a:pt x="480" y="211"/>
                    </a:lnTo>
                    <a:lnTo>
                      <a:pt x="482" y="225"/>
                    </a:lnTo>
                    <a:lnTo>
                      <a:pt x="477" y="228"/>
                    </a:lnTo>
                    <a:lnTo>
                      <a:pt x="461" y="228"/>
                    </a:lnTo>
                    <a:lnTo>
                      <a:pt x="459" y="234"/>
                    </a:lnTo>
                    <a:lnTo>
                      <a:pt x="459" y="250"/>
                    </a:lnTo>
                    <a:lnTo>
                      <a:pt x="469" y="257"/>
                    </a:lnTo>
                    <a:lnTo>
                      <a:pt x="486" y="263"/>
                    </a:lnTo>
                    <a:lnTo>
                      <a:pt x="502" y="263"/>
                    </a:lnTo>
                    <a:lnTo>
                      <a:pt x="513" y="255"/>
                    </a:lnTo>
                    <a:lnTo>
                      <a:pt x="523" y="250"/>
                    </a:lnTo>
                    <a:lnTo>
                      <a:pt x="536" y="250"/>
                    </a:lnTo>
                    <a:lnTo>
                      <a:pt x="542" y="253"/>
                    </a:lnTo>
                    <a:lnTo>
                      <a:pt x="538" y="257"/>
                    </a:lnTo>
                    <a:lnTo>
                      <a:pt x="540" y="261"/>
                    </a:lnTo>
                    <a:lnTo>
                      <a:pt x="546" y="267"/>
                    </a:lnTo>
                    <a:lnTo>
                      <a:pt x="569" y="276"/>
                    </a:lnTo>
                    <a:lnTo>
                      <a:pt x="588" y="284"/>
                    </a:lnTo>
                    <a:lnTo>
                      <a:pt x="596" y="284"/>
                    </a:lnTo>
                    <a:lnTo>
                      <a:pt x="598" y="276"/>
                    </a:lnTo>
                    <a:lnTo>
                      <a:pt x="686" y="315"/>
                    </a:lnTo>
                    <a:lnTo>
                      <a:pt x="726" y="348"/>
                    </a:lnTo>
                    <a:lnTo>
                      <a:pt x="736" y="349"/>
                    </a:lnTo>
                    <a:lnTo>
                      <a:pt x="738" y="349"/>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64" name="Freeform 52">
                <a:extLst>
                  <a:ext uri="{FF2B5EF4-FFF2-40B4-BE49-F238E27FC236}">
                    <a16:creationId xmlns:a16="http://schemas.microsoft.com/office/drawing/2014/main" id="{7A214980-2FCF-40A4-9901-F8053209D229}"/>
                  </a:ext>
                </a:extLst>
              </p:cNvPr>
              <p:cNvSpPr>
                <a:spLocks/>
              </p:cNvSpPr>
              <p:nvPr/>
            </p:nvSpPr>
            <p:spPr bwMode="gray">
              <a:xfrm>
                <a:off x="6617255" y="3266471"/>
                <a:ext cx="357511" cy="550363"/>
              </a:xfrm>
              <a:custGeom>
                <a:avLst/>
                <a:gdLst>
                  <a:gd name="T0" fmla="*/ 15 w 317"/>
                  <a:gd name="T1" fmla="*/ 469 h 488"/>
                  <a:gd name="T2" fmla="*/ 86 w 317"/>
                  <a:gd name="T3" fmla="*/ 294 h 488"/>
                  <a:gd name="T4" fmla="*/ 190 w 317"/>
                  <a:gd name="T5" fmla="*/ 48 h 488"/>
                  <a:gd name="T6" fmla="*/ 190 w 317"/>
                  <a:gd name="T7" fmla="*/ 31 h 488"/>
                  <a:gd name="T8" fmla="*/ 200 w 317"/>
                  <a:gd name="T9" fmla="*/ 0 h 488"/>
                  <a:gd name="T10" fmla="*/ 296 w 317"/>
                  <a:gd name="T11" fmla="*/ 58 h 488"/>
                  <a:gd name="T12" fmla="*/ 315 w 317"/>
                  <a:gd name="T13" fmla="*/ 77 h 488"/>
                  <a:gd name="T14" fmla="*/ 300 w 317"/>
                  <a:gd name="T15" fmla="*/ 96 h 488"/>
                  <a:gd name="T16" fmla="*/ 286 w 317"/>
                  <a:gd name="T17" fmla="*/ 70 h 488"/>
                  <a:gd name="T18" fmla="*/ 244 w 317"/>
                  <a:gd name="T19" fmla="*/ 45 h 488"/>
                  <a:gd name="T20" fmla="*/ 215 w 317"/>
                  <a:gd name="T21" fmla="*/ 35 h 488"/>
                  <a:gd name="T22" fmla="*/ 194 w 317"/>
                  <a:gd name="T23" fmla="*/ 27 h 488"/>
                  <a:gd name="T24" fmla="*/ 192 w 317"/>
                  <a:gd name="T25" fmla="*/ 37 h 488"/>
                  <a:gd name="T26" fmla="*/ 196 w 317"/>
                  <a:gd name="T27" fmla="*/ 54 h 488"/>
                  <a:gd name="T28" fmla="*/ 192 w 317"/>
                  <a:gd name="T29" fmla="*/ 72 h 488"/>
                  <a:gd name="T30" fmla="*/ 198 w 317"/>
                  <a:gd name="T31" fmla="*/ 85 h 488"/>
                  <a:gd name="T32" fmla="*/ 188 w 317"/>
                  <a:gd name="T33" fmla="*/ 106 h 488"/>
                  <a:gd name="T34" fmla="*/ 179 w 317"/>
                  <a:gd name="T35" fmla="*/ 125 h 488"/>
                  <a:gd name="T36" fmla="*/ 165 w 317"/>
                  <a:gd name="T37" fmla="*/ 139 h 488"/>
                  <a:gd name="T38" fmla="*/ 146 w 317"/>
                  <a:gd name="T39" fmla="*/ 171 h 488"/>
                  <a:gd name="T40" fmla="*/ 136 w 317"/>
                  <a:gd name="T41" fmla="*/ 279 h 488"/>
                  <a:gd name="T42" fmla="*/ 152 w 317"/>
                  <a:gd name="T43" fmla="*/ 292 h 488"/>
                  <a:gd name="T44" fmla="*/ 104 w 317"/>
                  <a:gd name="T45" fmla="*/ 281 h 488"/>
                  <a:gd name="T46" fmla="*/ 83 w 317"/>
                  <a:gd name="T47" fmla="*/ 331 h 488"/>
                  <a:gd name="T48" fmla="*/ 71 w 317"/>
                  <a:gd name="T49" fmla="*/ 352 h 488"/>
                  <a:gd name="T50" fmla="*/ 81 w 317"/>
                  <a:gd name="T51" fmla="*/ 377 h 488"/>
                  <a:gd name="T52" fmla="*/ 192 w 317"/>
                  <a:gd name="T53" fmla="*/ 385 h 488"/>
                  <a:gd name="T54" fmla="*/ 200 w 317"/>
                  <a:gd name="T55" fmla="*/ 463 h 488"/>
                  <a:gd name="T56" fmla="*/ 207 w 317"/>
                  <a:gd name="T57" fmla="*/ 465 h 488"/>
                  <a:gd name="T58" fmla="*/ 217 w 317"/>
                  <a:gd name="T59" fmla="*/ 456 h 488"/>
                  <a:gd name="T60" fmla="*/ 157 w 317"/>
                  <a:gd name="T61" fmla="*/ 486 h 488"/>
                  <a:gd name="T62" fmla="*/ 92 w 317"/>
                  <a:gd name="T63" fmla="*/ 440 h 488"/>
                  <a:gd name="T64" fmla="*/ 0 w 317"/>
                  <a:gd name="T65" fmla="*/ 488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7" h="488">
                    <a:moveTo>
                      <a:pt x="0" y="488"/>
                    </a:moveTo>
                    <a:lnTo>
                      <a:pt x="15" y="469"/>
                    </a:lnTo>
                    <a:lnTo>
                      <a:pt x="54" y="373"/>
                    </a:lnTo>
                    <a:lnTo>
                      <a:pt x="86" y="294"/>
                    </a:lnTo>
                    <a:lnTo>
                      <a:pt x="106" y="250"/>
                    </a:lnTo>
                    <a:lnTo>
                      <a:pt x="190" y="48"/>
                    </a:lnTo>
                    <a:lnTo>
                      <a:pt x="182" y="37"/>
                    </a:lnTo>
                    <a:lnTo>
                      <a:pt x="190" y="31"/>
                    </a:lnTo>
                    <a:lnTo>
                      <a:pt x="200" y="2"/>
                    </a:lnTo>
                    <a:lnTo>
                      <a:pt x="200" y="0"/>
                    </a:lnTo>
                    <a:lnTo>
                      <a:pt x="290" y="64"/>
                    </a:lnTo>
                    <a:lnTo>
                      <a:pt x="296" y="58"/>
                    </a:lnTo>
                    <a:lnTo>
                      <a:pt x="309" y="70"/>
                    </a:lnTo>
                    <a:lnTo>
                      <a:pt x="315" y="77"/>
                    </a:lnTo>
                    <a:lnTo>
                      <a:pt x="317" y="87"/>
                    </a:lnTo>
                    <a:lnTo>
                      <a:pt x="300" y="96"/>
                    </a:lnTo>
                    <a:lnTo>
                      <a:pt x="282" y="73"/>
                    </a:lnTo>
                    <a:lnTo>
                      <a:pt x="286" y="70"/>
                    </a:lnTo>
                    <a:lnTo>
                      <a:pt x="253" y="47"/>
                    </a:lnTo>
                    <a:lnTo>
                      <a:pt x="244" y="45"/>
                    </a:lnTo>
                    <a:lnTo>
                      <a:pt x="219" y="27"/>
                    </a:lnTo>
                    <a:lnTo>
                      <a:pt x="215" y="35"/>
                    </a:lnTo>
                    <a:lnTo>
                      <a:pt x="202" y="25"/>
                    </a:lnTo>
                    <a:lnTo>
                      <a:pt x="194" y="27"/>
                    </a:lnTo>
                    <a:lnTo>
                      <a:pt x="192" y="33"/>
                    </a:lnTo>
                    <a:lnTo>
                      <a:pt x="192" y="37"/>
                    </a:lnTo>
                    <a:lnTo>
                      <a:pt x="196" y="48"/>
                    </a:lnTo>
                    <a:lnTo>
                      <a:pt x="196" y="54"/>
                    </a:lnTo>
                    <a:lnTo>
                      <a:pt x="190" y="70"/>
                    </a:lnTo>
                    <a:lnTo>
                      <a:pt x="192" y="72"/>
                    </a:lnTo>
                    <a:lnTo>
                      <a:pt x="198" y="81"/>
                    </a:lnTo>
                    <a:lnTo>
                      <a:pt x="198" y="85"/>
                    </a:lnTo>
                    <a:lnTo>
                      <a:pt x="196" y="102"/>
                    </a:lnTo>
                    <a:lnTo>
                      <a:pt x="188" y="106"/>
                    </a:lnTo>
                    <a:lnTo>
                      <a:pt x="182" y="120"/>
                    </a:lnTo>
                    <a:lnTo>
                      <a:pt x="179" y="125"/>
                    </a:lnTo>
                    <a:lnTo>
                      <a:pt x="175" y="129"/>
                    </a:lnTo>
                    <a:lnTo>
                      <a:pt x="165" y="139"/>
                    </a:lnTo>
                    <a:lnTo>
                      <a:pt x="156" y="154"/>
                    </a:lnTo>
                    <a:lnTo>
                      <a:pt x="146" y="171"/>
                    </a:lnTo>
                    <a:lnTo>
                      <a:pt x="109" y="264"/>
                    </a:lnTo>
                    <a:lnTo>
                      <a:pt x="136" y="279"/>
                    </a:lnTo>
                    <a:lnTo>
                      <a:pt x="140" y="289"/>
                    </a:lnTo>
                    <a:lnTo>
                      <a:pt x="152" y="292"/>
                    </a:lnTo>
                    <a:lnTo>
                      <a:pt x="152" y="300"/>
                    </a:lnTo>
                    <a:lnTo>
                      <a:pt x="104" y="281"/>
                    </a:lnTo>
                    <a:lnTo>
                      <a:pt x="81" y="315"/>
                    </a:lnTo>
                    <a:lnTo>
                      <a:pt x="83" y="331"/>
                    </a:lnTo>
                    <a:lnTo>
                      <a:pt x="73" y="340"/>
                    </a:lnTo>
                    <a:lnTo>
                      <a:pt x="71" y="352"/>
                    </a:lnTo>
                    <a:lnTo>
                      <a:pt x="73" y="362"/>
                    </a:lnTo>
                    <a:lnTo>
                      <a:pt x="81" y="377"/>
                    </a:lnTo>
                    <a:lnTo>
                      <a:pt x="90" y="385"/>
                    </a:lnTo>
                    <a:lnTo>
                      <a:pt x="192" y="385"/>
                    </a:lnTo>
                    <a:lnTo>
                      <a:pt x="196" y="385"/>
                    </a:lnTo>
                    <a:lnTo>
                      <a:pt x="200" y="463"/>
                    </a:lnTo>
                    <a:lnTo>
                      <a:pt x="205" y="463"/>
                    </a:lnTo>
                    <a:lnTo>
                      <a:pt x="207" y="465"/>
                    </a:lnTo>
                    <a:lnTo>
                      <a:pt x="215" y="452"/>
                    </a:lnTo>
                    <a:lnTo>
                      <a:pt x="217" y="456"/>
                    </a:lnTo>
                    <a:lnTo>
                      <a:pt x="196" y="488"/>
                    </a:lnTo>
                    <a:lnTo>
                      <a:pt x="157" y="486"/>
                    </a:lnTo>
                    <a:lnTo>
                      <a:pt x="156" y="437"/>
                    </a:lnTo>
                    <a:lnTo>
                      <a:pt x="92" y="440"/>
                    </a:lnTo>
                    <a:lnTo>
                      <a:pt x="90" y="488"/>
                    </a:lnTo>
                    <a:lnTo>
                      <a:pt x="0" y="488"/>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65" name="Freeform 53">
                <a:extLst>
                  <a:ext uri="{FF2B5EF4-FFF2-40B4-BE49-F238E27FC236}">
                    <a16:creationId xmlns:a16="http://schemas.microsoft.com/office/drawing/2014/main" id="{77574445-82F2-4BED-AE85-F36087498FAC}"/>
                  </a:ext>
                </a:extLst>
              </p:cNvPr>
              <p:cNvSpPr>
                <a:spLocks/>
              </p:cNvSpPr>
              <p:nvPr/>
            </p:nvSpPr>
            <p:spPr bwMode="gray">
              <a:xfrm>
                <a:off x="4934587" y="3842773"/>
                <a:ext cx="539085" cy="355255"/>
              </a:xfrm>
              <a:custGeom>
                <a:avLst/>
                <a:gdLst>
                  <a:gd name="T0" fmla="*/ 474 w 478"/>
                  <a:gd name="T1" fmla="*/ 125 h 315"/>
                  <a:gd name="T2" fmla="*/ 444 w 478"/>
                  <a:gd name="T3" fmla="*/ 131 h 315"/>
                  <a:gd name="T4" fmla="*/ 413 w 478"/>
                  <a:gd name="T5" fmla="*/ 143 h 315"/>
                  <a:gd name="T6" fmla="*/ 303 w 478"/>
                  <a:gd name="T7" fmla="*/ 179 h 315"/>
                  <a:gd name="T8" fmla="*/ 250 w 478"/>
                  <a:gd name="T9" fmla="*/ 196 h 315"/>
                  <a:gd name="T10" fmla="*/ 231 w 478"/>
                  <a:gd name="T11" fmla="*/ 210 h 315"/>
                  <a:gd name="T12" fmla="*/ 223 w 478"/>
                  <a:gd name="T13" fmla="*/ 210 h 315"/>
                  <a:gd name="T14" fmla="*/ 213 w 478"/>
                  <a:gd name="T15" fmla="*/ 212 h 315"/>
                  <a:gd name="T16" fmla="*/ 202 w 478"/>
                  <a:gd name="T17" fmla="*/ 214 h 315"/>
                  <a:gd name="T18" fmla="*/ 194 w 478"/>
                  <a:gd name="T19" fmla="*/ 216 h 315"/>
                  <a:gd name="T20" fmla="*/ 148 w 478"/>
                  <a:gd name="T21" fmla="*/ 244 h 315"/>
                  <a:gd name="T22" fmla="*/ 110 w 478"/>
                  <a:gd name="T23" fmla="*/ 281 h 315"/>
                  <a:gd name="T24" fmla="*/ 90 w 478"/>
                  <a:gd name="T25" fmla="*/ 283 h 315"/>
                  <a:gd name="T26" fmla="*/ 54 w 478"/>
                  <a:gd name="T27" fmla="*/ 315 h 315"/>
                  <a:gd name="T28" fmla="*/ 0 w 478"/>
                  <a:gd name="T29" fmla="*/ 237 h 315"/>
                  <a:gd name="T30" fmla="*/ 23 w 478"/>
                  <a:gd name="T31" fmla="*/ 193 h 315"/>
                  <a:gd name="T32" fmla="*/ 85 w 478"/>
                  <a:gd name="T33" fmla="*/ 191 h 315"/>
                  <a:gd name="T34" fmla="*/ 108 w 478"/>
                  <a:gd name="T35" fmla="*/ 141 h 315"/>
                  <a:gd name="T36" fmla="*/ 98 w 478"/>
                  <a:gd name="T37" fmla="*/ 129 h 315"/>
                  <a:gd name="T38" fmla="*/ 98 w 478"/>
                  <a:gd name="T39" fmla="*/ 110 h 315"/>
                  <a:gd name="T40" fmla="*/ 88 w 478"/>
                  <a:gd name="T41" fmla="*/ 95 h 315"/>
                  <a:gd name="T42" fmla="*/ 96 w 478"/>
                  <a:gd name="T43" fmla="*/ 87 h 315"/>
                  <a:gd name="T44" fmla="*/ 146 w 478"/>
                  <a:gd name="T45" fmla="*/ 77 h 315"/>
                  <a:gd name="T46" fmla="*/ 158 w 478"/>
                  <a:gd name="T47" fmla="*/ 72 h 315"/>
                  <a:gd name="T48" fmla="*/ 202 w 478"/>
                  <a:gd name="T49" fmla="*/ 43 h 315"/>
                  <a:gd name="T50" fmla="*/ 271 w 478"/>
                  <a:gd name="T51" fmla="*/ 43 h 315"/>
                  <a:gd name="T52" fmla="*/ 280 w 478"/>
                  <a:gd name="T53" fmla="*/ 43 h 315"/>
                  <a:gd name="T54" fmla="*/ 286 w 478"/>
                  <a:gd name="T55" fmla="*/ 39 h 315"/>
                  <a:gd name="T56" fmla="*/ 336 w 478"/>
                  <a:gd name="T57" fmla="*/ 0 h 315"/>
                  <a:gd name="T58" fmla="*/ 355 w 478"/>
                  <a:gd name="T59" fmla="*/ 45 h 315"/>
                  <a:gd name="T60" fmla="*/ 361 w 478"/>
                  <a:gd name="T61" fmla="*/ 70 h 315"/>
                  <a:gd name="T62" fmla="*/ 371 w 478"/>
                  <a:gd name="T63" fmla="*/ 85 h 315"/>
                  <a:gd name="T64" fmla="*/ 428 w 478"/>
                  <a:gd name="T65" fmla="*/ 72 h 315"/>
                  <a:gd name="T66" fmla="*/ 465 w 478"/>
                  <a:gd name="T67" fmla="*/ 64 h 315"/>
                  <a:gd name="T68" fmla="*/ 476 w 478"/>
                  <a:gd name="T69" fmla="*/ 112 h 315"/>
                  <a:gd name="T70" fmla="*/ 478 w 478"/>
                  <a:gd name="T71" fmla="*/ 123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8" h="315">
                    <a:moveTo>
                      <a:pt x="478" y="123"/>
                    </a:moveTo>
                    <a:lnTo>
                      <a:pt x="474" y="125"/>
                    </a:lnTo>
                    <a:lnTo>
                      <a:pt x="455" y="129"/>
                    </a:lnTo>
                    <a:lnTo>
                      <a:pt x="444" y="131"/>
                    </a:lnTo>
                    <a:lnTo>
                      <a:pt x="424" y="139"/>
                    </a:lnTo>
                    <a:lnTo>
                      <a:pt x="413" y="143"/>
                    </a:lnTo>
                    <a:lnTo>
                      <a:pt x="398" y="152"/>
                    </a:lnTo>
                    <a:lnTo>
                      <a:pt x="303" y="179"/>
                    </a:lnTo>
                    <a:lnTo>
                      <a:pt x="298" y="177"/>
                    </a:lnTo>
                    <a:lnTo>
                      <a:pt x="250" y="196"/>
                    </a:lnTo>
                    <a:lnTo>
                      <a:pt x="244" y="200"/>
                    </a:lnTo>
                    <a:lnTo>
                      <a:pt x="231" y="210"/>
                    </a:lnTo>
                    <a:lnTo>
                      <a:pt x="225" y="214"/>
                    </a:lnTo>
                    <a:lnTo>
                      <a:pt x="223" y="210"/>
                    </a:lnTo>
                    <a:lnTo>
                      <a:pt x="219" y="210"/>
                    </a:lnTo>
                    <a:lnTo>
                      <a:pt x="213" y="212"/>
                    </a:lnTo>
                    <a:lnTo>
                      <a:pt x="206" y="216"/>
                    </a:lnTo>
                    <a:lnTo>
                      <a:pt x="202" y="214"/>
                    </a:lnTo>
                    <a:lnTo>
                      <a:pt x="200" y="214"/>
                    </a:lnTo>
                    <a:lnTo>
                      <a:pt x="194" y="216"/>
                    </a:lnTo>
                    <a:lnTo>
                      <a:pt x="156" y="248"/>
                    </a:lnTo>
                    <a:lnTo>
                      <a:pt x="148" y="244"/>
                    </a:lnTo>
                    <a:lnTo>
                      <a:pt x="140" y="248"/>
                    </a:lnTo>
                    <a:lnTo>
                      <a:pt x="110" y="281"/>
                    </a:lnTo>
                    <a:lnTo>
                      <a:pt x="102" y="283"/>
                    </a:lnTo>
                    <a:lnTo>
                      <a:pt x="90" y="283"/>
                    </a:lnTo>
                    <a:lnTo>
                      <a:pt x="81" y="289"/>
                    </a:lnTo>
                    <a:lnTo>
                      <a:pt x="54" y="315"/>
                    </a:lnTo>
                    <a:lnTo>
                      <a:pt x="2" y="248"/>
                    </a:lnTo>
                    <a:lnTo>
                      <a:pt x="0" y="237"/>
                    </a:lnTo>
                    <a:lnTo>
                      <a:pt x="4" y="218"/>
                    </a:lnTo>
                    <a:lnTo>
                      <a:pt x="23" y="193"/>
                    </a:lnTo>
                    <a:lnTo>
                      <a:pt x="44" y="193"/>
                    </a:lnTo>
                    <a:lnTo>
                      <a:pt x="85" y="191"/>
                    </a:lnTo>
                    <a:lnTo>
                      <a:pt x="106" y="191"/>
                    </a:lnTo>
                    <a:lnTo>
                      <a:pt x="108" y="141"/>
                    </a:lnTo>
                    <a:lnTo>
                      <a:pt x="104" y="137"/>
                    </a:lnTo>
                    <a:lnTo>
                      <a:pt x="98" y="129"/>
                    </a:lnTo>
                    <a:lnTo>
                      <a:pt x="98" y="125"/>
                    </a:lnTo>
                    <a:lnTo>
                      <a:pt x="98" y="110"/>
                    </a:lnTo>
                    <a:lnTo>
                      <a:pt x="94" y="102"/>
                    </a:lnTo>
                    <a:lnTo>
                      <a:pt x="88" y="95"/>
                    </a:lnTo>
                    <a:lnTo>
                      <a:pt x="90" y="93"/>
                    </a:lnTo>
                    <a:lnTo>
                      <a:pt x="96" y="87"/>
                    </a:lnTo>
                    <a:lnTo>
                      <a:pt x="106" y="85"/>
                    </a:lnTo>
                    <a:lnTo>
                      <a:pt x="146" y="77"/>
                    </a:lnTo>
                    <a:lnTo>
                      <a:pt x="154" y="75"/>
                    </a:lnTo>
                    <a:lnTo>
                      <a:pt x="158" y="72"/>
                    </a:lnTo>
                    <a:lnTo>
                      <a:pt x="154" y="52"/>
                    </a:lnTo>
                    <a:lnTo>
                      <a:pt x="202" y="43"/>
                    </a:lnTo>
                    <a:lnTo>
                      <a:pt x="255" y="43"/>
                    </a:lnTo>
                    <a:lnTo>
                      <a:pt x="271" y="43"/>
                    </a:lnTo>
                    <a:lnTo>
                      <a:pt x="277" y="43"/>
                    </a:lnTo>
                    <a:lnTo>
                      <a:pt x="280" y="43"/>
                    </a:lnTo>
                    <a:lnTo>
                      <a:pt x="282" y="43"/>
                    </a:lnTo>
                    <a:lnTo>
                      <a:pt x="286" y="39"/>
                    </a:lnTo>
                    <a:lnTo>
                      <a:pt x="296" y="33"/>
                    </a:lnTo>
                    <a:lnTo>
                      <a:pt x="336" y="0"/>
                    </a:lnTo>
                    <a:lnTo>
                      <a:pt x="350" y="27"/>
                    </a:lnTo>
                    <a:lnTo>
                      <a:pt x="355" y="45"/>
                    </a:lnTo>
                    <a:lnTo>
                      <a:pt x="357" y="60"/>
                    </a:lnTo>
                    <a:lnTo>
                      <a:pt x="361" y="70"/>
                    </a:lnTo>
                    <a:lnTo>
                      <a:pt x="365" y="73"/>
                    </a:lnTo>
                    <a:lnTo>
                      <a:pt x="371" y="85"/>
                    </a:lnTo>
                    <a:lnTo>
                      <a:pt x="421" y="73"/>
                    </a:lnTo>
                    <a:lnTo>
                      <a:pt x="428" y="72"/>
                    </a:lnTo>
                    <a:lnTo>
                      <a:pt x="461" y="64"/>
                    </a:lnTo>
                    <a:lnTo>
                      <a:pt x="465" y="64"/>
                    </a:lnTo>
                    <a:lnTo>
                      <a:pt x="472" y="102"/>
                    </a:lnTo>
                    <a:lnTo>
                      <a:pt x="476" y="112"/>
                    </a:lnTo>
                    <a:lnTo>
                      <a:pt x="476" y="118"/>
                    </a:lnTo>
                    <a:lnTo>
                      <a:pt x="478" y="123"/>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66" name="Freeform 54">
                <a:extLst>
                  <a:ext uri="{FF2B5EF4-FFF2-40B4-BE49-F238E27FC236}">
                    <a16:creationId xmlns:a16="http://schemas.microsoft.com/office/drawing/2014/main" id="{9705A840-812A-4AB5-BD98-7EDD7234146D}"/>
                  </a:ext>
                </a:extLst>
              </p:cNvPr>
              <p:cNvSpPr>
                <a:spLocks noEditPoints="1"/>
              </p:cNvSpPr>
              <p:nvPr/>
            </p:nvSpPr>
            <p:spPr bwMode="gray">
              <a:xfrm>
                <a:off x="2275249" y="4094271"/>
                <a:ext cx="1762742" cy="1627406"/>
              </a:xfrm>
              <a:custGeom>
                <a:avLst/>
                <a:gdLst>
                  <a:gd name="T0" fmla="*/ 908 w 1563"/>
                  <a:gd name="T1" fmla="*/ 1443 h 1443"/>
                  <a:gd name="T2" fmla="*/ 922 w 1563"/>
                  <a:gd name="T3" fmla="*/ 1382 h 1443"/>
                  <a:gd name="T4" fmla="*/ 876 w 1563"/>
                  <a:gd name="T5" fmla="*/ 1270 h 1443"/>
                  <a:gd name="T6" fmla="*/ 897 w 1563"/>
                  <a:gd name="T7" fmla="*/ 1347 h 1443"/>
                  <a:gd name="T8" fmla="*/ 812 w 1563"/>
                  <a:gd name="T9" fmla="*/ 1324 h 1443"/>
                  <a:gd name="T10" fmla="*/ 812 w 1563"/>
                  <a:gd name="T11" fmla="*/ 1260 h 1443"/>
                  <a:gd name="T12" fmla="*/ 803 w 1563"/>
                  <a:gd name="T13" fmla="*/ 1124 h 1443"/>
                  <a:gd name="T14" fmla="*/ 734 w 1563"/>
                  <a:gd name="T15" fmla="*/ 1170 h 1443"/>
                  <a:gd name="T16" fmla="*/ 670 w 1563"/>
                  <a:gd name="T17" fmla="*/ 1157 h 1443"/>
                  <a:gd name="T18" fmla="*/ 730 w 1563"/>
                  <a:gd name="T19" fmla="*/ 1091 h 1443"/>
                  <a:gd name="T20" fmla="*/ 1469 w 1563"/>
                  <a:gd name="T21" fmla="*/ 936 h 1443"/>
                  <a:gd name="T22" fmla="*/ 1529 w 1563"/>
                  <a:gd name="T23" fmla="*/ 947 h 1443"/>
                  <a:gd name="T24" fmla="*/ 793 w 1563"/>
                  <a:gd name="T25" fmla="*/ 897 h 1443"/>
                  <a:gd name="T26" fmla="*/ 814 w 1563"/>
                  <a:gd name="T27" fmla="*/ 965 h 1443"/>
                  <a:gd name="T28" fmla="*/ 549 w 1563"/>
                  <a:gd name="T29" fmla="*/ 955 h 1443"/>
                  <a:gd name="T30" fmla="*/ 682 w 1563"/>
                  <a:gd name="T31" fmla="*/ 865 h 1443"/>
                  <a:gd name="T32" fmla="*/ 1135 w 1563"/>
                  <a:gd name="T33" fmla="*/ 886 h 1443"/>
                  <a:gd name="T34" fmla="*/ 1331 w 1563"/>
                  <a:gd name="T35" fmla="*/ 882 h 1443"/>
                  <a:gd name="T36" fmla="*/ 1281 w 1563"/>
                  <a:gd name="T37" fmla="*/ 1036 h 1443"/>
                  <a:gd name="T38" fmla="*/ 1120 w 1563"/>
                  <a:gd name="T39" fmla="*/ 1017 h 1443"/>
                  <a:gd name="T40" fmla="*/ 1043 w 1563"/>
                  <a:gd name="T41" fmla="*/ 742 h 1443"/>
                  <a:gd name="T42" fmla="*/ 1039 w 1563"/>
                  <a:gd name="T43" fmla="*/ 736 h 1443"/>
                  <a:gd name="T44" fmla="*/ 999 w 1563"/>
                  <a:gd name="T45" fmla="*/ 751 h 1443"/>
                  <a:gd name="T46" fmla="*/ 976 w 1563"/>
                  <a:gd name="T47" fmla="*/ 700 h 1443"/>
                  <a:gd name="T48" fmla="*/ 1112 w 1563"/>
                  <a:gd name="T49" fmla="*/ 661 h 1443"/>
                  <a:gd name="T50" fmla="*/ 1212 w 1563"/>
                  <a:gd name="T51" fmla="*/ 728 h 1443"/>
                  <a:gd name="T52" fmla="*/ 968 w 1563"/>
                  <a:gd name="T53" fmla="*/ 661 h 1443"/>
                  <a:gd name="T54" fmla="*/ 1006 w 1563"/>
                  <a:gd name="T55" fmla="*/ 602 h 1443"/>
                  <a:gd name="T56" fmla="*/ 1321 w 1563"/>
                  <a:gd name="T57" fmla="*/ 738 h 1443"/>
                  <a:gd name="T58" fmla="*/ 1120 w 1563"/>
                  <a:gd name="T59" fmla="*/ 638 h 1443"/>
                  <a:gd name="T60" fmla="*/ 1170 w 1563"/>
                  <a:gd name="T61" fmla="*/ 575 h 1443"/>
                  <a:gd name="T62" fmla="*/ 659 w 1563"/>
                  <a:gd name="T63" fmla="*/ 23 h 1443"/>
                  <a:gd name="T64" fmla="*/ 703 w 1563"/>
                  <a:gd name="T65" fmla="*/ 18 h 1443"/>
                  <a:gd name="T66" fmla="*/ 778 w 1563"/>
                  <a:gd name="T67" fmla="*/ 117 h 1443"/>
                  <a:gd name="T68" fmla="*/ 830 w 1563"/>
                  <a:gd name="T69" fmla="*/ 150 h 1443"/>
                  <a:gd name="T70" fmla="*/ 884 w 1563"/>
                  <a:gd name="T71" fmla="*/ 231 h 1443"/>
                  <a:gd name="T72" fmla="*/ 801 w 1563"/>
                  <a:gd name="T73" fmla="*/ 244 h 1443"/>
                  <a:gd name="T74" fmla="*/ 722 w 1563"/>
                  <a:gd name="T75" fmla="*/ 254 h 1443"/>
                  <a:gd name="T76" fmla="*/ 786 w 1563"/>
                  <a:gd name="T77" fmla="*/ 288 h 1443"/>
                  <a:gd name="T78" fmla="*/ 711 w 1563"/>
                  <a:gd name="T79" fmla="*/ 342 h 1443"/>
                  <a:gd name="T80" fmla="*/ 663 w 1563"/>
                  <a:gd name="T81" fmla="*/ 327 h 1443"/>
                  <a:gd name="T82" fmla="*/ 569 w 1563"/>
                  <a:gd name="T83" fmla="*/ 269 h 1443"/>
                  <a:gd name="T84" fmla="*/ 576 w 1563"/>
                  <a:gd name="T85" fmla="*/ 323 h 1443"/>
                  <a:gd name="T86" fmla="*/ 430 w 1563"/>
                  <a:gd name="T87" fmla="*/ 450 h 1443"/>
                  <a:gd name="T88" fmla="*/ 346 w 1563"/>
                  <a:gd name="T89" fmla="*/ 294 h 1443"/>
                  <a:gd name="T90" fmla="*/ 271 w 1563"/>
                  <a:gd name="T91" fmla="*/ 675 h 1443"/>
                  <a:gd name="T92" fmla="*/ 144 w 1563"/>
                  <a:gd name="T93" fmla="*/ 701 h 1443"/>
                  <a:gd name="T94" fmla="*/ 169 w 1563"/>
                  <a:gd name="T95" fmla="*/ 744 h 1443"/>
                  <a:gd name="T96" fmla="*/ 196 w 1563"/>
                  <a:gd name="T97" fmla="*/ 655 h 1443"/>
                  <a:gd name="T98" fmla="*/ 140 w 1563"/>
                  <a:gd name="T99" fmla="*/ 513 h 1443"/>
                  <a:gd name="T100" fmla="*/ 0 w 1563"/>
                  <a:gd name="T101" fmla="*/ 237 h 1443"/>
                  <a:gd name="T102" fmla="*/ 392 w 1563"/>
                  <a:gd name="T103" fmla="*/ 19 h 1443"/>
                  <a:gd name="T104" fmla="*/ 356 w 1563"/>
                  <a:gd name="T105" fmla="*/ 123 h 1443"/>
                  <a:gd name="T106" fmla="*/ 371 w 1563"/>
                  <a:gd name="T107" fmla="*/ 183 h 1443"/>
                  <a:gd name="T108" fmla="*/ 455 w 1563"/>
                  <a:gd name="T109" fmla="*/ 104 h 1443"/>
                  <a:gd name="T110" fmla="*/ 498 w 1563"/>
                  <a:gd name="T111" fmla="*/ 110 h 1443"/>
                  <a:gd name="T112" fmla="*/ 540 w 1563"/>
                  <a:gd name="T113" fmla="*/ 179 h 1443"/>
                  <a:gd name="T114" fmla="*/ 588 w 1563"/>
                  <a:gd name="T115" fmla="*/ 156 h 1443"/>
                  <a:gd name="T116" fmla="*/ 546 w 1563"/>
                  <a:gd name="T117" fmla="*/ 104 h 1443"/>
                  <a:gd name="T118" fmla="*/ 509 w 1563"/>
                  <a:gd name="T119" fmla="*/ 27 h 1443"/>
                  <a:gd name="T120" fmla="*/ 594 w 1563"/>
                  <a:gd name="T121" fmla="*/ 0 h 1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63" h="1443">
                    <a:moveTo>
                      <a:pt x="916" y="1416"/>
                    </a:moveTo>
                    <a:lnTo>
                      <a:pt x="916" y="1426"/>
                    </a:lnTo>
                    <a:lnTo>
                      <a:pt x="914" y="1424"/>
                    </a:lnTo>
                    <a:lnTo>
                      <a:pt x="912" y="1424"/>
                    </a:lnTo>
                    <a:lnTo>
                      <a:pt x="912" y="1426"/>
                    </a:lnTo>
                    <a:lnTo>
                      <a:pt x="912" y="1428"/>
                    </a:lnTo>
                    <a:lnTo>
                      <a:pt x="912" y="1430"/>
                    </a:lnTo>
                    <a:lnTo>
                      <a:pt x="912" y="1431"/>
                    </a:lnTo>
                    <a:lnTo>
                      <a:pt x="912" y="1435"/>
                    </a:lnTo>
                    <a:lnTo>
                      <a:pt x="914" y="1435"/>
                    </a:lnTo>
                    <a:lnTo>
                      <a:pt x="908" y="1443"/>
                    </a:lnTo>
                    <a:lnTo>
                      <a:pt x="908" y="1441"/>
                    </a:lnTo>
                    <a:lnTo>
                      <a:pt x="907" y="1439"/>
                    </a:lnTo>
                    <a:lnTo>
                      <a:pt x="905" y="1435"/>
                    </a:lnTo>
                    <a:lnTo>
                      <a:pt x="907" y="1430"/>
                    </a:lnTo>
                    <a:lnTo>
                      <a:pt x="914" y="1418"/>
                    </a:lnTo>
                    <a:lnTo>
                      <a:pt x="914" y="1416"/>
                    </a:lnTo>
                    <a:lnTo>
                      <a:pt x="916" y="1416"/>
                    </a:lnTo>
                    <a:close/>
                    <a:moveTo>
                      <a:pt x="930" y="1389"/>
                    </a:moveTo>
                    <a:lnTo>
                      <a:pt x="926" y="1389"/>
                    </a:lnTo>
                    <a:lnTo>
                      <a:pt x="924" y="1389"/>
                    </a:lnTo>
                    <a:lnTo>
                      <a:pt x="922" y="1382"/>
                    </a:lnTo>
                    <a:lnTo>
                      <a:pt x="922" y="1378"/>
                    </a:lnTo>
                    <a:lnTo>
                      <a:pt x="920" y="1372"/>
                    </a:lnTo>
                    <a:lnTo>
                      <a:pt x="922" y="1370"/>
                    </a:lnTo>
                    <a:lnTo>
                      <a:pt x="930" y="1378"/>
                    </a:lnTo>
                    <a:lnTo>
                      <a:pt x="932" y="1382"/>
                    </a:lnTo>
                    <a:lnTo>
                      <a:pt x="932" y="1385"/>
                    </a:lnTo>
                    <a:lnTo>
                      <a:pt x="930" y="1389"/>
                    </a:lnTo>
                    <a:close/>
                    <a:moveTo>
                      <a:pt x="849" y="1272"/>
                    </a:moveTo>
                    <a:lnTo>
                      <a:pt x="860" y="1276"/>
                    </a:lnTo>
                    <a:lnTo>
                      <a:pt x="868" y="1274"/>
                    </a:lnTo>
                    <a:lnTo>
                      <a:pt x="876" y="1270"/>
                    </a:lnTo>
                    <a:lnTo>
                      <a:pt x="885" y="1274"/>
                    </a:lnTo>
                    <a:lnTo>
                      <a:pt x="903" y="1278"/>
                    </a:lnTo>
                    <a:lnTo>
                      <a:pt x="916" y="1278"/>
                    </a:lnTo>
                    <a:lnTo>
                      <a:pt x="916" y="1285"/>
                    </a:lnTo>
                    <a:lnTo>
                      <a:pt x="912" y="1291"/>
                    </a:lnTo>
                    <a:lnTo>
                      <a:pt x="895" y="1293"/>
                    </a:lnTo>
                    <a:lnTo>
                      <a:pt x="893" y="1301"/>
                    </a:lnTo>
                    <a:lnTo>
                      <a:pt x="895" y="1310"/>
                    </a:lnTo>
                    <a:lnTo>
                      <a:pt x="891" y="1326"/>
                    </a:lnTo>
                    <a:lnTo>
                      <a:pt x="895" y="1332"/>
                    </a:lnTo>
                    <a:lnTo>
                      <a:pt x="897" y="1347"/>
                    </a:lnTo>
                    <a:lnTo>
                      <a:pt x="893" y="1353"/>
                    </a:lnTo>
                    <a:lnTo>
                      <a:pt x="880" y="1358"/>
                    </a:lnTo>
                    <a:lnTo>
                      <a:pt x="864" y="1355"/>
                    </a:lnTo>
                    <a:lnTo>
                      <a:pt x="859" y="1353"/>
                    </a:lnTo>
                    <a:lnTo>
                      <a:pt x="847" y="1345"/>
                    </a:lnTo>
                    <a:lnTo>
                      <a:pt x="841" y="1349"/>
                    </a:lnTo>
                    <a:lnTo>
                      <a:pt x="834" y="1351"/>
                    </a:lnTo>
                    <a:lnTo>
                      <a:pt x="826" y="1349"/>
                    </a:lnTo>
                    <a:lnTo>
                      <a:pt x="824" y="1337"/>
                    </a:lnTo>
                    <a:lnTo>
                      <a:pt x="816" y="1332"/>
                    </a:lnTo>
                    <a:lnTo>
                      <a:pt x="812" y="1324"/>
                    </a:lnTo>
                    <a:lnTo>
                      <a:pt x="812" y="1310"/>
                    </a:lnTo>
                    <a:lnTo>
                      <a:pt x="801" y="1295"/>
                    </a:lnTo>
                    <a:lnTo>
                      <a:pt x="789" y="1287"/>
                    </a:lnTo>
                    <a:lnTo>
                      <a:pt x="784" y="1291"/>
                    </a:lnTo>
                    <a:lnTo>
                      <a:pt x="776" y="1289"/>
                    </a:lnTo>
                    <a:lnTo>
                      <a:pt x="776" y="1284"/>
                    </a:lnTo>
                    <a:lnTo>
                      <a:pt x="780" y="1276"/>
                    </a:lnTo>
                    <a:lnTo>
                      <a:pt x="786" y="1270"/>
                    </a:lnTo>
                    <a:lnTo>
                      <a:pt x="795" y="1268"/>
                    </a:lnTo>
                    <a:lnTo>
                      <a:pt x="803" y="1262"/>
                    </a:lnTo>
                    <a:lnTo>
                      <a:pt x="812" y="1260"/>
                    </a:lnTo>
                    <a:lnTo>
                      <a:pt x="822" y="1253"/>
                    </a:lnTo>
                    <a:lnTo>
                      <a:pt x="830" y="1262"/>
                    </a:lnTo>
                    <a:lnTo>
                      <a:pt x="837" y="1264"/>
                    </a:lnTo>
                    <a:lnTo>
                      <a:pt x="849" y="1272"/>
                    </a:lnTo>
                    <a:close/>
                    <a:moveTo>
                      <a:pt x="768" y="1105"/>
                    </a:moveTo>
                    <a:lnTo>
                      <a:pt x="778" y="1114"/>
                    </a:lnTo>
                    <a:lnTo>
                      <a:pt x="782" y="1109"/>
                    </a:lnTo>
                    <a:lnTo>
                      <a:pt x="793" y="1107"/>
                    </a:lnTo>
                    <a:lnTo>
                      <a:pt x="803" y="1113"/>
                    </a:lnTo>
                    <a:lnTo>
                      <a:pt x="807" y="1118"/>
                    </a:lnTo>
                    <a:lnTo>
                      <a:pt x="803" y="1124"/>
                    </a:lnTo>
                    <a:lnTo>
                      <a:pt x="803" y="1130"/>
                    </a:lnTo>
                    <a:lnTo>
                      <a:pt x="799" y="1130"/>
                    </a:lnTo>
                    <a:lnTo>
                      <a:pt x="797" y="1130"/>
                    </a:lnTo>
                    <a:lnTo>
                      <a:pt x="788" y="1130"/>
                    </a:lnTo>
                    <a:lnTo>
                      <a:pt x="778" y="1136"/>
                    </a:lnTo>
                    <a:lnTo>
                      <a:pt x="768" y="1147"/>
                    </a:lnTo>
                    <a:lnTo>
                      <a:pt x="770" y="1157"/>
                    </a:lnTo>
                    <a:lnTo>
                      <a:pt x="770" y="1166"/>
                    </a:lnTo>
                    <a:lnTo>
                      <a:pt x="761" y="1166"/>
                    </a:lnTo>
                    <a:lnTo>
                      <a:pt x="743" y="1170"/>
                    </a:lnTo>
                    <a:lnTo>
                      <a:pt x="734" y="1170"/>
                    </a:lnTo>
                    <a:lnTo>
                      <a:pt x="722" y="1178"/>
                    </a:lnTo>
                    <a:lnTo>
                      <a:pt x="711" y="1189"/>
                    </a:lnTo>
                    <a:lnTo>
                      <a:pt x="699" y="1191"/>
                    </a:lnTo>
                    <a:lnTo>
                      <a:pt x="678" y="1214"/>
                    </a:lnTo>
                    <a:lnTo>
                      <a:pt x="678" y="1211"/>
                    </a:lnTo>
                    <a:lnTo>
                      <a:pt x="678" y="1203"/>
                    </a:lnTo>
                    <a:lnTo>
                      <a:pt x="674" y="1197"/>
                    </a:lnTo>
                    <a:lnTo>
                      <a:pt x="672" y="1180"/>
                    </a:lnTo>
                    <a:lnTo>
                      <a:pt x="670" y="1172"/>
                    </a:lnTo>
                    <a:lnTo>
                      <a:pt x="672" y="1159"/>
                    </a:lnTo>
                    <a:lnTo>
                      <a:pt x="670" y="1157"/>
                    </a:lnTo>
                    <a:lnTo>
                      <a:pt x="655" y="1145"/>
                    </a:lnTo>
                    <a:lnTo>
                      <a:pt x="655" y="1136"/>
                    </a:lnTo>
                    <a:lnTo>
                      <a:pt x="665" y="1138"/>
                    </a:lnTo>
                    <a:lnTo>
                      <a:pt x="670" y="1136"/>
                    </a:lnTo>
                    <a:lnTo>
                      <a:pt x="684" y="1145"/>
                    </a:lnTo>
                    <a:lnTo>
                      <a:pt x="697" y="1141"/>
                    </a:lnTo>
                    <a:lnTo>
                      <a:pt x="711" y="1132"/>
                    </a:lnTo>
                    <a:lnTo>
                      <a:pt x="716" y="1124"/>
                    </a:lnTo>
                    <a:lnTo>
                      <a:pt x="718" y="1109"/>
                    </a:lnTo>
                    <a:lnTo>
                      <a:pt x="720" y="1097"/>
                    </a:lnTo>
                    <a:lnTo>
                      <a:pt x="730" y="1091"/>
                    </a:lnTo>
                    <a:lnTo>
                      <a:pt x="736" y="1093"/>
                    </a:lnTo>
                    <a:lnTo>
                      <a:pt x="749" y="1097"/>
                    </a:lnTo>
                    <a:lnTo>
                      <a:pt x="757" y="1101"/>
                    </a:lnTo>
                    <a:lnTo>
                      <a:pt x="768" y="1105"/>
                    </a:lnTo>
                    <a:close/>
                    <a:moveTo>
                      <a:pt x="1563" y="990"/>
                    </a:moveTo>
                    <a:lnTo>
                      <a:pt x="1557" y="992"/>
                    </a:lnTo>
                    <a:lnTo>
                      <a:pt x="1531" y="982"/>
                    </a:lnTo>
                    <a:lnTo>
                      <a:pt x="1525" y="978"/>
                    </a:lnTo>
                    <a:lnTo>
                      <a:pt x="1496" y="965"/>
                    </a:lnTo>
                    <a:lnTo>
                      <a:pt x="1475" y="947"/>
                    </a:lnTo>
                    <a:lnTo>
                      <a:pt x="1469" y="936"/>
                    </a:lnTo>
                    <a:lnTo>
                      <a:pt x="1463" y="924"/>
                    </a:lnTo>
                    <a:lnTo>
                      <a:pt x="1458" y="909"/>
                    </a:lnTo>
                    <a:lnTo>
                      <a:pt x="1458" y="899"/>
                    </a:lnTo>
                    <a:lnTo>
                      <a:pt x="1460" y="890"/>
                    </a:lnTo>
                    <a:lnTo>
                      <a:pt x="1460" y="882"/>
                    </a:lnTo>
                    <a:lnTo>
                      <a:pt x="1465" y="880"/>
                    </a:lnTo>
                    <a:lnTo>
                      <a:pt x="1486" y="899"/>
                    </a:lnTo>
                    <a:lnTo>
                      <a:pt x="1500" y="911"/>
                    </a:lnTo>
                    <a:lnTo>
                      <a:pt x="1509" y="917"/>
                    </a:lnTo>
                    <a:lnTo>
                      <a:pt x="1523" y="938"/>
                    </a:lnTo>
                    <a:lnTo>
                      <a:pt x="1529" y="947"/>
                    </a:lnTo>
                    <a:lnTo>
                      <a:pt x="1563" y="982"/>
                    </a:lnTo>
                    <a:lnTo>
                      <a:pt x="1563" y="990"/>
                    </a:lnTo>
                    <a:close/>
                    <a:moveTo>
                      <a:pt x="718" y="867"/>
                    </a:moveTo>
                    <a:lnTo>
                      <a:pt x="722" y="874"/>
                    </a:lnTo>
                    <a:lnTo>
                      <a:pt x="732" y="886"/>
                    </a:lnTo>
                    <a:lnTo>
                      <a:pt x="745" y="892"/>
                    </a:lnTo>
                    <a:lnTo>
                      <a:pt x="761" y="888"/>
                    </a:lnTo>
                    <a:lnTo>
                      <a:pt x="774" y="884"/>
                    </a:lnTo>
                    <a:lnTo>
                      <a:pt x="776" y="878"/>
                    </a:lnTo>
                    <a:lnTo>
                      <a:pt x="788" y="882"/>
                    </a:lnTo>
                    <a:lnTo>
                      <a:pt x="793" y="897"/>
                    </a:lnTo>
                    <a:lnTo>
                      <a:pt x="786" y="895"/>
                    </a:lnTo>
                    <a:lnTo>
                      <a:pt x="766" y="907"/>
                    </a:lnTo>
                    <a:lnTo>
                      <a:pt x="774" y="919"/>
                    </a:lnTo>
                    <a:lnTo>
                      <a:pt x="788" y="922"/>
                    </a:lnTo>
                    <a:lnTo>
                      <a:pt x="797" y="930"/>
                    </a:lnTo>
                    <a:lnTo>
                      <a:pt x="805" y="940"/>
                    </a:lnTo>
                    <a:lnTo>
                      <a:pt x="812" y="942"/>
                    </a:lnTo>
                    <a:lnTo>
                      <a:pt x="816" y="940"/>
                    </a:lnTo>
                    <a:lnTo>
                      <a:pt x="830" y="955"/>
                    </a:lnTo>
                    <a:lnTo>
                      <a:pt x="830" y="961"/>
                    </a:lnTo>
                    <a:lnTo>
                      <a:pt x="814" y="965"/>
                    </a:lnTo>
                    <a:lnTo>
                      <a:pt x="814" y="957"/>
                    </a:lnTo>
                    <a:lnTo>
                      <a:pt x="805" y="953"/>
                    </a:lnTo>
                    <a:lnTo>
                      <a:pt x="795" y="957"/>
                    </a:lnTo>
                    <a:lnTo>
                      <a:pt x="795" y="963"/>
                    </a:lnTo>
                    <a:lnTo>
                      <a:pt x="778" y="968"/>
                    </a:lnTo>
                    <a:lnTo>
                      <a:pt x="749" y="972"/>
                    </a:lnTo>
                    <a:lnTo>
                      <a:pt x="732" y="965"/>
                    </a:lnTo>
                    <a:lnTo>
                      <a:pt x="693" y="963"/>
                    </a:lnTo>
                    <a:lnTo>
                      <a:pt x="667" y="970"/>
                    </a:lnTo>
                    <a:lnTo>
                      <a:pt x="653" y="970"/>
                    </a:lnTo>
                    <a:lnTo>
                      <a:pt x="549" y="955"/>
                    </a:lnTo>
                    <a:lnTo>
                      <a:pt x="546" y="945"/>
                    </a:lnTo>
                    <a:lnTo>
                      <a:pt x="549" y="938"/>
                    </a:lnTo>
                    <a:lnTo>
                      <a:pt x="565" y="926"/>
                    </a:lnTo>
                    <a:lnTo>
                      <a:pt x="582" y="917"/>
                    </a:lnTo>
                    <a:lnTo>
                      <a:pt x="596" y="903"/>
                    </a:lnTo>
                    <a:lnTo>
                      <a:pt x="609" y="886"/>
                    </a:lnTo>
                    <a:lnTo>
                      <a:pt x="620" y="876"/>
                    </a:lnTo>
                    <a:lnTo>
                      <a:pt x="634" y="872"/>
                    </a:lnTo>
                    <a:lnTo>
                      <a:pt x="651" y="869"/>
                    </a:lnTo>
                    <a:lnTo>
                      <a:pt x="665" y="871"/>
                    </a:lnTo>
                    <a:lnTo>
                      <a:pt x="682" y="865"/>
                    </a:lnTo>
                    <a:lnTo>
                      <a:pt x="693" y="859"/>
                    </a:lnTo>
                    <a:lnTo>
                      <a:pt x="699" y="853"/>
                    </a:lnTo>
                    <a:lnTo>
                      <a:pt x="720" y="859"/>
                    </a:lnTo>
                    <a:lnTo>
                      <a:pt x="718" y="867"/>
                    </a:lnTo>
                    <a:close/>
                    <a:moveTo>
                      <a:pt x="1104" y="807"/>
                    </a:moveTo>
                    <a:lnTo>
                      <a:pt x="1120" y="851"/>
                    </a:lnTo>
                    <a:lnTo>
                      <a:pt x="1129" y="849"/>
                    </a:lnTo>
                    <a:lnTo>
                      <a:pt x="1135" y="857"/>
                    </a:lnTo>
                    <a:lnTo>
                      <a:pt x="1129" y="869"/>
                    </a:lnTo>
                    <a:lnTo>
                      <a:pt x="1129" y="880"/>
                    </a:lnTo>
                    <a:lnTo>
                      <a:pt x="1135" y="886"/>
                    </a:lnTo>
                    <a:lnTo>
                      <a:pt x="1145" y="884"/>
                    </a:lnTo>
                    <a:lnTo>
                      <a:pt x="1160" y="882"/>
                    </a:lnTo>
                    <a:lnTo>
                      <a:pt x="1177" y="897"/>
                    </a:lnTo>
                    <a:lnTo>
                      <a:pt x="1187" y="899"/>
                    </a:lnTo>
                    <a:lnTo>
                      <a:pt x="1196" y="903"/>
                    </a:lnTo>
                    <a:lnTo>
                      <a:pt x="1210" y="911"/>
                    </a:lnTo>
                    <a:lnTo>
                      <a:pt x="1223" y="909"/>
                    </a:lnTo>
                    <a:lnTo>
                      <a:pt x="1250" y="892"/>
                    </a:lnTo>
                    <a:lnTo>
                      <a:pt x="1275" y="886"/>
                    </a:lnTo>
                    <a:lnTo>
                      <a:pt x="1275" y="882"/>
                    </a:lnTo>
                    <a:lnTo>
                      <a:pt x="1331" y="882"/>
                    </a:lnTo>
                    <a:lnTo>
                      <a:pt x="1331" y="886"/>
                    </a:lnTo>
                    <a:lnTo>
                      <a:pt x="1335" y="890"/>
                    </a:lnTo>
                    <a:lnTo>
                      <a:pt x="1340" y="901"/>
                    </a:lnTo>
                    <a:lnTo>
                      <a:pt x="1344" y="922"/>
                    </a:lnTo>
                    <a:lnTo>
                      <a:pt x="1344" y="984"/>
                    </a:lnTo>
                    <a:lnTo>
                      <a:pt x="1340" y="993"/>
                    </a:lnTo>
                    <a:lnTo>
                      <a:pt x="1331" y="1007"/>
                    </a:lnTo>
                    <a:lnTo>
                      <a:pt x="1321" y="1013"/>
                    </a:lnTo>
                    <a:lnTo>
                      <a:pt x="1304" y="1018"/>
                    </a:lnTo>
                    <a:lnTo>
                      <a:pt x="1289" y="1026"/>
                    </a:lnTo>
                    <a:lnTo>
                      <a:pt x="1281" y="1036"/>
                    </a:lnTo>
                    <a:lnTo>
                      <a:pt x="1277" y="1072"/>
                    </a:lnTo>
                    <a:lnTo>
                      <a:pt x="1264" y="1088"/>
                    </a:lnTo>
                    <a:lnTo>
                      <a:pt x="1239" y="1107"/>
                    </a:lnTo>
                    <a:lnTo>
                      <a:pt x="1218" y="1116"/>
                    </a:lnTo>
                    <a:lnTo>
                      <a:pt x="1200" y="1118"/>
                    </a:lnTo>
                    <a:lnTo>
                      <a:pt x="1185" y="1114"/>
                    </a:lnTo>
                    <a:lnTo>
                      <a:pt x="1173" y="1105"/>
                    </a:lnTo>
                    <a:lnTo>
                      <a:pt x="1118" y="1053"/>
                    </a:lnTo>
                    <a:lnTo>
                      <a:pt x="1114" y="1040"/>
                    </a:lnTo>
                    <a:lnTo>
                      <a:pt x="1114" y="1028"/>
                    </a:lnTo>
                    <a:lnTo>
                      <a:pt x="1120" y="1017"/>
                    </a:lnTo>
                    <a:lnTo>
                      <a:pt x="1108" y="990"/>
                    </a:lnTo>
                    <a:lnTo>
                      <a:pt x="1099" y="953"/>
                    </a:lnTo>
                    <a:lnTo>
                      <a:pt x="1089" y="940"/>
                    </a:lnTo>
                    <a:lnTo>
                      <a:pt x="1095" y="899"/>
                    </a:lnTo>
                    <a:lnTo>
                      <a:pt x="1102" y="878"/>
                    </a:lnTo>
                    <a:lnTo>
                      <a:pt x="1102" y="867"/>
                    </a:lnTo>
                    <a:lnTo>
                      <a:pt x="1108" y="846"/>
                    </a:lnTo>
                    <a:lnTo>
                      <a:pt x="1100" y="832"/>
                    </a:lnTo>
                    <a:lnTo>
                      <a:pt x="1099" y="813"/>
                    </a:lnTo>
                    <a:lnTo>
                      <a:pt x="1104" y="807"/>
                    </a:lnTo>
                    <a:close/>
                    <a:moveTo>
                      <a:pt x="1043" y="742"/>
                    </a:moveTo>
                    <a:lnTo>
                      <a:pt x="1026" y="748"/>
                    </a:lnTo>
                    <a:lnTo>
                      <a:pt x="1031" y="742"/>
                    </a:lnTo>
                    <a:lnTo>
                      <a:pt x="1033" y="736"/>
                    </a:lnTo>
                    <a:lnTo>
                      <a:pt x="1026" y="723"/>
                    </a:lnTo>
                    <a:lnTo>
                      <a:pt x="1022" y="715"/>
                    </a:lnTo>
                    <a:lnTo>
                      <a:pt x="1014" y="709"/>
                    </a:lnTo>
                    <a:lnTo>
                      <a:pt x="1014" y="705"/>
                    </a:lnTo>
                    <a:lnTo>
                      <a:pt x="1037" y="719"/>
                    </a:lnTo>
                    <a:lnTo>
                      <a:pt x="1045" y="726"/>
                    </a:lnTo>
                    <a:lnTo>
                      <a:pt x="1039" y="730"/>
                    </a:lnTo>
                    <a:lnTo>
                      <a:pt x="1039" y="736"/>
                    </a:lnTo>
                    <a:lnTo>
                      <a:pt x="1043" y="742"/>
                    </a:lnTo>
                    <a:close/>
                    <a:moveTo>
                      <a:pt x="983" y="715"/>
                    </a:moveTo>
                    <a:lnTo>
                      <a:pt x="995" y="719"/>
                    </a:lnTo>
                    <a:lnTo>
                      <a:pt x="1004" y="717"/>
                    </a:lnTo>
                    <a:lnTo>
                      <a:pt x="1012" y="719"/>
                    </a:lnTo>
                    <a:lnTo>
                      <a:pt x="1012" y="723"/>
                    </a:lnTo>
                    <a:lnTo>
                      <a:pt x="1006" y="728"/>
                    </a:lnTo>
                    <a:lnTo>
                      <a:pt x="1001" y="736"/>
                    </a:lnTo>
                    <a:lnTo>
                      <a:pt x="1003" y="742"/>
                    </a:lnTo>
                    <a:lnTo>
                      <a:pt x="1012" y="746"/>
                    </a:lnTo>
                    <a:lnTo>
                      <a:pt x="999" y="751"/>
                    </a:lnTo>
                    <a:lnTo>
                      <a:pt x="993" y="751"/>
                    </a:lnTo>
                    <a:lnTo>
                      <a:pt x="981" y="740"/>
                    </a:lnTo>
                    <a:lnTo>
                      <a:pt x="985" y="736"/>
                    </a:lnTo>
                    <a:lnTo>
                      <a:pt x="985" y="728"/>
                    </a:lnTo>
                    <a:lnTo>
                      <a:pt x="981" y="723"/>
                    </a:lnTo>
                    <a:lnTo>
                      <a:pt x="976" y="721"/>
                    </a:lnTo>
                    <a:lnTo>
                      <a:pt x="978" y="711"/>
                    </a:lnTo>
                    <a:lnTo>
                      <a:pt x="974" y="701"/>
                    </a:lnTo>
                    <a:lnTo>
                      <a:pt x="974" y="698"/>
                    </a:lnTo>
                    <a:lnTo>
                      <a:pt x="976" y="692"/>
                    </a:lnTo>
                    <a:lnTo>
                      <a:pt x="976" y="700"/>
                    </a:lnTo>
                    <a:lnTo>
                      <a:pt x="980" y="709"/>
                    </a:lnTo>
                    <a:lnTo>
                      <a:pt x="983" y="715"/>
                    </a:lnTo>
                    <a:close/>
                    <a:moveTo>
                      <a:pt x="1018" y="615"/>
                    </a:moveTo>
                    <a:lnTo>
                      <a:pt x="1054" y="628"/>
                    </a:lnTo>
                    <a:lnTo>
                      <a:pt x="1060" y="617"/>
                    </a:lnTo>
                    <a:lnTo>
                      <a:pt x="1077" y="605"/>
                    </a:lnTo>
                    <a:lnTo>
                      <a:pt x="1087" y="603"/>
                    </a:lnTo>
                    <a:lnTo>
                      <a:pt x="1095" y="609"/>
                    </a:lnTo>
                    <a:lnTo>
                      <a:pt x="1099" y="628"/>
                    </a:lnTo>
                    <a:lnTo>
                      <a:pt x="1108" y="653"/>
                    </a:lnTo>
                    <a:lnTo>
                      <a:pt x="1112" y="661"/>
                    </a:lnTo>
                    <a:lnTo>
                      <a:pt x="1114" y="663"/>
                    </a:lnTo>
                    <a:lnTo>
                      <a:pt x="1120" y="667"/>
                    </a:lnTo>
                    <a:lnTo>
                      <a:pt x="1154" y="676"/>
                    </a:lnTo>
                    <a:lnTo>
                      <a:pt x="1160" y="675"/>
                    </a:lnTo>
                    <a:lnTo>
                      <a:pt x="1172" y="673"/>
                    </a:lnTo>
                    <a:lnTo>
                      <a:pt x="1185" y="675"/>
                    </a:lnTo>
                    <a:lnTo>
                      <a:pt x="1200" y="678"/>
                    </a:lnTo>
                    <a:lnTo>
                      <a:pt x="1216" y="688"/>
                    </a:lnTo>
                    <a:lnTo>
                      <a:pt x="1223" y="690"/>
                    </a:lnTo>
                    <a:lnTo>
                      <a:pt x="1233" y="703"/>
                    </a:lnTo>
                    <a:lnTo>
                      <a:pt x="1212" y="728"/>
                    </a:lnTo>
                    <a:lnTo>
                      <a:pt x="1156" y="726"/>
                    </a:lnTo>
                    <a:lnTo>
                      <a:pt x="1108" y="717"/>
                    </a:lnTo>
                    <a:lnTo>
                      <a:pt x="1095" y="709"/>
                    </a:lnTo>
                    <a:lnTo>
                      <a:pt x="1083" y="703"/>
                    </a:lnTo>
                    <a:lnTo>
                      <a:pt x="1077" y="705"/>
                    </a:lnTo>
                    <a:lnTo>
                      <a:pt x="1070" y="700"/>
                    </a:lnTo>
                    <a:lnTo>
                      <a:pt x="1070" y="698"/>
                    </a:lnTo>
                    <a:lnTo>
                      <a:pt x="1037" y="680"/>
                    </a:lnTo>
                    <a:lnTo>
                      <a:pt x="1026" y="675"/>
                    </a:lnTo>
                    <a:lnTo>
                      <a:pt x="991" y="667"/>
                    </a:lnTo>
                    <a:lnTo>
                      <a:pt x="968" y="661"/>
                    </a:lnTo>
                    <a:lnTo>
                      <a:pt x="955" y="661"/>
                    </a:lnTo>
                    <a:lnTo>
                      <a:pt x="932" y="661"/>
                    </a:lnTo>
                    <a:lnTo>
                      <a:pt x="907" y="650"/>
                    </a:lnTo>
                    <a:lnTo>
                      <a:pt x="899" y="636"/>
                    </a:lnTo>
                    <a:lnTo>
                      <a:pt x="897" y="630"/>
                    </a:lnTo>
                    <a:lnTo>
                      <a:pt x="899" y="623"/>
                    </a:lnTo>
                    <a:lnTo>
                      <a:pt x="912" y="617"/>
                    </a:lnTo>
                    <a:lnTo>
                      <a:pt x="933" y="602"/>
                    </a:lnTo>
                    <a:lnTo>
                      <a:pt x="968" y="596"/>
                    </a:lnTo>
                    <a:lnTo>
                      <a:pt x="989" y="596"/>
                    </a:lnTo>
                    <a:lnTo>
                      <a:pt x="1006" y="602"/>
                    </a:lnTo>
                    <a:lnTo>
                      <a:pt x="1014" y="609"/>
                    </a:lnTo>
                    <a:lnTo>
                      <a:pt x="1018" y="615"/>
                    </a:lnTo>
                    <a:close/>
                    <a:moveTo>
                      <a:pt x="1227" y="628"/>
                    </a:moveTo>
                    <a:lnTo>
                      <a:pt x="1233" y="634"/>
                    </a:lnTo>
                    <a:lnTo>
                      <a:pt x="1237" y="630"/>
                    </a:lnTo>
                    <a:lnTo>
                      <a:pt x="1268" y="657"/>
                    </a:lnTo>
                    <a:lnTo>
                      <a:pt x="1269" y="653"/>
                    </a:lnTo>
                    <a:lnTo>
                      <a:pt x="1302" y="690"/>
                    </a:lnTo>
                    <a:lnTo>
                      <a:pt x="1298" y="701"/>
                    </a:lnTo>
                    <a:lnTo>
                      <a:pt x="1306" y="703"/>
                    </a:lnTo>
                    <a:lnTo>
                      <a:pt x="1321" y="738"/>
                    </a:lnTo>
                    <a:lnTo>
                      <a:pt x="1319" y="742"/>
                    </a:lnTo>
                    <a:lnTo>
                      <a:pt x="1287" y="732"/>
                    </a:lnTo>
                    <a:lnTo>
                      <a:pt x="1260" y="732"/>
                    </a:lnTo>
                    <a:lnTo>
                      <a:pt x="1256" y="726"/>
                    </a:lnTo>
                    <a:lnTo>
                      <a:pt x="1250" y="701"/>
                    </a:lnTo>
                    <a:lnTo>
                      <a:pt x="1231" y="682"/>
                    </a:lnTo>
                    <a:lnTo>
                      <a:pt x="1195" y="669"/>
                    </a:lnTo>
                    <a:lnTo>
                      <a:pt x="1172" y="663"/>
                    </a:lnTo>
                    <a:lnTo>
                      <a:pt x="1152" y="663"/>
                    </a:lnTo>
                    <a:lnTo>
                      <a:pt x="1124" y="650"/>
                    </a:lnTo>
                    <a:lnTo>
                      <a:pt x="1120" y="638"/>
                    </a:lnTo>
                    <a:lnTo>
                      <a:pt x="1120" y="625"/>
                    </a:lnTo>
                    <a:lnTo>
                      <a:pt x="1114" y="602"/>
                    </a:lnTo>
                    <a:lnTo>
                      <a:pt x="1114" y="596"/>
                    </a:lnTo>
                    <a:lnTo>
                      <a:pt x="1110" y="592"/>
                    </a:lnTo>
                    <a:lnTo>
                      <a:pt x="1110" y="582"/>
                    </a:lnTo>
                    <a:lnTo>
                      <a:pt x="1114" y="577"/>
                    </a:lnTo>
                    <a:lnTo>
                      <a:pt x="1116" y="571"/>
                    </a:lnTo>
                    <a:lnTo>
                      <a:pt x="1124" y="565"/>
                    </a:lnTo>
                    <a:lnTo>
                      <a:pt x="1133" y="563"/>
                    </a:lnTo>
                    <a:lnTo>
                      <a:pt x="1160" y="569"/>
                    </a:lnTo>
                    <a:lnTo>
                      <a:pt x="1170" y="575"/>
                    </a:lnTo>
                    <a:lnTo>
                      <a:pt x="1185" y="592"/>
                    </a:lnTo>
                    <a:lnTo>
                      <a:pt x="1200" y="600"/>
                    </a:lnTo>
                    <a:lnTo>
                      <a:pt x="1202" y="602"/>
                    </a:lnTo>
                    <a:lnTo>
                      <a:pt x="1212" y="609"/>
                    </a:lnTo>
                    <a:lnTo>
                      <a:pt x="1225" y="623"/>
                    </a:lnTo>
                    <a:lnTo>
                      <a:pt x="1227" y="628"/>
                    </a:lnTo>
                    <a:close/>
                    <a:moveTo>
                      <a:pt x="605" y="10"/>
                    </a:moveTo>
                    <a:lnTo>
                      <a:pt x="607" y="12"/>
                    </a:lnTo>
                    <a:lnTo>
                      <a:pt x="615" y="12"/>
                    </a:lnTo>
                    <a:lnTo>
                      <a:pt x="617" y="14"/>
                    </a:lnTo>
                    <a:lnTo>
                      <a:pt x="659" y="23"/>
                    </a:lnTo>
                    <a:lnTo>
                      <a:pt x="661" y="21"/>
                    </a:lnTo>
                    <a:lnTo>
                      <a:pt x="663" y="12"/>
                    </a:lnTo>
                    <a:lnTo>
                      <a:pt x="665" y="10"/>
                    </a:lnTo>
                    <a:lnTo>
                      <a:pt x="668" y="10"/>
                    </a:lnTo>
                    <a:lnTo>
                      <a:pt x="684" y="14"/>
                    </a:lnTo>
                    <a:lnTo>
                      <a:pt x="686" y="16"/>
                    </a:lnTo>
                    <a:lnTo>
                      <a:pt x="688" y="18"/>
                    </a:lnTo>
                    <a:lnTo>
                      <a:pt x="692" y="18"/>
                    </a:lnTo>
                    <a:lnTo>
                      <a:pt x="695" y="16"/>
                    </a:lnTo>
                    <a:lnTo>
                      <a:pt x="699" y="18"/>
                    </a:lnTo>
                    <a:lnTo>
                      <a:pt x="703" y="18"/>
                    </a:lnTo>
                    <a:lnTo>
                      <a:pt x="730" y="31"/>
                    </a:lnTo>
                    <a:lnTo>
                      <a:pt x="736" y="35"/>
                    </a:lnTo>
                    <a:lnTo>
                      <a:pt x="740" y="39"/>
                    </a:lnTo>
                    <a:lnTo>
                      <a:pt x="747" y="52"/>
                    </a:lnTo>
                    <a:lnTo>
                      <a:pt x="751" y="66"/>
                    </a:lnTo>
                    <a:lnTo>
                      <a:pt x="753" y="71"/>
                    </a:lnTo>
                    <a:lnTo>
                      <a:pt x="755" y="89"/>
                    </a:lnTo>
                    <a:lnTo>
                      <a:pt x="757" y="92"/>
                    </a:lnTo>
                    <a:lnTo>
                      <a:pt x="764" y="100"/>
                    </a:lnTo>
                    <a:lnTo>
                      <a:pt x="772" y="110"/>
                    </a:lnTo>
                    <a:lnTo>
                      <a:pt x="778" y="117"/>
                    </a:lnTo>
                    <a:lnTo>
                      <a:pt x="784" y="123"/>
                    </a:lnTo>
                    <a:lnTo>
                      <a:pt x="786" y="127"/>
                    </a:lnTo>
                    <a:lnTo>
                      <a:pt x="789" y="129"/>
                    </a:lnTo>
                    <a:lnTo>
                      <a:pt x="793" y="127"/>
                    </a:lnTo>
                    <a:lnTo>
                      <a:pt x="795" y="129"/>
                    </a:lnTo>
                    <a:lnTo>
                      <a:pt x="803" y="137"/>
                    </a:lnTo>
                    <a:lnTo>
                      <a:pt x="809" y="142"/>
                    </a:lnTo>
                    <a:lnTo>
                      <a:pt x="812" y="148"/>
                    </a:lnTo>
                    <a:lnTo>
                      <a:pt x="820" y="150"/>
                    </a:lnTo>
                    <a:lnTo>
                      <a:pt x="824" y="152"/>
                    </a:lnTo>
                    <a:lnTo>
                      <a:pt x="830" y="150"/>
                    </a:lnTo>
                    <a:lnTo>
                      <a:pt x="839" y="150"/>
                    </a:lnTo>
                    <a:lnTo>
                      <a:pt x="847" y="154"/>
                    </a:lnTo>
                    <a:lnTo>
                      <a:pt x="855" y="156"/>
                    </a:lnTo>
                    <a:lnTo>
                      <a:pt x="859" y="160"/>
                    </a:lnTo>
                    <a:lnTo>
                      <a:pt x="903" y="204"/>
                    </a:lnTo>
                    <a:lnTo>
                      <a:pt x="903" y="206"/>
                    </a:lnTo>
                    <a:lnTo>
                      <a:pt x="905" y="210"/>
                    </a:lnTo>
                    <a:lnTo>
                      <a:pt x="903" y="214"/>
                    </a:lnTo>
                    <a:lnTo>
                      <a:pt x="901" y="217"/>
                    </a:lnTo>
                    <a:lnTo>
                      <a:pt x="897" y="221"/>
                    </a:lnTo>
                    <a:lnTo>
                      <a:pt x="884" y="231"/>
                    </a:lnTo>
                    <a:lnTo>
                      <a:pt x="874" y="237"/>
                    </a:lnTo>
                    <a:lnTo>
                      <a:pt x="866" y="238"/>
                    </a:lnTo>
                    <a:lnTo>
                      <a:pt x="857" y="242"/>
                    </a:lnTo>
                    <a:lnTo>
                      <a:pt x="847" y="244"/>
                    </a:lnTo>
                    <a:lnTo>
                      <a:pt x="843" y="244"/>
                    </a:lnTo>
                    <a:lnTo>
                      <a:pt x="824" y="254"/>
                    </a:lnTo>
                    <a:lnTo>
                      <a:pt x="822" y="254"/>
                    </a:lnTo>
                    <a:lnTo>
                      <a:pt x="814" y="244"/>
                    </a:lnTo>
                    <a:lnTo>
                      <a:pt x="811" y="244"/>
                    </a:lnTo>
                    <a:lnTo>
                      <a:pt x="803" y="244"/>
                    </a:lnTo>
                    <a:lnTo>
                      <a:pt x="801" y="244"/>
                    </a:lnTo>
                    <a:lnTo>
                      <a:pt x="799" y="244"/>
                    </a:lnTo>
                    <a:lnTo>
                      <a:pt x="795" y="240"/>
                    </a:lnTo>
                    <a:lnTo>
                      <a:pt x="788" y="238"/>
                    </a:lnTo>
                    <a:lnTo>
                      <a:pt x="778" y="237"/>
                    </a:lnTo>
                    <a:lnTo>
                      <a:pt x="766" y="233"/>
                    </a:lnTo>
                    <a:lnTo>
                      <a:pt x="759" y="229"/>
                    </a:lnTo>
                    <a:lnTo>
                      <a:pt x="755" y="229"/>
                    </a:lnTo>
                    <a:lnTo>
                      <a:pt x="753" y="229"/>
                    </a:lnTo>
                    <a:lnTo>
                      <a:pt x="749" y="231"/>
                    </a:lnTo>
                    <a:lnTo>
                      <a:pt x="726" y="254"/>
                    </a:lnTo>
                    <a:lnTo>
                      <a:pt x="722" y="254"/>
                    </a:lnTo>
                    <a:lnTo>
                      <a:pt x="722" y="256"/>
                    </a:lnTo>
                    <a:lnTo>
                      <a:pt x="724" y="260"/>
                    </a:lnTo>
                    <a:lnTo>
                      <a:pt x="728" y="262"/>
                    </a:lnTo>
                    <a:lnTo>
                      <a:pt x="734" y="263"/>
                    </a:lnTo>
                    <a:lnTo>
                      <a:pt x="741" y="262"/>
                    </a:lnTo>
                    <a:lnTo>
                      <a:pt x="747" y="263"/>
                    </a:lnTo>
                    <a:lnTo>
                      <a:pt x="757" y="265"/>
                    </a:lnTo>
                    <a:lnTo>
                      <a:pt x="778" y="275"/>
                    </a:lnTo>
                    <a:lnTo>
                      <a:pt x="782" y="277"/>
                    </a:lnTo>
                    <a:lnTo>
                      <a:pt x="784" y="283"/>
                    </a:lnTo>
                    <a:lnTo>
                      <a:pt x="786" y="288"/>
                    </a:lnTo>
                    <a:lnTo>
                      <a:pt x="784" y="294"/>
                    </a:lnTo>
                    <a:lnTo>
                      <a:pt x="774" y="310"/>
                    </a:lnTo>
                    <a:lnTo>
                      <a:pt x="751" y="298"/>
                    </a:lnTo>
                    <a:lnTo>
                      <a:pt x="749" y="300"/>
                    </a:lnTo>
                    <a:lnTo>
                      <a:pt x="745" y="302"/>
                    </a:lnTo>
                    <a:lnTo>
                      <a:pt x="743" y="310"/>
                    </a:lnTo>
                    <a:lnTo>
                      <a:pt x="745" y="311"/>
                    </a:lnTo>
                    <a:lnTo>
                      <a:pt x="743" y="313"/>
                    </a:lnTo>
                    <a:lnTo>
                      <a:pt x="741" y="313"/>
                    </a:lnTo>
                    <a:lnTo>
                      <a:pt x="734" y="321"/>
                    </a:lnTo>
                    <a:lnTo>
                      <a:pt x="711" y="342"/>
                    </a:lnTo>
                    <a:lnTo>
                      <a:pt x="709" y="342"/>
                    </a:lnTo>
                    <a:lnTo>
                      <a:pt x="703" y="344"/>
                    </a:lnTo>
                    <a:lnTo>
                      <a:pt x="692" y="342"/>
                    </a:lnTo>
                    <a:lnTo>
                      <a:pt x="690" y="342"/>
                    </a:lnTo>
                    <a:lnTo>
                      <a:pt x="678" y="336"/>
                    </a:lnTo>
                    <a:lnTo>
                      <a:pt x="678" y="335"/>
                    </a:lnTo>
                    <a:lnTo>
                      <a:pt x="670" y="331"/>
                    </a:lnTo>
                    <a:lnTo>
                      <a:pt x="663" y="321"/>
                    </a:lnTo>
                    <a:lnTo>
                      <a:pt x="661" y="323"/>
                    </a:lnTo>
                    <a:lnTo>
                      <a:pt x="665" y="325"/>
                    </a:lnTo>
                    <a:lnTo>
                      <a:pt x="663" y="327"/>
                    </a:lnTo>
                    <a:lnTo>
                      <a:pt x="647" y="319"/>
                    </a:lnTo>
                    <a:lnTo>
                      <a:pt x="649" y="317"/>
                    </a:lnTo>
                    <a:lnTo>
                      <a:pt x="651" y="317"/>
                    </a:lnTo>
                    <a:lnTo>
                      <a:pt x="651" y="315"/>
                    </a:lnTo>
                    <a:lnTo>
                      <a:pt x="619" y="296"/>
                    </a:lnTo>
                    <a:lnTo>
                      <a:pt x="594" y="283"/>
                    </a:lnTo>
                    <a:lnTo>
                      <a:pt x="588" y="281"/>
                    </a:lnTo>
                    <a:lnTo>
                      <a:pt x="586" y="279"/>
                    </a:lnTo>
                    <a:lnTo>
                      <a:pt x="586" y="263"/>
                    </a:lnTo>
                    <a:lnTo>
                      <a:pt x="580" y="250"/>
                    </a:lnTo>
                    <a:lnTo>
                      <a:pt x="569" y="269"/>
                    </a:lnTo>
                    <a:lnTo>
                      <a:pt x="567" y="269"/>
                    </a:lnTo>
                    <a:lnTo>
                      <a:pt x="565" y="271"/>
                    </a:lnTo>
                    <a:lnTo>
                      <a:pt x="544" y="260"/>
                    </a:lnTo>
                    <a:lnTo>
                      <a:pt x="540" y="262"/>
                    </a:lnTo>
                    <a:lnTo>
                      <a:pt x="538" y="263"/>
                    </a:lnTo>
                    <a:lnTo>
                      <a:pt x="536" y="269"/>
                    </a:lnTo>
                    <a:lnTo>
                      <a:pt x="534" y="271"/>
                    </a:lnTo>
                    <a:lnTo>
                      <a:pt x="528" y="283"/>
                    </a:lnTo>
                    <a:lnTo>
                      <a:pt x="524" y="292"/>
                    </a:lnTo>
                    <a:lnTo>
                      <a:pt x="553" y="310"/>
                    </a:lnTo>
                    <a:lnTo>
                      <a:pt x="576" y="323"/>
                    </a:lnTo>
                    <a:lnTo>
                      <a:pt x="580" y="327"/>
                    </a:lnTo>
                    <a:lnTo>
                      <a:pt x="590" y="335"/>
                    </a:lnTo>
                    <a:lnTo>
                      <a:pt x="620" y="350"/>
                    </a:lnTo>
                    <a:lnTo>
                      <a:pt x="624" y="354"/>
                    </a:lnTo>
                    <a:lnTo>
                      <a:pt x="624" y="360"/>
                    </a:lnTo>
                    <a:lnTo>
                      <a:pt x="622" y="363"/>
                    </a:lnTo>
                    <a:lnTo>
                      <a:pt x="617" y="367"/>
                    </a:lnTo>
                    <a:lnTo>
                      <a:pt x="582" y="388"/>
                    </a:lnTo>
                    <a:lnTo>
                      <a:pt x="536" y="413"/>
                    </a:lnTo>
                    <a:lnTo>
                      <a:pt x="498" y="427"/>
                    </a:lnTo>
                    <a:lnTo>
                      <a:pt x="430" y="450"/>
                    </a:lnTo>
                    <a:lnTo>
                      <a:pt x="402" y="346"/>
                    </a:lnTo>
                    <a:lnTo>
                      <a:pt x="394" y="340"/>
                    </a:lnTo>
                    <a:lnTo>
                      <a:pt x="373" y="321"/>
                    </a:lnTo>
                    <a:lnTo>
                      <a:pt x="367" y="315"/>
                    </a:lnTo>
                    <a:lnTo>
                      <a:pt x="367" y="313"/>
                    </a:lnTo>
                    <a:lnTo>
                      <a:pt x="371" y="310"/>
                    </a:lnTo>
                    <a:lnTo>
                      <a:pt x="367" y="306"/>
                    </a:lnTo>
                    <a:lnTo>
                      <a:pt x="365" y="308"/>
                    </a:lnTo>
                    <a:lnTo>
                      <a:pt x="357" y="306"/>
                    </a:lnTo>
                    <a:lnTo>
                      <a:pt x="356" y="304"/>
                    </a:lnTo>
                    <a:lnTo>
                      <a:pt x="346" y="294"/>
                    </a:lnTo>
                    <a:lnTo>
                      <a:pt x="309" y="263"/>
                    </a:lnTo>
                    <a:lnTo>
                      <a:pt x="258" y="319"/>
                    </a:lnTo>
                    <a:lnTo>
                      <a:pt x="298" y="358"/>
                    </a:lnTo>
                    <a:lnTo>
                      <a:pt x="300" y="361"/>
                    </a:lnTo>
                    <a:lnTo>
                      <a:pt x="317" y="375"/>
                    </a:lnTo>
                    <a:lnTo>
                      <a:pt x="334" y="419"/>
                    </a:lnTo>
                    <a:lnTo>
                      <a:pt x="367" y="548"/>
                    </a:lnTo>
                    <a:lnTo>
                      <a:pt x="369" y="563"/>
                    </a:lnTo>
                    <a:lnTo>
                      <a:pt x="365" y="573"/>
                    </a:lnTo>
                    <a:lnTo>
                      <a:pt x="352" y="592"/>
                    </a:lnTo>
                    <a:lnTo>
                      <a:pt x="271" y="675"/>
                    </a:lnTo>
                    <a:lnTo>
                      <a:pt x="236" y="707"/>
                    </a:lnTo>
                    <a:lnTo>
                      <a:pt x="194" y="751"/>
                    </a:lnTo>
                    <a:lnTo>
                      <a:pt x="187" y="755"/>
                    </a:lnTo>
                    <a:lnTo>
                      <a:pt x="179" y="755"/>
                    </a:lnTo>
                    <a:lnTo>
                      <a:pt x="173" y="753"/>
                    </a:lnTo>
                    <a:lnTo>
                      <a:pt x="167" y="749"/>
                    </a:lnTo>
                    <a:lnTo>
                      <a:pt x="165" y="746"/>
                    </a:lnTo>
                    <a:lnTo>
                      <a:pt x="148" y="711"/>
                    </a:lnTo>
                    <a:lnTo>
                      <a:pt x="148" y="709"/>
                    </a:lnTo>
                    <a:lnTo>
                      <a:pt x="146" y="707"/>
                    </a:lnTo>
                    <a:lnTo>
                      <a:pt x="144" y="701"/>
                    </a:lnTo>
                    <a:lnTo>
                      <a:pt x="144" y="694"/>
                    </a:lnTo>
                    <a:lnTo>
                      <a:pt x="146" y="692"/>
                    </a:lnTo>
                    <a:lnTo>
                      <a:pt x="148" y="692"/>
                    </a:lnTo>
                    <a:lnTo>
                      <a:pt x="148" y="694"/>
                    </a:lnTo>
                    <a:lnTo>
                      <a:pt x="148" y="696"/>
                    </a:lnTo>
                    <a:lnTo>
                      <a:pt x="150" y="703"/>
                    </a:lnTo>
                    <a:lnTo>
                      <a:pt x="150" y="707"/>
                    </a:lnTo>
                    <a:lnTo>
                      <a:pt x="158" y="721"/>
                    </a:lnTo>
                    <a:lnTo>
                      <a:pt x="165" y="738"/>
                    </a:lnTo>
                    <a:lnTo>
                      <a:pt x="167" y="742"/>
                    </a:lnTo>
                    <a:lnTo>
                      <a:pt x="169" y="744"/>
                    </a:lnTo>
                    <a:lnTo>
                      <a:pt x="171" y="744"/>
                    </a:lnTo>
                    <a:lnTo>
                      <a:pt x="173" y="744"/>
                    </a:lnTo>
                    <a:lnTo>
                      <a:pt x="175" y="744"/>
                    </a:lnTo>
                    <a:lnTo>
                      <a:pt x="187" y="732"/>
                    </a:lnTo>
                    <a:lnTo>
                      <a:pt x="213" y="703"/>
                    </a:lnTo>
                    <a:lnTo>
                      <a:pt x="215" y="701"/>
                    </a:lnTo>
                    <a:lnTo>
                      <a:pt x="215" y="698"/>
                    </a:lnTo>
                    <a:lnTo>
                      <a:pt x="213" y="694"/>
                    </a:lnTo>
                    <a:lnTo>
                      <a:pt x="198" y="661"/>
                    </a:lnTo>
                    <a:lnTo>
                      <a:pt x="198" y="659"/>
                    </a:lnTo>
                    <a:lnTo>
                      <a:pt x="196" y="655"/>
                    </a:lnTo>
                    <a:lnTo>
                      <a:pt x="194" y="652"/>
                    </a:lnTo>
                    <a:lnTo>
                      <a:pt x="190" y="646"/>
                    </a:lnTo>
                    <a:lnTo>
                      <a:pt x="177" y="628"/>
                    </a:lnTo>
                    <a:lnTo>
                      <a:pt x="165" y="627"/>
                    </a:lnTo>
                    <a:lnTo>
                      <a:pt x="135" y="627"/>
                    </a:lnTo>
                    <a:lnTo>
                      <a:pt x="135" y="623"/>
                    </a:lnTo>
                    <a:lnTo>
                      <a:pt x="98" y="542"/>
                    </a:lnTo>
                    <a:lnTo>
                      <a:pt x="96" y="538"/>
                    </a:lnTo>
                    <a:lnTo>
                      <a:pt x="108" y="530"/>
                    </a:lnTo>
                    <a:lnTo>
                      <a:pt x="137" y="517"/>
                    </a:lnTo>
                    <a:lnTo>
                      <a:pt x="140" y="513"/>
                    </a:lnTo>
                    <a:lnTo>
                      <a:pt x="112" y="446"/>
                    </a:lnTo>
                    <a:lnTo>
                      <a:pt x="104" y="438"/>
                    </a:lnTo>
                    <a:lnTo>
                      <a:pt x="50" y="338"/>
                    </a:lnTo>
                    <a:lnTo>
                      <a:pt x="50" y="325"/>
                    </a:lnTo>
                    <a:lnTo>
                      <a:pt x="50" y="317"/>
                    </a:lnTo>
                    <a:lnTo>
                      <a:pt x="33" y="279"/>
                    </a:lnTo>
                    <a:lnTo>
                      <a:pt x="20" y="269"/>
                    </a:lnTo>
                    <a:lnTo>
                      <a:pt x="14" y="262"/>
                    </a:lnTo>
                    <a:lnTo>
                      <a:pt x="14" y="254"/>
                    </a:lnTo>
                    <a:lnTo>
                      <a:pt x="6" y="244"/>
                    </a:lnTo>
                    <a:lnTo>
                      <a:pt x="0" y="237"/>
                    </a:lnTo>
                    <a:lnTo>
                      <a:pt x="4" y="235"/>
                    </a:lnTo>
                    <a:lnTo>
                      <a:pt x="217" y="83"/>
                    </a:lnTo>
                    <a:lnTo>
                      <a:pt x="292" y="39"/>
                    </a:lnTo>
                    <a:lnTo>
                      <a:pt x="302" y="33"/>
                    </a:lnTo>
                    <a:lnTo>
                      <a:pt x="317" y="29"/>
                    </a:lnTo>
                    <a:lnTo>
                      <a:pt x="329" y="25"/>
                    </a:lnTo>
                    <a:lnTo>
                      <a:pt x="338" y="23"/>
                    </a:lnTo>
                    <a:lnTo>
                      <a:pt x="359" y="23"/>
                    </a:lnTo>
                    <a:lnTo>
                      <a:pt x="373" y="23"/>
                    </a:lnTo>
                    <a:lnTo>
                      <a:pt x="382" y="23"/>
                    </a:lnTo>
                    <a:lnTo>
                      <a:pt x="392" y="19"/>
                    </a:lnTo>
                    <a:lnTo>
                      <a:pt x="396" y="21"/>
                    </a:lnTo>
                    <a:lnTo>
                      <a:pt x="402" y="23"/>
                    </a:lnTo>
                    <a:lnTo>
                      <a:pt x="411" y="23"/>
                    </a:lnTo>
                    <a:lnTo>
                      <a:pt x="417" y="21"/>
                    </a:lnTo>
                    <a:lnTo>
                      <a:pt x="421" y="23"/>
                    </a:lnTo>
                    <a:lnTo>
                      <a:pt x="423" y="25"/>
                    </a:lnTo>
                    <a:lnTo>
                      <a:pt x="421" y="31"/>
                    </a:lnTo>
                    <a:lnTo>
                      <a:pt x="415" y="39"/>
                    </a:lnTo>
                    <a:lnTo>
                      <a:pt x="377" y="83"/>
                    </a:lnTo>
                    <a:lnTo>
                      <a:pt x="371" y="108"/>
                    </a:lnTo>
                    <a:lnTo>
                      <a:pt x="356" y="123"/>
                    </a:lnTo>
                    <a:lnTo>
                      <a:pt x="352" y="123"/>
                    </a:lnTo>
                    <a:lnTo>
                      <a:pt x="350" y="129"/>
                    </a:lnTo>
                    <a:lnTo>
                      <a:pt x="329" y="148"/>
                    </a:lnTo>
                    <a:lnTo>
                      <a:pt x="315" y="164"/>
                    </a:lnTo>
                    <a:lnTo>
                      <a:pt x="298" y="177"/>
                    </a:lnTo>
                    <a:lnTo>
                      <a:pt x="344" y="219"/>
                    </a:lnTo>
                    <a:lnTo>
                      <a:pt x="356" y="204"/>
                    </a:lnTo>
                    <a:lnTo>
                      <a:pt x="365" y="192"/>
                    </a:lnTo>
                    <a:lnTo>
                      <a:pt x="367" y="194"/>
                    </a:lnTo>
                    <a:lnTo>
                      <a:pt x="369" y="189"/>
                    </a:lnTo>
                    <a:lnTo>
                      <a:pt x="371" y="183"/>
                    </a:lnTo>
                    <a:lnTo>
                      <a:pt x="377" y="175"/>
                    </a:lnTo>
                    <a:lnTo>
                      <a:pt x="382" y="169"/>
                    </a:lnTo>
                    <a:lnTo>
                      <a:pt x="392" y="175"/>
                    </a:lnTo>
                    <a:lnTo>
                      <a:pt x="398" y="179"/>
                    </a:lnTo>
                    <a:lnTo>
                      <a:pt x="413" y="171"/>
                    </a:lnTo>
                    <a:lnTo>
                      <a:pt x="425" y="171"/>
                    </a:lnTo>
                    <a:lnTo>
                      <a:pt x="428" y="162"/>
                    </a:lnTo>
                    <a:lnTo>
                      <a:pt x="423" y="148"/>
                    </a:lnTo>
                    <a:lnTo>
                      <a:pt x="428" y="123"/>
                    </a:lnTo>
                    <a:lnTo>
                      <a:pt x="436" y="116"/>
                    </a:lnTo>
                    <a:lnTo>
                      <a:pt x="455" y="104"/>
                    </a:lnTo>
                    <a:lnTo>
                      <a:pt x="463" y="98"/>
                    </a:lnTo>
                    <a:lnTo>
                      <a:pt x="465" y="96"/>
                    </a:lnTo>
                    <a:lnTo>
                      <a:pt x="471" y="91"/>
                    </a:lnTo>
                    <a:lnTo>
                      <a:pt x="471" y="89"/>
                    </a:lnTo>
                    <a:lnTo>
                      <a:pt x="475" y="87"/>
                    </a:lnTo>
                    <a:lnTo>
                      <a:pt x="476" y="85"/>
                    </a:lnTo>
                    <a:lnTo>
                      <a:pt x="480" y="89"/>
                    </a:lnTo>
                    <a:lnTo>
                      <a:pt x="486" y="94"/>
                    </a:lnTo>
                    <a:lnTo>
                      <a:pt x="488" y="96"/>
                    </a:lnTo>
                    <a:lnTo>
                      <a:pt x="492" y="104"/>
                    </a:lnTo>
                    <a:lnTo>
                      <a:pt x="498" y="110"/>
                    </a:lnTo>
                    <a:lnTo>
                      <a:pt x="501" y="116"/>
                    </a:lnTo>
                    <a:lnTo>
                      <a:pt x="507" y="121"/>
                    </a:lnTo>
                    <a:lnTo>
                      <a:pt x="509" y="123"/>
                    </a:lnTo>
                    <a:lnTo>
                      <a:pt x="513" y="137"/>
                    </a:lnTo>
                    <a:lnTo>
                      <a:pt x="517" y="144"/>
                    </a:lnTo>
                    <a:lnTo>
                      <a:pt x="519" y="154"/>
                    </a:lnTo>
                    <a:lnTo>
                      <a:pt x="521" y="158"/>
                    </a:lnTo>
                    <a:lnTo>
                      <a:pt x="526" y="164"/>
                    </a:lnTo>
                    <a:lnTo>
                      <a:pt x="534" y="173"/>
                    </a:lnTo>
                    <a:lnTo>
                      <a:pt x="538" y="175"/>
                    </a:lnTo>
                    <a:lnTo>
                      <a:pt x="540" y="179"/>
                    </a:lnTo>
                    <a:lnTo>
                      <a:pt x="549" y="187"/>
                    </a:lnTo>
                    <a:lnTo>
                      <a:pt x="553" y="189"/>
                    </a:lnTo>
                    <a:lnTo>
                      <a:pt x="559" y="190"/>
                    </a:lnTo>
                    <a:lnTo>
                      <a:pt x="563" y="190"/>
                    </a:lnTo>
                    <a:lnTo>
                      <a:pt x="565" y="189"/>
                    </a:lnTo>
                    <a:lnTo>
                      <a:pt x="563" y="189"/>
                    </a:lnTo>
                    <a:lnTo>
                      <a:pt x="572" y="177"/>
                    </a:lnTo>
                    <a:lnTo>
                      <a:pt x="586" y="167"/>
                    </a:lnTo>
                    <a:lnTo>
                      <a:pt x="590" y="162"/>
                    </a:lnTo>
                    <a:lnTo>
                      <a:pt x="590" y="158"/>
                    </a:lnTo>
                    <a:lnTo>
                      <a:pt x="588" y="156"/>
                    </a:lnTo>
                    <a:lnTo>
                      <a:pt x="586" y="154"/>
                    </a:lnTo>
                    <a:lnTo>
                      <a:pt x="582" y="150"/>
                    </a:lnTo>
                    <a:lnTo>
                      <a:pt x="578" y="152"/>
                    </a:lnTo>
                    <a:lnTo>
                      <a:pt x="571" y="150"/>
                    </a:lnTo>
                    <a:lnTo>
                      <a:pt x="561" y="146"/>
                    </a:lnTo>
                    <a:lnTo>
                      <a:pt x="557" y="142"/>
                    </a:lnTo>
                    <a:lnTo>
                      <a:pt x="546" y="121"/>
                    </a:lnTo>
                    <a:lnTo>
                      <a:pt x="544" y="116"/>
                    </a:lnTo>
                    <a:lnTo>
                      <a:pt x="546" y="114"/>
                    </a:lnTo>
                    <a:lnTo>
                      <a:pt x="551" y="110"/>
                    </a:lnTo>
                    <a:lnTo>
                      <a:pt x="546" y="104"/>
                    </a:lnTo>
                    <a:lnTo>
                      <a:pt x="546" y="102"/>
                    </a:lnTo>
                    <a:lnTo>
                      <a:pt x="542" y="96"/>
                    </a:lnTo>
                    <a:lnTo>
                      <a:pt x="540" y="91"/>
                    </a:lnTo>
                    <a:lnTo>
                      <a:pt x="540" y="89"/>
                    </a:lnTo>
                    <a:lnTo>
                      <a:pt x="551" y="81"/>
                    </a:lnTo>
                    <a:lnTo>
                      <a:pt x="536" y="56"/>
                    </a:lnTo>
                    <a:lnTo>
                      <a:pt x="528" y="54"/>
                    </a:lnTo>
                    <a:lnTo>
                      <a:pt x="523" y="46"/>
                    </a:lnTo>
                    <a:lnTo>
                      <a:pt x="511" y="37"/>
                    </a:lnTo>
                    <a:lnTo>
                      <a:pt x="509" y="33"/>
                    </a:lnTo>
                    <a:lnTo>
                      <a:pt x="509" y="27"/>
                    </a:lnTo>
                    <a:lnTo>
                      <a:pt x="513" y="21"/>
                    </a:lnTo>
                    <a:lnTo>
                      <a:pt x="524" y="18"/>
                    </a:lnTo>
                    <a:lnTo>
                      <a:pt x="528" y="8"/>
                    </a:lnTo>
                    <a:lnTo>
                      <a:pt x="544" y="4"/>
                    </a:lnTo>
                    <a:lnTo>
                      <a:pt x="557" y="4"/>
                    </a:lnTo>
                    <a:lnTo>
                      <a:pt x="563" y="2"/>
                    </a:lnTo>
                    <a:lnTo>
                      <a:pt x="567" y="2"/>
                    </a:lnTo>
                    <a:lnTo>
                      <a:pt x="571" y="8"/>
                    </a:lnTo>
                    <a:lnTo>
                      <a:pt x="578" y="12"/>
                    </a:lnTo>
                    <a:lnTo>
                      <a:pt x="594" y="12"/>
                    </a:lnTo>
                    <a:lnTo>
                      <a:pt x="594" y="0"/>
                    </a:lnTo>
                    <a:lnTo>
                      <a:pt x="599" y="0"/>
                    </a:lnTo>
                    <a:lnTo>
                      <a:pt x="601" y="6"/>
                    </a:lnTo>
                    <a:lnTo>
                      <a:pt x="605" y="1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67" name="Freeform 55">
                <a:extLst>
                  <a:ext uri="{FF2B5EF4-FFF2-40B4-BE49-F238E27FC236}">
                    <a16:creationId xmlns:a16="http://schemas.microsoft.com/office/drawing/2014/main" id="{38CCDD30-10A7-4A3C-9810-12C7960B8647}"/>
                  </a:ext>
                </a:extLst>
              </p:cNvPr>
              <p:cNvSpPr>
                <a:spLocks/>
              </p:cNvSpPr>
              <p:nvPr/>
            </p:nvSpPr>
            <p:spPr bwMode="gray">
              <a:xfrm>
                <a:off x="3927467" y="1934547"/>
                <a:ext cx="634948" cy="435328"/>
              </a:xfrm>
              <a:custGeom>
                <a:avLst/>
                <a:gdLst>
                  <a:gd name="T0" fmla="*/ 523 w 563"/>
                  <a:gd name="T1" fmla="*/ 158 h 386"/>
                  <a:gd name="T2" fmla="*/ 486 w 563"/>
                  <a:gd name="T3" fmla="*/ 179 h 386"/>
                  <a:gd name="T4" fmla="*/ 448 w 563"/>
                  <a:gd name="T5" fmla="*/ 198 h 386"/>
                  <a:gd name="T6" fmla="*/ 434 w 563"/>
                  <a:gd name="T7" fmla="*/ 215 h 386"/>
                  <a:gd name="T8" fmla="*/ 452 w 563"/>
                  <a:gd name="T9" fmla="*/ 240 h 386"/>
                  <a:gd name="T10" fmla="*/ 463 w 563"/>
                  <a:gd name="T11" fmla="*/ 280 h 386"/>
                  <a:gd name="T12" fmla="*/ 404 w 563"/>
                  <a:gd name="T13" fmla="*/ 315 h 386"/>
                  <a:gd name="T14" fmla="*/ 386 w 563"/>
                  <a:gd name="T15" fmla="*/ 361 h 386"/>
                  <a:gd name="T16" fmla="*/ 359 w 563"/>
                  <a:gd name="T17" fmla="*/ 382 h 386"/>
                  <a:gd name="T18" fmla="*/ 338 w 563"/>
                  <a:gd name="T19" fmla="*/ 386 h 386"/>
                  <a:gd name="T20" fmla="*/ 319 w 563"/>
                  <a:gd name="T21" fmla="*/ 371 h 386"/>
                  <a:gd name="T22" fmla="*/ 298 w 563"/>
                  <a:gd name="T23" fmla="*/ 340 h 386"/>
                  <a:gd name="T24" fmla="*/ 273 w 563"/>
                  <a:gd name="T25" fmla="*/ 321 h 386"/>
                  <a:gd name="T26" fmla="*/ 246 w 563"/>
                  <a:gd name="T27" fmla="*/ 304 h 386"/>
                  <a:gd name="T28" fmla="*/ 204 w 563"/>
                  <a:gd name="T29" fmla="*/ 286 h 386"/>
                  <a:gd name="T30" fmla="*/ 146 w 563"/>
                  <a:gd name="T31" fmla="*/ 259 h 386"/>
                  <a:gd name="T32" fmla="*/ 112 w 563"/>
                  <a:gd name="T33" fmla="*/ 219 h 386"/>
                  <a:gd name="T34" fmla="*/ 100 w 563"/>
                  <a:gd name="T35" fmla="*/ 194 h 386"/>
                  <a:gd name="T36" fmla="*/ 71 w 563"/>
                  <a:gd name="T37" fmla="*/ 156 h 386"/>
                  <a:gd name="T38" fmla="*/ 56 w 563"/>
                  <a:gd name="T39" fmla="*/ 163 h 386"/>
                  <a:gd name="T40" fmla="*/ 41 w 563"/>
                  <a:gd name="T41" fmla="*/ 150 h 386"/>
                  <a:gd name="T42" fmla="*/ 25 w 563"/>
                  <a:gd name="T43" fmla="*/ 106 h 386"/>
                  <a:gd name="T44" fmla="*/ 0 w 563"/>
                  <a:gd name="T45" fmla="*/ 90 h 386"/>
                  <a:gd name="T46" fmla="*/ 48 w 563"/>
                  <a:gd name="T47" fmla="*/ 58 h 386"/>
                  <a:gd name="T48" fmla="*/ 69 w 563"/>
                  <a:gd name="T49" fmla="*/ 40 h 386"/>
                  <a:gd name="T50" fmla="*/ 100 w 563"/>
                  <a:gd name="T51" fmla="*/ 23 h 386"/>
                  <a:gd name="T52" fmla="*/ 173 w 563"/>
                  <a:gd name="T53" fmla="*/ 2 h 386"/>
                  <a:gd name="T54" fmla="*/ 235 w 563"/>
                  <a:gd name="T55" fmla="*/ 0 h 386"/>
                  <a:gd name="T56" fmla="*/ 271 w 563"/>
                  <a:gd name="T57" fmla="*/ 0 h 386"/>
                  <a:gd name="T58" fmla="*/ 319 w 563"/>
                  <a:gd name="T59" fmla="*/ 21 h 386"/>
                  <a:gd name="T60" fmla="*/ 304 w 563"/>
                  <a:gd name="T61" fmla="*/ 35 h 386"/>
                  <a:gd name="T62" fmla="*/ 283 w 563"/>
                  <a:gd name="T63" fmla="*/ 73 h 386"/>
                  <a:gd name="T64" fmla="*/ 300 w 563"/>
                  <a:gd name="T65" fmla="*/ 54 h 386"/>
                  <a:gd name="T66" fmla="*/ 323 w 563"/>
                  <a:gd name="T67" fmla="*/ 52 h 386"/>
                  <a:gd name="T68" fmla="*/ 332 w 563"/>
                  <a:gd name="T69" fmla="*/ 73 h 386"/>
                  <a:gd name="T70" fmla="*/ 388 w 563"/>
                  <a:gd name="T71" fmla="*/ 2 h 386"/>
                  <a:gd name="T72" fmla="*/ 432 w 563"/>
                  <a:gd name="T73" fmla="*/ 29 h 386"/>
                  <a:gd name="T74" fmla="*/ 409 w 563"/>
                  <a:gd name="T75" fmla="*/ 23 h 386"/>
                  <a:gd name="T76" fmla="*/ 379 w 563"/>
                  <a:gd name="T77" fmla="*/ 25 h 386"/>
                  <a:gd name="T78" fmla="*/ 423 w 563"/>
                  <a:gd name="T79" fmla="*/ 111 h 386"/>
                  <a:gd name="T80" fmla="*/ 434 w 563"/>
                  <a:gd name="T81" fmla="*/ 115 h 386"/>
                  <a:gd name="T82" fmla="*/ 467 w 563"/>
                  <a:gd name="T83" fmla="*/ 71 h 386"/>
                  <a:gd name="T84" fmla="*/ 515 w 563"/>
                  <a:gd name="T85" fmla="*/ 96 h 386"/>
                  <a:gd name="T86" fmla="*/ 538 w 563"/>
                  <a:gd name="T87" fmla="*/ 109 h 386"/>
                  <a:gd name="T88" fmla="*/ 561 w 563"/>
                  <a:gd name="T89" fmla="*/ 131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3" h="386">
                    <a:moveTo>
                      <a:pt x="561" y="131"/>
                    </a:moveTo>
                    <a:lnTo>
                      <a:pt x="523" y="158"/>
                    </a:lnTo>
                    <a:lnTo>
                      <a:pt x="501" y="167"/>
                    </a:lnTo>
                    <a:lnTo>
                      <a:pt x="486" y="179"/>
                    </a:lnTo>
                    <a:lnTo>
                      <a:pt x="461" y="192"/>
                    </a:lnTo>
                    <a:lnTo>
                      <a:pt x="448" y="198"/>
                    </a:lnTo>
                    <a:lnTo>
                      <a:pt x="436" y="204"/>
                    </a:lnTo>
                    <a:lnTo>
                      <a:pt x="434" y="215"/>
                    </a:lnTo>
                    <a:lnTo>
                      <a:pt x="436" y="219"/>
                    </a:lnTo>
                    <a:lnTo>
                      <a:pt x="452" y="240"/>
                    </a:lnTo>
                    <a:lnTo>
                      <a:pt x="475" y="273"/>
                    </a:lnTo>
                    <a:lnTo>
                      <a:pt x="463" y="280"/>
                    </a:lnTo>
                    <a:lnTo>
                      <a:pt x="411" y="313"/>
                    </a:lnTo>
                    <a:lnTo>
                      <a:pt x="404" y="315"/>
                    </a:lnTo>
                    <a:lnTo>
                      <a:pt x="394" y="352"/>
                    </a:lnTo>
                    <a:lnTo>
                      <a:pt x="386" y="361"/>
                    </a:lnTo>
                    <a:lnTo>
                      <a:pt x="384" y="371"/>
                    </a:lnTo>
                    <a:lnTo>
                      <a:pt x="359" y="382"/>
                    </a:lnTo>
                    <a:lnTo>
                      <a:pt x="346" y="386"/>
                    </a:lnTo>
                    <a:lnTo>
                      <a:pt x="338" y="386"/>
                    </a:lnTo>
                    <a:lnTo>
                      <a:pt x="331" y="380"/>
                    </a:lnTo>
                    <a:lnTo>
                      <a:pt x="319" y="371"/>
                    </a:lnTo>
                    <a:lnTo>
                      <a:pt x="309" y="353"/>
                    </a:lnTo>
                    <a:lnTo>
                      <a:pt x="298" y="340"/>
                    </a:lnTo>
                    <a:lnTo>
                      <a:pt x="281" y="328"/>
                    </a:lnTo>
                    <a:lnTo>
                      <a:pt x="273" y="321"/>
                    </a:lnTo>
                    <a:lnTo>
                      <a:pt x="260" y="311"/>
                    </a:lnTo>
                    <a:lnTo>
                      <a:pt x="246" y="304"/>
                    </a:lnTo>
                    <a:lnTo>
                      <a:pt x="231" y="296"/>
                    </a:lnTo>
                    <a:lnTo>
                      <a:pt x="204" y="286"/>
                    </a:lnTo>
                    <a:lnTo>
                      <a:pt x="177" y="275"/>
                    </a:lnTo>
                    <a:lnTo>
                      <a:pt x="146" y="259"/>
                    </a:lnTo>
                    <a:lnTo>
                      <a:pt x="121" y="236"/>
                    </a:lnTo>
                    <a:lnTo>
                      <a:pt x="112" y="219"/>
                    </a:lnTo>
                    <a:lnTo>
                      <a:pt x="104" y="206"/>
                    </a:lnTo>
                    <a:lnTo>
                      <a:pt x="100" y="194"/>
                    </a:lnTo>
                    <a:lnTo>
                      <a:pt x="85" y="152"/>
                    </a:lnTo>
                    <a:lnTo>
                      <a:pt x="71" y="156"/>
                    </a:lnTo>
                    <a:lnTo>
                      <a:pt x="66" y="158"/>
                    </a:lnTo>
                    <a:lnTo>
                      <a:pt x="56" y="163"/>
                    </a:lnTo>
                    <a:lnTo>
                      <a:pt x="54" y="163"/>
                    </a:lnTo>
                    <a:lnTo>
                      <a:pt x="41" y="150"/>
                    </a:lnTo>
                    <a:lnTo>
                      <a:pt x="29" y="133"/>
                    </a:lnTo>
                    <a:lnTo>
                      <a:pt x="25" y="106"/>
                    </a:lnTo>
                    <a:lnTo>
                      <a:pt x="10" y="102"/>
                    </a:lnTo>
                    <a:lnTo>
                      <a:pt x="0" y="90"/>
                    </a:lnTo>
                    <a:lnTo>
                      <a:pt x="35" y="67"/>
                    </a:lnTo>
                    <a:lnTo>
                      <a:pt x="48" y="58"/>
                    </a:lnTo>
                    <a:lnTo>
                      <a:pt x="58" y="50"/>
                    </a:lnTo>
                    <a:lnTo>
                      <a:pt x="69" y="40"/>
                    </a:lnTo>
                    <a:lnTo>
                      <a:pt x="77" y="42"/>
                    </a:lnTo>
                    <a:lnTo>
                      <a:pt x="100" y="23"/>
                    </a:lnTo>
                    <a:lnTo>
                      <a:pt x="133" y="12"/>
                    </a:lnTo>
                    <a:lnTo>
                      <a:pt x="173" y="2"/>
                    </a:lnTo>
                    <a:lnTo>
                      <a:pt x="190" y="8"/>
                    </a:lnTo>
                    <a:lnTo>
                      <a:pt x="235" y="0"/>
                    </a:lnTo>
                    <a:lnTo>
                      <a:pt x="263" y="0"/>
                    </a:lnTo>
                    <a:lnTo>
                      <a:pt x="271" y="0"/>
                    </a:lnTo>
                    <a:lnTo>
                      <a:pt x="296" y="8"/>
                    </a:lnTo>
                    <a:lnTo>
                      <a:pt x="319" y="21"/>
                    </a:lnTo>
                    <a:lnTo>
                      <a:pt x="317" y="29"/>
                    </a:lnTo>
                    <a:lnTo>
                      <a:pt x="304" y="35"/>
                    </a:lnTo>
                    <a:lnTo>
                      <a:pt x="275" y="69"/>
                    </a:lnTo>
                    <a:lnTo>
                      <a:pt x="283" y="73"/>
                    </a:lnTo>
                    <a:lnTo>
                      <a:pt x="283" y="75"/>
                    </a:lnTo>
                    <a:lnTo>
                      <a:pt x="300" y="54"/>
                    </a:lnTo>
                    <a:lnTo>
                      <a:pt x="317" y="46"/>
                    </a:lnTo>
                    <a:lnTo>
                      <a:pt x="323" y="52"/>
                    </a:lnTo>
                    <a:lnTo>
                      <a:pt x="342" y="60"/>
                    </a:lnTo>
                    <a:lnTo>
                      <a:pt x="332" y="73"/>
                    </a:lnTo>
                    <a:lnTo>
                      <a:pt x="344" y="81"/>
                    </a:lnTo>
                    <a:lnTo>
                      <a:pt x="388" y="2"/>
                    </a:lnTo>
                    <a:lnTo>
                      <a:pt x="434" y="27"/>
                    </a:lnTo>
                    <a:lnTo>
                      <a:pt x="432" y="29"/>
                    </a:lnTo>
                    <a:lnTo>
                      <a:pt x="413" y="17"/>
                    </a:lnTo>
                    <a:lnTo>
                      <a:pt x="409" y="23"/>
                    </a:lnTo>
                    <a:lnTo>
                      <a:pt x="388" y="10"/>
                    </a:lnTo>
                    <a:lnTo>
                      <a:pt x="379" y="25"/>
                    </a:lnTo>
                    <a:lnTo>
                      <a:pt x="450" y="65"/>
                    </a:lnTo>
                    <a:lnTo>
                      <a:pt x="423" y="111"/>
                    </a:lnTo>
                    <a:lnTo>
                      <a:pt x="432" y="117"/>
                    </a:lnTo>
                    <a:lnTo>
                      <a:pt x="434" y="115"/>
                    </a:lnTo>
                    <a:lnTo>
                      <a:pt x="459" y="71"/>
                    </a:lnTo>
                    <a:lnTo>
                      <a:pt x="467" y="71"/>
                    </a:lnTo>
                    <a:lnTo>
                      <a:pt x="478" y="71"/>
                    </a:lnTo>
                    <a:lnTo>
                      <a:pt x="515" y="96"/>
                    </a:lnTo>
                    <a:lnTo>
                      <a:pt x="528" y="108"/>
                    </a:lnTo>
                    <a:lnTo>
                      <a:pt x="538" y="109"/>
                    </a:lnTo>
                    <a:lnTo>
                      <a:pt x="563" y="127"/>
                    </a:lnTo>
                    <a:lnTo>
                      <a:pt x="561" y="131"/>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68" name="Freeform 56">
                <a:extLst>
                  <a:ext uri="{FF2B5EF4-FFF2-40B4-BE49-F238E27FC236}">
                    <a16:creationId xmlns:a16="http://schemas.microsoft.com/office/drawing/2014/main" id="{0B4C6555-9A00-4553-BC20-3E59734C06DB}"/>
                  </a:ext>
                </a:extLst>
              </p:cNvPr>
              <p:cNvSpPr>
                <a:spLocks noEditPoints="1"/>
              </p:cNvSpPr>
              <p:nvPr/>
            </p:nvSpPr>
            <p:spPr bwMode="gray">
              <a:xfrm>
                <a:off x="4416929" y="2082288"/>
                <a:ext cx="400367" cy="363149"/>
              </a:xfrm>
              <a:custGeom>
                <a:avLst/>
                <a:gdLst>
                  <a:gd name="T0" fmla="*/ 344 w 355"/>
                  <a:gd name="T1" fmla="*/ 228 h 322"/>
                  <a:gd name="T2" fmla="*/ 329 w 355"/>
                  <a:gd name="T3" fmla="*/ 215 h 322"/>
                  <a:gd name="T4" fmla="*/ 319 w 355"/>
                  <a:gd name="T5" fmla="*/ 199 h 322"/>
                  <a:gd name="T6" fmla="*/ 309 w 355"/>
                  <a:gd name="T7" fmla="*/ 184 h 322"/>
                  <a:gd name="T8" fmla="*/ 294 w 355"/>
                  <a:gd name="T9" fmla="*/ 171 h 322"/>
                  <a:gd name="T10" fmla="*/ 288 w 355"/>
                  <a:gd name="T11" fmla="*/ 159 h 322"/>
                  <a:gd name="T12" fmla="*/ 290 w 355"/>
                  <a:gd name="T13" fmla="*/ 140 h 322"/>
                  <a:gd name="T14" fmla="*/ 284 w 355"/>
                  <a:gd name="T15" fmla="*/ 126 h 322"/>
                  <a:gd name="T16" fmla="*/ 271 w 355"/>
                  <a:gd name="T17" fmla="*/ 103 h 322"/>
                  <a:gd name="T18" fmla="*/ 259 w 355"/>
                  <a:gd name="T19" fmla="*/ 98 h 322"/>
                  <a:gd name="T20" fmla="*/ 263 w 355"/>
                  <a:gd name="T21" fmla="*/ 92 h 322"/>
                  <a:gd name="T22" fmla="*/ 282 w 355"/>
                  <a:gd name="T23" fmla="*/ 98 h 322"/>
                  <a:gd name="T24" fmla="*/ 304 w 355"/>
                  <a:gd name="T25" fmla="*/ 121 h 322"/>
                  <a:gd name="T26" fmla="*/ 317 w 355"/>
                  <a:gd name="T27" fmla="*/ 144 h 322"/>
                  <a:gd name="T28" fmla="*/ 332 w 355"/>
                  <a:gd name="T29" fmla="*/ 167 h 322"/>
                  <a:gd name="T30" fmla="*/ 348 w 355"/>
                  <a:gd name="T31" fmla="*/ 186 h 322"/>
                  <a:gd name="T32" fmla="*/ 355 w 355"/>
                  <a:gd name="T33" fmla="*/ 207 h 322"/>
                  <a:gd name="T34" fmla="*/ 352 w 355"/>
                  <a:gd name="T35" fmla="*/ 224 h 322"/>
                  <a:gd name="T36" fmla="*/ 259 w 355"/>
                  <a:gd name="T37" fmla="*/ 305 h 322"/>
                  <a:gd name="T38" fmla="*/ 213 w 355"/>
                  <a:gd name="T39" fmla="*/ 276 h 322"/>
                  <a:gd name="T40" fmla="*/ 188 w 355"/>
                  <a:gd name="T41" fmla="*/ 261 h 322"/>
                  <a:gd name="T42" fmla="*/ 185 w 355"/>
                  <a:gd name="T43" fmla="*/ 246 h 322"/>
                  <a:gd name="T44" fmla="*/ 163 w 355"/>
                  <a:gd name="T45" fmla="*/ 240 h 322"/>
                  <a:gd name="T46" fmla="*/ 154 w 355"/>
                  <a:gd name="T47" fmla="*/ 232 h 322"/>
                  <a:gd name="T48" fmla="*/ 144 w 355"/>
                  <a:gd name="T49" fmla="*/ 222 h 322"/>
                  <a:gd name="T50" fmla="*/ 125 w 355"/>
                  <a:gd name="T51" fmla="*/ 205 h 322"/>
                  <a:gd name="T52" fmla="*/ 87 w 355"/>
                  <a:gd name="T53" fmla="*/ 173 h 322"/>
                  <a:gd name="T54" fmla="*/ 67 w 355"/>
                  <a:gd name="T55" fmla="*/ 161 h 322"/>
                  <a:gd name="T56" fmla="*/ 52 w 355"/>
                  <a:gd name="T57" fmla="*/ 151 h 322"/>
                  <a:gd name="T58" fmla="*/ 41 w 355"/>
                  <a:gd name="T59" fmla="*/ 142 h 322"/>
                  <a:gd name="T60" fmla="*/ 2 w 355"/>
                  <a:gd name="T61" fmla="*/ 88 h 322"/>
                  <a:gd name="T62" fmla="*/ 2 w 355"/>
                  <a:gd name="T63" fmla="*/ 73 h 322"/>
                  <a:gd name="T64" fmla="*/ 27 w 355"/>
                  <a:gd name="T65" fmla="*/ 61 h 322"/>
                  <a:gd name="T66" fmla="*/ 67 w 355"/>
                  <a:gd name="T67" fmla="*/ 36 h 322"/>
                  <a:gd name="T68" fmla="*/ 127 w 355"/>
                  <a:gd name="T69" fmla="*/ 0 h 322"/>
                  <a:gd name="T70" fmla="*/ 156 w 355"/>
                  <a:gd name="T71" fmla="*/ 17 h 322"/>
                  <a:gd name="T72" fmla="*/ 194 w 355"/>
                  <a:gd name="T73" fmla="*/ 42 h 322"/>
                  <a:gd name="T74" fmla="*/ 208 w 355"/>
                  <a:gd name="T75" fmla="*/ 78 h 322"/>
                  <a:gd name="T76" fmla="*/ 183 w 355"/>
                  <a:gd name="T77" fmla="*/ 88 h 322"/>
                  <a:gd name="T78" fmla="*/ 162 w 355"/>
                  <a:gd name="T79" fmla="*/ 101 h 322"/>
                  <a:gd name="T80" fmla="*/ 148 w 355"/>
                  <a:gd name="T81" fmla="*/ 80 h 322"/>
                  <a:gd name="T82" fmla="*/ 138 w 355"/>
                  <a:gd name="T83" fmla="*/ 69 h 322"/>
                  <a:gd name="T84" fmla="*/ 140 w 355"/>
                  <a:gd name="T85" fmla="*/ 88 h 322"/>
                  <a:gd name="T86" fmla="*/ 137 w 355"/>
                  <a:gd name="T87" fmla="*/ 117 h 322"/>
                  <a:gd name="T88" fmla="*/ 156 w 355"/>
                  <a:gd name="T89" fmla="*/ 113 h 322"/>
                  <a:gd name="T90" fmla="*/ 171 w 355"/>
                  <a:gd name="T91" fmla="*/ 119 h 322"/>
                  <a:gd name="T92" fmla="*/ 219 w 355"/>
                  <a:gd name="T93" fmla="*/ 103 h 322"/>
                  <a:gd name="T94" fmla="*/ 240 w 355"/>
                  <a:gd name="T95" fmla="*/ 117 h 322"/>
                  <a:gd name="T96" fmla="*/ 254 w 355"/>
                  <a:gd name="T97" fmla="*/ 157 h 322"/>
                  <a:gd name="T98" fmla="*/ 202 w 355"/>
                  <a:gd name="T99" fmla="*/ 215 h 322"/>
                  <a:gd name="T100" fmla="*/ 169 w 355"/>
                  <a:gd name="T101" fmla="*/ 228 h 322"/>
                  <a:gd name="T102" fmla="*/ 185 w 355"/>
                  <a:gd name="T103" fmla="*/ 228 h 322"/>
                  <a:gd name="T104" fmla="*/ 206 w 355"/>
                  <a:gd name="T105" fmla="*/ 221 h 322"/>
                  <a:gd name="T106" fmla="*/ 259 w 355"/>
                  <a:gd name="T107" fmla="*/ 182 h 322"/>
                  <a:gd name="T108" fmla="*/ 286 w 355"/>
                  <a:gd name="T109" fmla="*/ 215 h 322"/>
                  <a:gd name="T110" fmla="*/ 323 w 355"/>
                  <a:gd name="T111" fmla="*/ 253 h 322"/>
                  <a:gd name="T112" fmla="*/ 311 w 355"/>
                  <a:gd name="T113" fmla="*/ 290 h 322"/>
                  <a:gd name="T114" fmla="*/ 294 w 355"/>
                  <a:gd name="T115" fmla="*/ 303 h 322"/>
                  <a:gd name="T116" fmla="*/ 290 w 355"/>
                  <a:gd name="T117" fmla="*/ 32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55" h="322">
                    <a:moveTo>
                      <a:pt x="352" y="224"/>
                    </a:moveTo>
                    <a:lnTo>
                      <a:pt x="344" y="228"/>
                    </a:lnTo>
                    <a:lnTo>
                      <a:pt x="338" y="222"/>
                    </a:lnTo>
                    <a:lnTo>
                      <a:pt x="329" y="215"/>
                    </a:lnTo>
                    <a:lnTo>
                      <a:pt x="325" y="203"/>
                    </a:lnTo>
                    <a:lnTo>
                      <a:pt x="319" y="199"/>
                    </a:lnTo>
                    <a:lnTo>
                      <a:pt x="315" y="194"/>
                    </a:lnTo>
                    <a:lnTo>
                      <a:pt x="309" y="184"/>
                    </a:lnTo>
                    <a:lnTo>
                      <a:pt x="304" y="178"/>
                    </a:lnTo>
                    <a:lnTo>
                      <a:pt x="294" y="171"/>
                    </a:lnTo>
                    <a:lnTo>
                      <a:pt x="290" y="167"/>
                    </a:lnTo>
                    <a:lnTo>
                      <a:pt x="288" y="159"/>
                    </a:lnTo>
                    <a:lnTo>
                      <a:pt x="288" y="149"/>
                    </a:lnTo>
                    <a:lnTo>
                      <a:pt x="290" y="140"/>
                    </a:lnTo>
                    <a:lnTo>
                      <a:pt x="288" y="134"/>
                    </a:lnTo>
                    <a:lnTo>
                      <a:pt x="284" y="126"/>
                    </a:lnTo>
                    <a:lnTo>
                      <a:pt x="277" y="115"/>
                    </a:lnTo>
                    <a:lnTo>
                      <a:pt x="271" y="103"/>
                    </a:lnTo>
                    <a:lnTo>
                      <a:pt x="265" y="98"/>
                    </a:lnTo>
                    <a:lnTo>
                      <a:pt x="259" y="98"/>
                    </a:lnTo>
                    <a:lnTo>
                      <a:pt x="259" y="96"/>
                    </a:lnTo>
                    <a:lnTo>
                      <a:pt x="263" y="92"/>
                    </a:lnTo>
                    <a:lnTo>
                      <a:pt x="269" y="92"/>
                    </a:lnTo>
                    <a:lnTo>
                      <a:pt x="282" y="98"/>
                    </a:lnTo>
                    <a:lnTo>
                      <a:pt x="296" y="115"/>
                    </a:lnTo>
                    <a:lnTo>
                      <a:pt x="304" y="121"/>
                    </a:lnTo>
                    <a:lnTo>
                      <a:pt x="307" y="128"/>
                    </a:lnTo>
                    <a:lnTo>
                      <a:pt x="317" y="144"/>
                    </a:lnTo>
                    <a:lnTo>
                      <a:pt x="327" y="157"/>
                    </a:lnTo>
                    <a:lnTo>
                      <a:pt x="332" y="167"/>
                    </a:lnTo>
                    <a:lnTo>
                      <a:pt x="342" y="178"/>
                    </a:lnTo>
                    <a:lnTo>
                      <a:pt x="348" y="186"/>
                    </a:lnTo>
                    <a:lnTo>
                      <a:pt x="354" y="194"/>
                    </a:lnTo>
                    <a:lnTo>
                      <a:pt x="355" y="207"/>
                    </a:lnTo>
                    <a:lnTo>
                      <a:pt x="355" y="219"/>
                    </a:lnTo>
                    <a:lnTo>
                      <a:pt x="352" y="224"/>
                    </a:lnTo>
                    <a:close/>
                    <a:moveTo>
                      <a:pt x="290" y="322"/>
                    </a:moveTo>
                    <a:lnTo>
                      <a:pt x="259" y="305"/>
                    </a:lnTo>
                    <a:lnTo>
                      <a:pt x="256" y="303"/>
                    </a:lnTo>
                    <a:lnTo>
                      <a:pt x="213" y="276"/>
                    </a:lnTo>
                    <a:lnTo>
                      <a:pt x="204" y="269"/>
                    </a:lnTo>
                    <a:lnTo>
                      <a:pt x="188" y="261"/>
                    </a:lnTo>
                    <a:lnTo>
                      <a:pt x="186" y="255"/>
                    </a:lnTo>
                    <a:lnTo>
                      <a:pt x="185" y="246"/>
                    </a:lnTo>
                    <a:lnTo>
                      <a:pt x="183" y="244"/>
                    </a:lnTo>
                    <a:lnTo>
                      <a:pt x="163" y="240"/>
                    </a:lnTo>
                    <a:lnTo>
                      <a:pt x="160" y="236"/>
                    </a:lnTo>
                    <a:lnTo>
                      <a:pt x="154" y="232"/>
                    </a:lnTo>
                    <a:lnTo>
                      <a:pt x="152" y="224"/>
                    </a:lnTo>
                    <a:lnTo>
                      <a:pt x="144" y="222"/>
                    </a:lnTo>
                    <a:lnTo>
                      <a:pt x="137" y="215"/>
                    </a:lnTo>
                    <a:lnTo>
                      <a:pt x="125" y="205"/>
                    </a:lnTo>
                    <a:lnTo>
                      <a:pt x="102" y="184"/>
                    </a:lnTo>
                    <a:lnTo>
                      <a:pt x="87" y="173"/>
                    </a:lnTo>
                    <a:lnTo>
                      <a:pt x="75" y="163"/>
                    </a:lnTo>
                    <a:lnTo>
                      <a:pt x="67" y="161"/>
                    </a:lnTo>
                    <a:lnTo>
                      <a:pt x="58" y="157"/>
                    </a:lnTo>
                    <a:lnTo>
                      <a:pt x="52" y="151"/>
                    </a:lnTo>
                    <a:lnTo>
                      <a:pt x="42" y="144"/>
                    </a:lnTo>
                    <a:lnTo>
                      <a:pt x="41" y="142"/>
                    </a:lnTo>
                    <a:lnTo>
                      <a:pt x="18" y="109"/>
                    </a:lnTo>
                    <a:lnTo>
                      <a:pt x="2" y="88"/>
                    </a:lnTo>
                    <a:lnTo>
                      <a:pt x="0" y="84"/>
                    </a:lnTo>
                    <a:lnTo>
                      <a:pt x="2" y="73"/>
                    </a:lnTo>
                    <a:lnTo>
                      <a:pt x="14" y="67"/>
                    </a:lnTo>
                    <a:lnTo>
                      <a:pt x="27" y="61"/>
                    </a:lnTo>
                    <a:lnTo>
                      <a:pt x="52" y="48"/>
                    </a:lnTo>
                    <a:lnTo>
                      <a:pt x="67" y="36"/>
                    </a:lnTo>
                    <a:lnTo>
                      <a:pt x="89" y="27"/>
                    </a:lnTo>
                    <a:lnTo>
                      <a:pt x="127" y="0"/>
                    </a:lnTo>
                    <a:lnTo>
                      <a:pt x="148" y="13"/>
                    </a:lnTo>
                    <a:lnTo>
                      <a:pt x="156" y="17"/>
                    </a:lnTo>
                    <a:lnTo>
                      <a:pt x="181" y="27"/>
                    </a:lnTo>
                    <a:lnTo>
                      <a:pt x="194" y="42"/>
                    </a:lnTo>
                    <a:lnTo>
                      <a:pt x="210" y="71"/>
                    </a:lnTo>
                    <a:lnTo>
                      <a:pt x="208" y="78"/>
                    </a:lnTo>
                    <a:lnTo>
                      <a:pt x="196" y="82"/>
                    </a:lnTo>
                    <a:lnTo>
                      <a:pt x="183" y="88"/>
                    </a:lnTo>
                    <a:lnTo>
                      <a:pt x="175" y="98"/>
                    </a:lnTo>
                    <a:lnTo>
                      <a:pt x="162" y="101"/>
                    </a:lnTo>
                    <a:lnTo>
                      <a:pt x="152" y="96"/>
                    </a:lnTo>
                    <a:lnTo>
                      <a:pt x="148" y="80"/>
                    </a:lnTo>
                    <a:lnTo>
                      <a:pt x="142" y="69"/>
                    </a:lnTo>
                    <a:lnTo>
                      <a:pt x="138" y="69"/>
                    </a:lnTo>
                    <a:lnTo>
                      <a:pt x="137" y="73"/>
                    </a:lnTo>
                    <a:lnTo>
                      <a:pt x="140" y="88"/>
                    </a:lnTo>
                    <a:lnTo>
                      <a:pt x="137" y="103"/>
                    </a:lnTo>
                    <a:lnTo>
                      <a:pt x="137" y="117"/>
                    </a:lnTo>
                    <a:lnTo>
                      <a:pt x="144" y="113"/>
                    </a:lnTo>
                    <a:lnTo>
                      <a:pt x="156" y="113"/>
                    </a:lnTo>
                    <a:lnTo>
                      <a:pt x="162" y="117"/>
                    </a:lnTo>
                    <a:lnTo>
                      <a:pt x="171" y="119"/>
                    </a:lnTo>
                    <a:lnTo>
                      <a:pt x="206" y="103"/>
                    </a:lnTo>
                    <a:lnTo>
                      <a:pt x="219" y="103"/>
                    </a:lnTo>
                    <a:lnTo>
                      <a:pt x="233" y="107"/>
                    </a:lnTo>
                    <a:lnTo>
                      <a:pt x="240" y="117"/>
                    </a:lnTo>
                    <a:lnTo>
                      <a:pt x="246" y="132"/>
                    </a:lnTo>
                    <a:lnTo>
                      <a:pt x="254" y="157"/>
                    </a:lnTo>
                    <a:lnTo>
                      <a:pt x="217" y="205"/>
                    </a:lnTo>
                    <a:lnTo>
                      <a:pt x="202" y="215"/>
                    </a:lnTo>
                    <a:lnTo>
                      <a:pt x="183" y="219"/>
                    </a:lnTo>
                    <a:lnTo>
                      <a:pt x="169" y="228"/>
                    </a:lnTo>
                    <a:lnTo>
                      <a:pt x="171" y="232"/>
                    </a:lnTo>
                    <a:lnTo>
                      <a:pt x="185" y="228"/>
                    </a:lnTo>
                    <a:lnTo>
                      <a:pt x="190" y="222"/>
                    </a:lnTo>
                    <a:lnTo>
                      <a:pt x="206" y="221"/>
                    </a:lnTo>
                    <a:lnTo>
                      <a:pt x="248" y="182"/>
                    </a:lnTo>
                    <a:lnTo>
                      <a:pt x="259" y="182"/>
                    </a:lnTo>
                    <a:lnTo>
                      <a:pt x="277" y="194"/>
                    </a:lnTo>
                    <a:lnTo>
                      <a:pt x="286" y="215"/>
                    </a:lnTo>
                    <a:lnTo>
                      <a:pt x="307" y="228"/>
                    </a:lnTo>
                    <a:lnTo>
                      <a:pt x="323" y="253"/>
                    </a:lnTo>
                    <a:lnTo>
                      <a:pt x="319" y="272"/>
                    </a:lnTo>
                    <a:lnTo>
                      <a:pt x="311" y="290"/>
                    </a:lnTo>
                    <a:lnTo>
                      <a:pt x="304" y="297"/>
                    </a:lnTo>
                    <a:lnTo>
                      <a:pt x="294" y="303"/>
                    </a:lnTo>
                    <a:lnTo>
                      <a:pt x="294" y="313"/>
                    </a:lnTo>
                    <a:lnTo>
                      <a:pt x="290" y="32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69" name="Freeform 57">
                <a:extLst>
                  <a:ext uri="{FF2B5EF4-FFF2-40B4-BE49-F238E27FC236}">
                    <a16:creationId xmlns:a16="http://schemas.microsoft.com/office/drawing/2014/main" id="{8B5FEB37-B6BF-48CA-8320-AA6AA8699946}"/>
                  </a:ext>
                </a:extLst>
              </p:cNvPr>
              <p:cNvSpPr>
                <a:spLocks noEditPoints="1"/>
              </p:cNvSpPr>
              <p:nvPr/>
            </p:nvSpPr>
            <p:spPr bwMode="gray">
              <a:xfrm>
                <a:off x="4680833" y="2404837"/>
                <a:ext cx="524424" cy="413900"/>
              </a:xfrm>
              <a:custGeom>
                <a:avLst/>
                <a:gdLst>
                  <a:gd name="T0" fmla="*/ 438 w 465"/>
                  <a:gd name="T1" fmla="*/ 238 h 367"/>
                  <a:gd name="T2" fmla="*/ 402 w 465"/>
                  <a:gd name="T3" fmla="*/ 275 h 367"/>
                  <a:gd name="T4" fmla="*/ 369 w 465"/>
                  <a:gd name="T5" fmla="*/ 290 h 367"/>
                  <a:gd name="T6" fmla="*/ 350 w 465"/>
                  <a:gd name="T7" fmla="*/ 307 h 367"/>
                  <a:gd name="T8" fmla="*/ 323 w 465"/>
                  <a:gd name="T9" fmla="*/ 330 h 367"/>
                  <a:gd name="T10" fmla="*/ 191 w 465"/>
                  <a:gd name="T11" fmla="*/ 332 h 367"/>
                  <a:gd name="T12" fmla="*/ 87 w 465"/>
                  <a:gd name="T13" fmla="*/ 334 h 367"/>
                  <a:gd name="T14" fmla="*/ 4 w 465"/>
                  <a:gd name="T15" fmla="*/ 367 h 367"/>
                  <a:gd name="T16" fmla="*/ 12 w 465"/>
                  <a:gd name="T17" fmla="*/ 344 h 367"/>
                  <a:gd name="T18" fmla="*/ 0 w 465"/>
                  <a:gd name="T19" fmla="*/ 319 h 367"/>
                  <a:gd name="T20" fmla="*/ 6 w 465"/>
                  <a:gd name="T21" fmla="*/ 300 h 367"/>
                  <a:gd name="T22" fmla="*/ 16 w 465"/>
                  <a:gd name="T23" fmla="*/ 278 h 367"/>
                  <a:gd name="T24" fmla="*/ 54 w 465"/>
                  <a:gd name="T25" fmla="*/ 252 h 367"/>
                  <a:gd name="T26" fmla="*/ 73 w 465"/>
                  <a:gd name="T27" fmla="*/ 227 h 367"/>
                  <a:gd name="T28" fmla="*/ 75 w 465"/>
                  <a:gd name="T29" fmla="*/ 188 h 367"/>
                  <a:gd name="T30" fmla="*/ 83 w 465"/>
                  <a:gd name="T31" fmla="*/ 150 h 367"/>
                  <a:gd name="T32" fmla="*/ 100 w 465"/>
                  <a:gd name="T33" fmla="*/ 121 h 367"/>
                  <a:gd name="T34" fmla="*/ 89 w 465"/>
                  <a:gd name="T35" fmla="*/ 98 h 367"/>
                  <a:gd name="T36" fmla="*/ 127 w 465"/>
                  <a:gd name="T37" fmla="*/ 82 h 367"/>
                  <a:gd name="T38" fmla="*/ 158 w 465"/>
                  <a:gd name="T39" fmla="*/ 81 h 367"/>
                  <a:gd name="T40" fmla="*/ 171 w 465"/>
                  <a:gd name="T41" fmla="*/ 82 h 367"/>
                  <a:gd name="T42" fmla="*/ 187 w 465"/>
                  <a:gd name="T43" fmla="*/ 88 h 367"/>
                  <a:gd name="T44" fmla="*/ 196 w 465"/>
                  <a:gd name="T45" fmla="*/ 96 h 367"/>
                  <a:gd name="T46" fmla="*/ 204 w 465"/>
                  <a:gd name="T47" fmla="*/ 106 h 367"/>
                  <a:gd name="T48" fmla="*/ 217 w 465"/>
                  <a:gd name="T49" fmla="*/ 127 h 367"/>
                  <a:gd name="T50" fmla="*/ 254 w 465"/>
                  <a:gd name="T51" fmla="*/ 163 h 367"/>
                  <a:gd name="T52" fmla="*/ 279 w 465"/>
                  <a:gd name="T53" fmla="*/ 179 h 367"/>
                  <a:gd name="T54" fmla="*/ 287 w 465"/>
                  <a:gd name="T55" fmla="*/ 177 h 367"/>
                  <a:gd name="T56" fmla="*/ 288 w 465"/>
                  <a:gd name="T57" fmla="*/ 167 h 367"/>
                  <a:gd name="T58" fmla="*/ 315 w 465"/>
                  <a:gd name="T59" fmla="*/ 163 h 367"/>
                  <a:gd name="T60" fmla="*/ 342 w 465"/>
                  <a:gd name="T61" fmla="*/ 173 h 367"/>
                  <a:gd name="T62" fmla="*/ 379 w 465"/>
                  <a:gd name="T63" fmla="*/ 188 h 367"/>
                  <a:gd name="T64" fmla="*/ 413 w 465"/>
                  <a:gd name="T65" fmla="*/ 196 h 367"/>
                  <a:gd name="T66" fmla="*/ 436 w 465"/>
                  <a:gd name="T67" fmla="*/ 202 h 367"/>
                  <a:gd name="T68" fmla="*/ 456 w 465"/>
                  <a:gd name="T69" fmla="*/ 182 h 367"/>
                  <a:gd name="T70" fmla="*/ 442 w 465"/>
                  <a:gd name="T71" fmla="*/ 184 h 367"/>
                  <a:gd name="T72" fmla="*/ 340 w 465"/>
                  <a:gd name="T73" fmla="*/ 161 h 367"/>
                  <a:gd name="T74" fmla="*/ 365 w 465"/>
                  <a:gd name="T75" fmla="*/ 71 h 367"/>
                  <a:gd name="T76" fmla="*/ 465 w 465"/>
                  <a:gd name="T77" fmla="*/ 142 h 367"/>
                  <a:gd name="T78" fmla="*/ 454 w 465"/>
                  <a:gd name="T79" fmla="*/ 180 h 367"/>
                  <a:gd name="T80" fmla="*/ 302 w 465"/>
                  <a:gd name="T81" fmla="*/ 154 h 367"/>
                  <a:gd name="T82" fmla="*/ 273 w 465"/>
                  <a:gd name="T83" fmla="*/ 150 h 367"/>
                  <a:gd name="T84" fmla="*/ 242 w 465"/>
                  <a:gd name="T85" fmla="*/ 132 h 367"/>
                  <a:gd name="T86" fmla="*/ 177 w 465"/>
                  <a:gd name="T87" fmla="*/ 75 h 367"/>
                  <a:gd name="T88" fmla="*/ 154 w 465"/>
                  <a:gd name="T89" fmla="*/ 46 h 367"/>
                  <a:gd name="T90" fmla="*/ 225 w 465"/>
                  <a:gd name="T91" fmla="*/ 0 h 367"/>
                  <a:gd name="T92" fmla="*/ 285 w 465"/>
                  <a:gd name="T93" fmla="*/ 17 h 367"/>
                  <a:gd name="T94" fmla="*/ 304 w 465"/>
                  <a:gd name="T95" fmla="*/ 152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65" h="367">
                    <a:moveTo>
                      <a:pt x="450" y="215"/>
                    </a:moveTo>
                    <a:lnTo>
                      <a:pt x="446" y="227"/>
                    </a:lnTo>
                    <a:lnTo>
                      <a:pt x="438" y="238"/>
                    </a:lnTo>
                    <a:lnTo>
                      <a:pt x="423" y="250"/>
                    </a:lnTo>
                    <a:lnTo>
                      <a:pt x="413" y="263"/>
                    </a:lnTo>
                    <a:lnTo>
                      <a:pt x="402" y="275"/>
                    </a:lnTo>
                    <a:lnTo>
                      <a:pt x="388" y="284"/>
                    </a:lnTo>
                    <a:lnTo>
                      <a:pt x="381" y="286"/>
                    </a:lnTo>
                    <a:lnTo>
                      <a:pt x="369" y="290"/>
                    </a:lnTo>
                    <a:lnTo>
                      <a:pt x="361" y="294"/>
                    </a:lnTo>
                    <a:lnTo>
                      <a:pt x="352" y="301"/>
                    </a:lnTo>
                    <a:lnTo>
                      <a:pt x="350" y="307"/>
                    </a:lnTo>
                    <a:lnTo>
                      <a:pt x="350" y="317"/>
                    </a:lnTo>
                    <a:lnTo>
                      <a:pt x="348" y="334"/>
                    </a:lnTo>
                    <a:lnTo>
                      <a:pt x="323" y="330"/>
                    </a:lnTo>
                    <a:lnTo>
                      <a:pt x="306" y="330"/>
                    </a:lnTo>
                    <a:lnTo>
                      <a:pt x="229" y="332"/>
                    </a:lnTo>
                    <a:lnTo>
                      <a:pt x="191" y="332"/>
                    </a:lnTo>
                    <a:lnTo>
                      <a:pt x="171" y="332"/>
                    </a:lnTo>
                    <a:lnTo>
                      <a:pt x="154" y="332"/>
                    </a:lnTo>
                    <a:lnTo>
                      <a:pt x="87" y="334"/>
                    </a:lnTo>
                    <a:lnTo>
                      <a:pt x="58" y="336"/>
                    </a:lnTo>
                    <a:lnTo>
                      <a:pt x="41" y="340"/>
                    </a:lnTo>
                    <a:lnTo>
                      <a:pt x="4" y="367"/>
                    </a:lnTo>
                    <a:lnTo>
                      <a:pt x="8" y="361"/>
                    </a:lnTo>
                    <a:lnTo>
                      <a:pt x="10" y="353"/>
                    </a:lnTo>
                    <a:lnTo>
                      <a:pt x="12" y="344"/>
                    </a:lnTo>
                    <a:lnTo>
                      <a:pt x="10" y="338"/>
                    </a:lnTo>
                    <a:lnTo>
                      <a:pt x="4" y="326"/>
                    </a:lnTo>
                    <a:lnTo>
                      <a:pt x="0" y="319"/>
                    </a:lnTo>
                    <a:lnTo>
                      <a:pt x="0" y="311"/>
                    </a:lnTo>
                    <a:lnTo>
                      <a:pt x="4" y="307"/>
                    </a:lnTo>
                    <a:lnTo>
                      <a:pt x="6" y="300"/>
                    </a:lnTo>
                    <a:lnTo>
                      <a:pt x="6" y="294"/>
                    </a:lnTo>
                    <a:lnTo>
                      <a:pt x="10" y="288"/>
                    </a:lnTo>
                    <a:lnTo>
                      <a:pt x="16" y="278"/>
                    </a:lnTo>
                    <a:lnTo>
                      <a:pt x="33" y="269"/>
                    </a:lnTo>
                    <a:lnTo>
                      <a:pt x="45" y="259"/>
                    </a:lnTo>
                    <a:lnTo>
                      <a:pt x="54" y="252"/>
                    </a:lnTo>
                    <a:lnTo>
                      <a:pt x="62" y="244"/>
                    </a:lnTo>
                    <a:lnTo>
                      <a:pt x="70" y="234"/>
                    </a:lnTo>
                    <a:lnTo>
                      <a:pt x="73" y="227"/>
                    </a:lnTo>
                    <a:lnTo>
                      <a:pt x="73" y="217"/>
                    </a:lnTo>
                    <a:lnTo>
                      <a:pt x="75" y="196"/>
                    </a:lnTo>
                    <a:lnTo>
                      <a:pt x="75" y="188"/>
                    </a:lnTo>
                    <a:lnTo>
                      <a:pt x="77" y="177"/>
                    </a:lnTo>
                    <a:lnTo>
                      <a:pt x="79" y="169"/>
                    </a:lnTo>
                    <a:lnTo>
                      <a:pt x="83" y="150"/>
                    </a:lnTo>
                    <a:lnTo>
                      <a:pt x="89" y="140"/>
                    </a:lnTo>
                    <a:lnTo>
                      <a:pt x="95" y="129"/>
                    </a:lnTo>
                    <a:lnTo>
                      <a:pt x="100" y="121"/>
                    </a:lnTo>
                    <a:lnTo>
                      <a:pt x="102" y="111"/>
                    </a:lnTo>
                    <a:lnTo>
                      <a:pt x="100" y="107"/>
                    </a:lnTo>
                    <a:lnTo>
                      <a:pt x="89" y="98"/>
                    </a:lnTo>
                    <a:lnTo>
                      <a:pt x="98" y="88"/>
                    </a:lnTo>
                    <a:lnTo>
                      <a:pt x="108" y="84"/>
                    </a:lnTo>
                    <a:lnTo>
                      <a:pt x="127" y="82"/>
                    </a:lnTo>
                    <a:lnTo>
                      <a:pt x="148" y="81"/>
                    </a:lnTo>
                    <a:lnTo>
                      <a:pt x="152" y="77"/>
                    </a:lnTo>
                    <a:lnTo>
                      <a:pt x="158" y="81"/>
                    </a:lnTo>
                    <a:lnTo>
                      <a:pt x="160" y="81"/>
                    </a:lnTo>
                    <a:lnTo>
                      <a:pt x="166" y="81"/>
                    </a:lnTo>
                    <a:lnTo>
                      <a:pt x="171" y="82"/>
                    </a:lnTo>
                    <a:lnTo>
                      <a:pt x="173" y="82"/>
                    </a:lnTo>
                    <a:lnTo>
                      <a:pt x="181" y="84"/>
                    </a:lnTo>
                    <a:lnTo>
                      <a:pt x="187" y="88"/>
                    </a:lnTo>
                    <a:lnTo>
                      <a:pt x="189" y="90"/>
                    </a:lnTo>
                    <a:lnTo>
                      <a:pt x="192" y="92"/>
                    </a:lnTo>
                    <a:lnTo>
                      <a:pt x="196" y="96"/>
                    </a:lnTo>
                    <a:lnTo>
                      <a:pt x="200" y="102"/>
                    </a:lnTo>
                    <a:lnTo>
                      <a:pt x="202" y="107"/>
                    </a:lnTo>
                    <a:lnTo>
                      <a:pt x="204" y="106"/>
                    </a:lnTo>
                    <a:lnTo>
                      <a:pt x="208" y="107"/>
                    </a:lnTo>
                    <a:lnTo>
                      <a:pt x="214" y="117"/>
                    </a:lnTo>
                    <a:lnTo>
                      <a:pt x="217" y="127"/>
                    </a:lnTo>
                    <a:lnTo>
                      <a:pt x="217" y="134"/>
                    </a:lnTo>
                    <a:lnTo>
                      <a:pt x="242" y="155"/>
                    </a:lnTo>
                    <a:lnTo>
                      <a:pt x="254" y="163"/>
                    </a:lnTo>
                    <a:lnTo>
                      <a:pt x="277" y="177"/>
                    </a:lnTo>
                    <a:lnTo>
                      <a:pt x="277" y="179"/>
                    </a:lnTo>
                    <a:lnTo>
                      <a:pt x="279" y="179"/>
                    </a:lnTo>
                    <a:lnTo>
                      <a:pt x="281" y="180"/>
                    </a:lnTo>
                    <a:lnTo>
                      <a:pt x="283" y="179"/>
                    </a:lnTo>
                    <a:lnTo>
                      <a:pt x="287" y="177"/>
                    </a:lnTo>
                    <a:lnTo>
                      <a:pt x="287" y="173"/>
                    </a:lnTo>
                    <a:lnTo>
                      <a:pt x="287" y="169"/>
                    </a:lnTo>
                    <a:lnTo>
                      <a:pt x="288" y="167"/>
                    </a:lnTo>
                    <a:lnTo>
                      <a:pt x="298" y="163"/>
                    </a:lnTo>
                    <a:lnTo>
                      <a:pt x="310" y="163"/>
                    </a:lnTo>
                    <a:lnTo>
                      <a:pt x="315" y="163"/>
                    </a:lnTo>
                    <a:lnTo>
                      <a:pt x="323" y="163"/>
                    </a:lnTo>
                    <a:lnTo>
                      <a:pt x="333" y="167"/>
                    </a:lnTo>
                    <a:lnTo>
                      <a:pt x="342" y="173"/>
                    </a:lnTo>
                    <a:lnTo>
                      <a:pt x="358" y="182"/>
                    </a:lnTo>
                    <a:lnTo>
                      <a:pt x="365" y="184"/>
                    </a:lnTo>
                    <a:lnTo>
                      <a:pt x="379" y="188"/>
                    </a:lnTo>
                    <a:lnTo>
                      <a:pt x="392" y="192"/>
                    </a:lnTo>
                    <a:lnTo>
                      <a:pt x="406" y="192"/>
                    </a:lnTo>
                    <a:lnTo>
                      <a:pt x="413" y="196"/>
                    </a:lnTo>
                    <a:lnTo>
                      <a:pt x="417" y="200"/>
                    </a:lnTo>
                    <a:lnTo>
                      <a:pt x="429" y="202"/>
                    </a:lnTo>
                    <a:lnTo>
                      <a:pt x="436" y="202"/>
                    </a:lnTo>
                    <a:lnTo>
                      <a:pt x="446" y="205"/>
                    </a:lnTo>
                    <a:lnTo>
                      <a:pt x="450" y="215"/>
                    </a:lnTo>
                    <a:close/>
                    <a:moveTo>
                      <a:pt x="456" y="182"/>
                    </a:moveTo>
                    <a:lnTo>
                      <a:pt x="454" y="188"/>
                    </a:lnTo>
                    <a:lnTo>
                      <a:pt x="446" y="188"/>
                    </a:lnTo>
                    <a:lnTo>
                      <a:pt x="442" y="184"/>
                    </a:lnTo>
                    <a:lnTo>
                      <a:pt x="436" y="186"/>
                    </a:lnTo>
                    <a:lnTo>
                      <a:pt x="361" y="175"/>
                    </a:lnTo>
                    <a:lnTo>
                      <a:pt x="340" y="161"/>
                    </a:lnTo>
                    <a:lnTo>
                      <a:pt x="325" y="157"/>
                    </a:lnTo>
                    <a:lnTo>
                      <a:pt x="310" y="155"/>
                    </a:lnTo>
                    <a:lnTo>
                      <a:pt x="365" y="71"/>
                    </a:lnTo>
                    <a:lnTo>
                      <a:pt x="454" y="123"/>
                    </a:lnTo>
                    <a:lnTo>
                      <a:pt x="463" y="132"/>
                    </a:lnTo>
                    <a:lnTo>
                      <a:pt x="465" y="142"/>
                    </a:lnTo>
                    <a:lnTo>
                      <a:pt x="465" y="154"/>
                    </a:lnTo>
                    <a:lnTo>
                      <a:pt x="454" y="177"/>
                    </a:lnTo>
                    <a:lnTo>
                      <a:pt x="454" y="180"/>
                    </a:lnTo>
                    <a:lnTo>
                      <a:pt x="456" y="182"/>
                    </a:lnTo>
                    <a:close/>
                    <a:moveTo>
                      <a:pt x="304" y="152"/>
                    </a:moveTo>
                    <a:lnTo>
                      <a:pt x="302" y="154"/>
                    </a:lnTo>
                    <a:lnTo>
                      <a:pt x="292" y="154"/>
                    </a:lnTo>
                    <a:lnTo>
                      <a:pt x="281" y="150"/>
                    </a:lnTo>
                    <a:lnTo>
                      <a:pt x="273" y="150"/>
                    </a:lnTo>
                    <a:lnTo>
                      <a:pt x="264" y="146"/>
                    </a:lnTo>
                    <a:lnTo>
                      <a:pt x="252" y="140"/>
                    </a:lnTo>
                    <a:lnTo>
                      <a:pt x="242" y="132"/>
                    </a:lnTo>
                    <a:lnTo>
                      <a:pt x="214" y="104"/>
                    </a:lnTo>
                    <a:lnTo>
                      <a:pt x="200" y="92"/>
                    </a:lnTo>
                    <a:lnTo>
                      <a:pt x="177" y="75"/>
                    </a:lnTo>
                    <a:lnTo>
                      <a:pt x="168" y="67"/>
                    </a:lnTo>
                    <a:lnTo>
                      <a:pt x="156" y="59"/>
                    </a:lnTo>
                    <a:lnTo>
                      <a:pt x="154" y="46"/>
                    </a:lnTo>
                    <a:lnTo>
                      <a:pt x="166" y="33"/>
                    </a:lnTo>
                    <a:lnTo>
                      <a:pt x="204" y="8"/>
                    </a:lnTo>
                    <a:lnTo>
                      <a:pt x="225" y="0"/>
                    </a:lnTo>
                    <a:lnTo>
                      <a:pt x="242" y="0"/>
                    </a:lnTo>
                    <a:lnTo>
                      <a:pt x="262" y="4"/>
                    </a:lnTo>
                    <a:lnTo>
                      <a:pt x="285" y="17"/>
                    </a:lnTo>
                    <a:lnTo>
                      <a:pt x="312" y="38"/>
                    </a:lnTo>
                    <a:lnTo>
                      <a:pt x="360" y="67"/>
                    </a:lnTo>
                    <a:lnTo>
                      <a:pt x="304" y="15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70" name="Freeform 58">
                <a:extLst>
                  <a:ext uri="{FF2B5EF4-FFF2-40B4-BE49-F238E27FC236}">
                    <a16:creationId xmlns:a16="http://schemas.microsoft.com/office/drawing/2014/main" id="{7CEC616B-0478-43FF-BB4F-1BB1F7632582}"/>
                  </a:ext>
                </a:extLst>
              </p:cNvPr>
              <p:cNvSpPr>
                <a:spLocks/>
              </p:cNvSpPr>
              <p:nvPr/>
            </p:nvSpPr>
            <p:spPr bwMode="gray">
              <a:xfrm>
                <a:off x="4084230" y="2242435"/>
                <a:ext cx="711638" cy="637203"/>
              </a:xfrm>
              <a:custGeom>
                <a:avLst/>
                <a:gdLst>
                  <a:gd name="T0" fmla="*/ 624 w 631"/>
                  <a:gd name="T1" fmla="*/ 273 h 565"/>
                  <a:gd name="T2" fmla="*/ 604 w 631"/>
                  <a:gd name="T3" fmla="*/ 332 h 565"/>
                  <a:gd name="T4" fmla="*/ 591 w 631"/>
                  <a:gd name="T5" fmla="*/ 388 h 565"/>
                  <a:gd name="T6" fmla="*/ 539 w 631"/>
                  <a:gd name="T7" fmla="*/ 432 h 565"/>
                  <a:gd name="T8" fmla="*/ 529 w 631"/>
                  <a:gd name="T9" fmla="*/ 463 h 565"/>
                  <a:gd name="T10" fmla="*/ 537 w 631"/>
                  <a:gd name="T11" fmla="*/ 505 h 565"/>
                  <a:gd name="T12" fmla="*/ 393 w 631"/>
                  <a:gd name="T13" fmla="*/ 528 h 565"/>
                  <a:gd name="T14" fmla="*/ 153 w 631"/>
                  <a:gd name="T15" fmla="*/ 553 h 565"/>
                  <a:gd name="T16" fmla="*/ 84 w 631"/>
                  <a:gd name="T17" fmla="*/ 493 h 565"/>
                  <a:gd name="T18" fmla="*/ 15 w 631"/>
                  <a:gd name="T19" fmla="*/ 361 h 565"/>
                  <a:gd name="T20" fmla="*/ 97 w 631"/>
                  <a:gd name="T21" fmla="*/ 340 h 565"/>
                  <a:gd name="T22" fmla="*/ 192 w 631"/>
                  <a:gd name="T23" fmla="*/ 344 h 565"/>
                  <a:gd name="T24" fmla="*/ 211 w 631"/>
                  <a:gd name="T25" fmla="*/ 250 h 565"/>
                  <a:gd name="T26" fmla="*/ 230 w 631"/>
                  <a:gd name="T27" fmla="*/ 177 h 565"/>
                  <a:gd name="T28" fmla="*/ 247 w 631"/>
                  <a:gd name="T29" fmla="*/ 88 h 565"/>
                  <a:gd name="T30" fmla="*/ 336 w 631"/>
                  <a:gd name="T31" fmla="*/ 0 h 565"/>
                  <a:gd name="T32" fmla="*/ 370 w 631"/>
                  <a:gd name="T33" fmla="*/ 21 h 565"/>
                  <a:gd name="T34" fmla="*/ 439 w 631"/>
                  <a:gd name="T35" fmla="*/ 80 h 565"/>
                  <a:gd name="T36" fmla="*/ 478 w 631"/>
                  <a:gd name="T37" fmla="*/ 102 h 565"/>
                  <a:gd name="T38" fmla="*/ 508 w 631"/>
                  <a:gd name="T39" fmla="*/ 134 h 565"/>
                  <a:gd name="T40" fmla="*/ 564 w 631"/>
                  <a:gd name="T41" fmla="*/ 201 h 565"/>
                  <a:gd name="T42" fmla="*/ 541 w 631"/>
                  <a:gd name="T43" fmla="*/ 267 h 565"/>
                  <a:gd name="T44" fmla="*/ 506 w 631"/>
                  <a:gd name="T45" fmla="*/ 309 h 565"/>
                  <a:gd name="T46" fmla="*/ 472 w 631"/>
                  <a:gd name="T47" fmla="*/ 353 h 565"/>
                  <a:gd name="T48" fmla="*/ 466 w 631"/>
                  <a:gd name="T49" fmla="*/ 378 h 565"/>
                  <a:gd name="T50" fmla="*/ 451 w 631"/>
                  <a:gd name="T51" fmla="*/ 388 h 565"/>
                  <a:gd name="T52" fmla="*/ 424 w 631"/>
                  <a:gd name="T53" fmla="*/ 403 h 565"/>
                  <a:gd name="T54" fmla="*/ 389 w 631"/>
                  <a:gd name="T55" fmla="*/ 403 h 565"/>
                  <a:gd name="T56" fmla="*/ 351 w 631"/>
                  <a:gd name="T57" fmla="*/ 388 h 565"/>
                  <a:gd name="T58" fmla="*/ 322 w 631"/>
                  <a:gd name="T59" fmla="*/ 380 h 565"/>
                  <a:gd name="T60" fmla="*/ 295 w 631"/>
                  <a:gd name="T61" fmla="*/ 386 h 565"/>
                  <a:gd name="T62" fmla="*/ 263 w 631"/>
                  <a:gd name="T63" fmla="*/ 397 h 565"/>
                  <a:gd name="T64" fmla="*/ 247 w 631"/>
                  <a:gd name="T65" fmla="*/ 440 h 565"/>
                  <a:gd name="T66" fmla="*/ 247 w 631"/>
                  <a:gd name="T67" fmla="*/ 463 h 565"/>
                  <a:gd name="T68" fmla="*/ 259 w 631"/>
                  <a:gd name="T69" fmla="*/ 461 h 565"/>
                  <a:gd name="T70" fmla="*/ 280 w 631"/>
                  <a:gd name="T71" fmla="*/ 428 h 565"/>
                  <a:gd name="T72" fmla="*/ 322 w 631"/>
                  <a:gd name="T73" fmla="*/ 419 h 565"/>
                  <a:gd name="T74" fmla="*/ 324 w 631"/>
                  <a:gd name="T75" fmla="*/ 436 h 565"/>
                  <a:gd name="T76" fmla="*/ 309 w 631"/>
                  <a:gd name="T77" fmla="*/ 447 h 565"/>
                  <a:gd name="T78" fmla="*/ 314 w 631"/>
                  <a:gd name="T79" fmla="*/ 469 h 565"/>
                  <a:gd name="T80" fmla="*/ 320 w 631"/>
                  <a:gd name="T81" fmla="*/ 486 h 565"/>
                  <a:gd name="T82" fmla="*/ 313 w 631"/>
                  <a:gd name="T83" fmla="*/ 503 h 565"/>
                  <a:gd name="T84" fmla="*/ 351 w 631"/>
                  <a:gd name="T85" fmla="*/ 515 h 565"/>
                  <a:gd name="T86" fmla="*/ 384 w 631"/>
                  <a:gd name="T87" fmla="*/ 501 h 565"/>
                  <a:gd name="T88" fmla="*/ 391 w 631"/>
                  <a:gd name="T89" fmla="*/ 469 h 565"/>
                  <a:gd name="T90" fmla="*/ 407 w 631"/>
                  <a:gd name="T91" fmla="*/ 480 h 565"/>
                  <a:gd name="T92" fmla="*/ 424 w 631"/>
                  <a:gd name="T93" fmla="*/ 490 h 565"/>
                  <a:gd name="T94" fmla="*/ 428 w 631"/>
                  <a:gd name="T95" fmla="*/ 472 h 565"/>
                  <a:gd name="T96" fmla="*/ 428 w 631"/>
                  <a:gd name="T97" fmla="*/ 451 h 565"/>
                  <a:gd name="T98" fmla="*/ 445 w 631"/>
                  <a:gd name="T99" fmla="*/ 438 h 565"/>
                  <a:gd name="T100" fmla="*/ 481 w 631"/>
                  <a:gd name="T101" fmla="*/ 419 h 565"/>
                  <a:gd name="T102" fmla="*/ 506 w 631"/>
                  <a:gd name="T103" fmla="*/ 390 h 565"/>
                  <a:gd name="T104" fmla="*/ 549 w 631"/>
                  <a:gd name="T105" fmla="*/ 355 h 565"/>
                  <a:gd name="T106" fmla="*/ 579 w 631"/>
                  <a:gd name="T107" fmla="*/ 328 h 565"/>
                  <a:gd name="T108" fmla="*/ 601 w 631"/>
                  <a:gd name="T109" fmla="*/ 278 h 565"/>
                  <a:gd name="T110" fmla="*/ 618 w 631"/>
                  <a:gd name="T111" fmla="*/ 242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1" h="565">
                    <a:moveTo>
                      <a:pt x="618" y="242"/>
                    </a:moveTo>
                    <a:lnTo>
                      <a:pt x="629" y="251"/>
                    </a:lnTo>
                    <a:lnTo>
                      <a:pt x="631" y="255"/>
                    </a:lnTo>
                    <a:lnTo>
                      <a:pt x="629" y="265"/>
                    </a:lnTo>
                    <a:lnTo>
                      <a:pt x="624" y="273"/>
                    </a:lnTo>
                    <a:lnTo>
                      <a:pt x="618" y="284"/>
                    </a:lnTo>
                    <a:lnTo>
                      <a:pt x="612" y="294"/>
                    </a:lnTo>
                    <a:lnTo>
                      <a:pt x="608" y="313"/>
                    </a:lnTo>
                    <a:lnTo>
                      <a:pt x="606" y="321"/>
                    </a:lnTo>
                    <a:lnTo>
                      <a:pt x="604" y="332"/>
                    </a:lnTo>
                    <a:lnTo>
                      <a:pt x="604" y="340"/>
                    </a:lnTo>
                    <a:lnTo>
                      <a:pt x="602" y="361"/>
                    </a:lnTo>
                    <a:lnTo>
                      <a:pt x="602" y="371"/>
                    </a:lnTo>
                    <a:lnTo>
                      <a:pt x="599" y="378"/>
                    </a:lnTo>
                    <a:lnTo>
                      <a:pt x="591" y="388"/>
                    </a:lnTo>
                    <a:lnTo>
                      <a:pt x="583" y="396"/>
                    </a:lnTo>
                    <a:lnTo>
                      <a:pt x="574" y="403"/>
                    </a:lnTo>
                    <a:lnTo>
                      <a:pt x="562" y="413"/>
                    </a:lnTo>
                    <a:lnTo>
                      <a:pt x="545" y="422"/>
                    </a:lnTo>
                    <a:lnTo>
                      <a:pt x="539" y="432"/>
                    </a:lnTo>
                    <a:lnTo>
                      <a:pt x="535" y="438"/>
                    </a:lnTo>
                    <a:lnTo>
                      <a:pt x="535" y="444"/>
                    </a:lnTo>
                    <a:lnTo>
                      <a:pt x="533" y="451"/>
                    </a:lnTo>
                    <a:lnTo>
                      <a:pt x="529" y="455"/>
                    </a:lnTo>
                    <a:lnTo>
                      <a:pt x="529" y="463"/>
                    </a:lnTo>
                    <a:lnTo>
                      <a:pt x="533" y="470"/>
                    </a:lnTo>
                    <a:lnTo>
                      <a:pt x="539" y="482"/>
                    </a:lnTo>
                    <a:lnTo>
                      <a:pt x="541" y="488"/>
                    </a:lnTo>
                    <a:lnTo>
                      <a:pt x="539" y="497"/>
                    </a:lnTo>
                    <a:lnTo>
                      <a:pt x="537" y="505"/>
                    </a:lnTo>
                    <a:lnTo>
                      <a:pt x="533" y="511"/>
                    </a:lnTo>
                    <a:lnTo>
                      <a:pt x="506" y="518"/>
                    </a:lnTo>
                    <a:lnTo>
                      <a:pt x="491" y="524"/>
                    </a:lnTo>
                    <a:lnTo>
                      <a:pt x="414" y="526"/>
                    </a:lnTo>
                    <a:lnTo>
                      <a:pt x="393" y="528"/>
                    </a:lnTo>
                    <a:lnTo>
                      <a:pt x="309" y="549"/>
                    </a:lnTo>
                    <a:lnTo>
                      <a:pt x="259" y="563"/>
                    </a:lnTo>
                    <a:lnTo>
                      <a:pt x="234" y="565"/>
                    </a:lnTo>
                    <a:lnTo>
                      <a:pt x="197" y="563"/>
                    </a:lnTo>
                    <a:lnTo>
                      <a:pt x="153" y="553"/>
                    </a:lnTo>
                    <a:lnTo>
                      <a:pt x="145" y="551"/>
                    </a:lnTo>
                    <a:lnTo>
                      <a:pt x="136" y="549"/>
                    </a:lnTo>
                    <a:lnTo>
                      <a:pt x="109" y="536"/>
                    </a:lnTo>
                    <a:lnTo>
                      <a:pt x="94" y="522"/>
                    </a:lnTo>
                    <a:lnTo>
                      <a:pt x="84" y="493"/>
                    </a:lnTo>
                    <a:lnTo>
                      <a:pt x="71" y="467"/>
                    </a:lnTo>
                    <a:lnTo>
                      <a:pt x="61" y="455"/>
                    </a:lnTo>
                    <a:lnTo>
                      <a:pt x="49" y="436"/>
                    </a:lnTo>
                    <a:lnTo>
                      <a:pt x="36" y="415"/>
                    </a:lnTo>
                    <a:lnTo>
                      <a:pt x="15" y="361"/>
                    </a:lnTo>
                    <a:lnTo>
                      <a:pt x="0" y="330"/>
                    </a:lnTo>
                    <a:lnTo>
                      <a:pt x="15" y="332"/>
                    </a:lnTo>
                    <a:lnTo>
                      <a:pt x="42" y="323"/>
                    </a:lnTo>
                    <a:lnTo>
                      <a:pt x="71" y="328"/>
                    </a:lnTo>
                    <a:lnTo>
                      <a:pt x="97" y="340"/>
                    </a:lnTo>
                    <a:lnTo>
                      <a:pt x="115" y="346"/>
                    </a:lnTo>
                    <a:lnTo>
                      <a:pt x="128" y="344"/>
                    </a:lnTo>
                    <a:lnTo>
                      <a:pt x="147" y="344"/>
                    </a:lnTo>
                    <a:lnTo>
                      <a:pt x="169" y="340"/>
                    </a:lnTo>
                    <a:lnTo>
                      <a:pt x="192" y="344"/>
                    </a:lnTo>
                    <a:lnTo>
                      <a:pt x="193" y="336"/>
                    </a:lnTo>
                    <a:lnTo>
                      <a:pt x="199" y="313"/>
                    </a:lnTo>
                    <a:lnTo>
                      <a:pt x="205" y="284"/>
                    </a:lnTo>
                    <a:lnTo>
                      <a:pt x="209" y="257"/>
                    </a:lnTo>
                    <a:lnTo>
                      <a:pt x="211" y="250"/>
                    </a:lnTo>
                    <a:lnTo>
                      <a:pt x="213" y="234"/>
                    </a:lnTo>
                    <a:lnTo>
                      <a:pt x="222" y="205"/>
                    </a:lnTo>
                    <a:lnTo>
                      <a:pt x="228" y="198"/>
                    </a:lnTo>
                    <a:lnTo>
                      <a:pt x="230" y="190"/>
                    </a:lnTo>
                    <a:lnTo>
                      <a:pt x="230" y="177"/>
                    </a:lnTo>
                    <a:lnTo>
                      <a:pt x="230" y="153"/>
                    </a:lnTo>
                    <a:lnTo>
                      <a:pt x="228" y="132"/>
                    </a:lnTo>
                    <a:lnTo>
                      <a:pt x="220" y="109"/>
                    </a:lnTo>
                    <a:lnTo>
                      <a:pt x="245" y="98"/>
                    </a:lnTo>
                    <a:lnTo>
                      <a:pt x="247" y="88"/>
                    </a:lnTo>
                    <a:lnTo>
                      <a:pt x="255" y="79"/>
                    </a:lnTo>
                    <a:lnTo>
                      <a:pt x="265" y="42"/>
                    </a:lnTo>
                    <a:lnTo>
                      <a:pt x="272" y="40"/>
                    </a:lnTo>
                    <a:lnTo>
                      <a:pt x="324" y="7"/>
                    </a:lnTo>
                    <a:lnTo>
                      <a:pt x="336" y="0"/>
                    </a:lnTo>
                    <a:lnTo>
                      <a:pt x="337" y="2"/>
                    </a:lnTo>
                    <a:lnTo>
                      <a:pt x="347" y="9"/>
                    </a:lnTo>
                    <a:lnTo>
                      <a:pt x="353" y="15"/>
                    </a:lnTo>
                    <a:lnTo>
                      <a:pt x="362" y="19"/>
                    </a:lnTo>
                    <a:lnTo>
                      <a:pt x="370" y="21"/>
                    </a:lnTo>
                    <a:lnTo>
                      <a:pt x="382" y="31"/>
                    </a:lnTo>
                    <a:lnTo>
                      <a:pt x="397" y="42"/>
                    </a:lnTo>
                    <a:lnTo>
                      <a:pt x="420" y="63"/>
                    </a:lnTo>
                    <a:lnTo>
                      <a:pt x="432" y="73"/>
                    </a:lnTo>
                    <a:lnTo>
                      <a:pt x="439" y="80"/>
                    </a:lnTo>
                    <a:lnTo>
                      <a:pt x="447" y="82"/>
                    </a:lnTo>
                    <a:lnTo>
                      <a:pt x="449" y="90"/>
                    </a:lnTo>
                    <a:lnTo>
                      <a:pt x="455" y="94"/>
                    </a:lnTo>
                    <a:lnTo>
                      <a:pt x="458" y="98"/>
                    </a:lnTo>
                    <a:lnTo>
                      <a:pt x="478" y="102"/>
                    </a:lnTo>
                    <a:lnTo>
                      <a:pt x="480" y="104"/>
                    </a:lnTo>
                    <a:lnTo>
                      <a:pt x="481" y="113"/>
                    </a:lnTo>
                    <a:lnTo>
                      <a:pt x="483" y="119"/>
                    </a:lnTo>
                    <a:lnTo>
                      <a:pt x="499" y="127"/>
                    </a:lnTo>
                    <a:lnTo>
                      <a:pt x="508" y="134"/>
                    </a:lnTo>
                    <a:lnTo>
                      <a:pt x="551" y="161"/>
                    </a:lnTo>
                    <a:lnTo>
                      <a:pt x="554" y="163"/>
                    </a:lnTo>
                    <a:lnTo>
                      <a:pt x="585" y="180"/>
                    </a:lnTo>
                    <a:lnTo>
                      <a:pt x="576" y="192"/>
                    </a:lnTo>
                    <a:lnTo>
                      <a:pt x="564" y="201"/>
                    </a:lnTo>
                    <a:lnTo>
                      <a:pt x="558" y="215"/>
                    </a:lnTo>
                    <a:lnTo>
                      <a:pt x="553" y="232"/>
                    </a:lnTo>
                    <a:lnTo>
                      <a:pt x="551" y="248"/>
                    </a:lnTo>
                    <a:lnTo>
                      <a:pt x="549" y="255"/>
                    </a:lnTo>
                    <a:lnTo>
                      <a:pt x="541" y="267"/>
                    </a:lnTo>
                    <a:lnTo>
                      <a:pt x="533" y="276"/>
                    </a:lnTo>
                    <a:lnTo>
                      <a:pt x="524" y="284"/>
                    </a:lnTo>
                    <a:lnTo>
                      <a:pt x="514" y="294"/>
                    </a:lnTo>
                    <a:lnTo>
                      <a:pt x="508" y="301"/>
                    </a:lnTo>
                    <a:lnTo>
                      <a:pt x="506" y="309"/>
                    </a:lnTo>
                    <a:lnTo>
                      <a:pt x="506" y="319"/>
                    </a:lnTo>
                    <a:lnTo>
                      <a:pt x="501" y="328"/>
                    </a:lnTo>
                    <a:lnTo>
                      <a:pt x="491" y="338"/>
                    </a:lnTo>
                    <a:lnTo>
                      <a:pt x="480" y="347"/>
                    </a:lnTo>
                    <a:lnTo>
                      <a:pt x="472" y="353"/>
                    </a:lnTo>
                    <a:lnTo>
                      <a:pt x="472" y="357"/>
                    </a:lnTo>
                    <a:lnTo>
                      <a:pt x="476" y="361"/>
                    </a:lnTo>
                    <a:lnTo>
                      <a:pt x="476" y="372"/>
                    </a:lnTo>
                    <a:lnTo>
                      <a:pt x="466" y="372"/>
                    </a:lnTo>
                    <a:lnTo>
                      <a:pt x="466" y="378"/>
                    </a:lnTo>
                    <a:lnTo>
                      <a:pt x="464" y="380"/>
                    </a:lnTo>
                    <a:lnTo>
                      <a:pt x="462" y="380"/>
                    </a:lnTo>
                    <a:lnTo>
                      <a:pt x="458" y="380"/>
                    </a:lnTo>
                    <a:lnTo>
                      <a:pt x="453" y="384"/>
                    </a:lnTo>
                    <a:lnTo>
                      <a:pt x="451" y="388"/>
                    </a:lnTo>
                    <a:lnTo>
                      <a:pt x="447" y="392"/>
                    </a:lnTo>
                    <a:lnTo>
                      <a:pt x="445" y="396"/>
                    </a:lnTo>
                    <a:lnTo>
                      <a:pt x="441" y="399"/>
                    </a:lnTo>
                    <a:lnTo>
                      <a:pt x="433" y="403"/>
                    </a:lnTo>
                    <a:lnTo>
                      <a:pt x="424" y="403"/>
                    </a:lnTo>
                    <a:lnTo>
                      <a:pt x="418" y="403"/>
                    </a:lnTo>
                    <a:lnTo>
                      <a:pt x="410" y="409"/>
                    </a:lnTo>
                    <a:lnTo>
                      <a:pt x="399" y="409"/>
                    </a:lnTo>
                    <a:lnTo>
                      <a:pt x="395" y="407"/>
                    </a:lnTo>
                    <a:lnTo>
                      <a:pt x="389" y="403"/>
                    </a:lnTo>
                    <a:lnTo>
                      <a:pt x="376" y="397"/>
                    </a:lnTo>
                    <a:lnTo>
                      <a:pt x="368" y="394"/>
                    </a:lnTo>
                    <a:lnTo>
                      <a:pt x="362" y="390"/>
                    </a:lnTo>
                    <a:lnTo>
                      <a:pt x="359" y="388"/>
                    </a:lnTo>
                    <a:lnTo>
                      <a:pt x="351" y="388"/>
                    </a:lnTo>
                    <a:lnTo>
                      <a:pt x="339" y="388"/>
                    </a:lnTo>
                    <a:lnTo>
                      <a:pt x="334" y="388"/>
                    </a:lnTo>
                    <a:lnTo>
                      <a:pt x="326" y="386"/>
                    </a:lnTo>
                    <a:lnTo>
                      <a:pt x="322" y="384"/>
                    </a:lnTo>
                    <a:lnTo>
                      <a:pt x="322" y="380"/>
                    </a:lnTo>
                    <a:lnTo>
                      <a:pt x="320" y="374"/>
                    </a:lnTo>
                    <a:lnTo>
                      <a:pt x="316" y="372"/>
                    </a:lnTo>
                    <a:lnTo>
                      <a:pt x="313" y="372"/>
                    </a:lnTo>
                    <a:lnTo>
                      <a:pt x="309" y="376"/>
                    </a:lnTo>
                    <a:lnTo>
                      <a:pt x="295" y="386"/>
                    </a:lnTo>
                    <a:lnTo>
                      <a:pt x="288" y="390"/>
                    </a:lnTo>
                    <a:lnTo>
                      <a:pt x="278" y="390"/>
                    </a:lnTo>
                    <a:lnTo>
                      <a:pt x="274" y="390"/>
                    </a:lnTo>
                    <a:lnTo>
                      <a:pt x="270" y="394"/>
                    </a:lnTo>
                    <a:lnTo>
                      <a:pt x="263" y="397"/>
                    </a:lnTo>
                    <a:lnTo>
                      <a:pt x="259" y="401"/>
                    </a:lnTo>
                    <a:lnTo>
                      <a:pt x="259" y="411"/>
                    </a:lnTo>
                    <a:lnTo>
                      <a:pt x="253" y="422"/>
                    </a:lnTo>
                    <a:lnTo>
                      <a:pt x="249" y="430"/>
                    </a:lnTo>
                    <a:lnTo>
                      <a:pt x="247" y="440"/>
                    </a:lnTo>
                    <a:lnTo>
                      <a:pt x="245" y="451"/>
                    </a:lnTo>
                    <a:lnTo>
                      <a:pt x="245" y="457"/>
                    </a:lnTo>
                    <a:lnTo>
                      <a:pt x="245" y="459"/>
                    </a:lnTo>
                    <a:lnTo>
                      <a:pt x="245" y="463"/>
                    </a:lnTo>
                    <a:lnTo>
                      <a:pt x="247" y="463"/>
                    </a:lnTo>
                    <a:lnTo>
                      <a:pt x="249" y="465"/>
                    </a:lnTo>
                    <a:lnTo>
                      <a:pt x="253" y="463"/>
                    </a:lnTo>
                    <a:lnTo>
                      <a:pt x="253" y="461"/>
                    </a:lnTo>
                    <a:lnTo>
                      <a:pt x="257" y="461"/>
                    </a:lnTo>
                    <a:lnTo>
                      <a:pt x="259" y="461"/>
                    </a:lnTo>
                    <a:lnTo>
                      <a:pt x="261" y="455"/>
                    </a:lnTo>
                    <a:lnTo>
                      <a:pt x="261" y="449"/>
                    </a:lnTo>
                    <a:lnTo>
                      <a:pt x="265" y="440"/>
                    </a:lnTo>
                    <a:lnTo>
                      <a:pt x="270" y="436"/>
                    </a:lnTo>
                    <a:lnTo>
                      <a:pt x="280" y="428"/>
                    </a:lnTo>
                    <a:lnTo>
                      <a:pt x="289" y="426"/>
                    </a:lnTo>
                    <a:lnTo>
                      <a:pt x="297" y="422"/>
                    </a:lnTo>
                    <a:lnTo>
                      <a:pt x="305" y="420"/>
                    </a:lnTo>
                    <a:lnTo>
                      <a:pt x="316" y="419"/>
                    </a:lnTo>
                    <a:lnTo>
                      <a:pt x="322" y="419"/>
                    </a:lnTo>
                    <a:lnTo>
                      <a:pt x="330" y="420"/>
                    </a:lnTo>
                    <a:lnTo>
                      <a:pt x="336" y="424"/>
                    </a:lnTo>
                    <a:lnTo>
                      <a:pt x="336" y="428"/>
                    </a:lnTo>
                    <a:lnTo>
                      <a:pt x="330" y="432"/>
                    </a:lnTo>
                    <a:lnTo>
                      <a:pt x="324" y="436"/>
                    </a:lnTo>
                    <a:lnTo>
                      <a:pt x="318" y="438"/>
                    </a:lnTo>
                    <a:lnTo>
                      <a:pt x="316" y="442"/>
                    </a:lnTo>
                    <a:lnTo>
                      <a:pt x="316" y="444"/>
                    </a:lnTo>
                    <a:lnTo>
                      <a:pt x="311" y="445"/>
                    </a:lnTo>
                    <a:lnTo>
                      <a:pt x="309" y="447"/>
                    </a:lnTo>
                    <a:lnTo>
                      <a:pt x="307" y="457"/>
                    </a:lnTo>
                    <a:lnTo>
                      <a:pt x="309" y="467"/>
                    </a:lnTo>
                    <a:lnTo>
                      <a:pt x="309" y="470"/>
                    </a:lnTo>
                    <a:lnTo>
                      <a:pt x="313" y="469"/>
                    </a:lnTo>
                    <a:lnTo>
                      <a:pt x="314" y="469"/>
                    </a:lnTo>
                    <a:lnTo>
                      <a:pt x="320" y="470"/>
                    </a:lnTo>
                    <a:lnTo>
                      <a:pt x="324" y="474"/>
                    </a:lnTo>
                    <a:lnTo>
                      <a:pt x="326" y="480"/>
                    </a:lnTo>
                    <a:lnTo>
                      <a:pt x="326" y="486"/>
                    </a:lnTo>
                    <a:lnTo>
                      <a:pt x="320" y="486"/>
                    </a:lnTo>
                    <a:lnTo>
                      <a:pt x="316" y="486"/>
                    </a:lnTo>
                    <a:lnTo>
                      <a:pt x="314" y="492"/>
                    </a:lnTo>
                    <a:lnTo>
                      <a:pt x="313" y="495"/>
                    </a:lnTo>
                    <a:lnTo>
                      <a:pt x="311" y="497"/>
                    </a:lnTo>
                    <a:lnTo>
                      <a:pt x="313" y="503"/>
                    </a:lnTo>
                    <a:lnTo>
                      <a:pt x="318" y="507"/>
                    </a:lnTo>
                    <a:lnTo>
                      <a:pt x="328" y="513"/>
                    </a:lnTo>
                    <a:lnTo>
                      <a:pt x="337" y="515"/>
                    </a:lnTo>
                    <a:lnTo>
                      <a:pt x="347" y="513"/>
                    </a:lnTo>
                    <a:lnTo>
                      <a:pt x="351" y="515"/>
                    </a:lnTo>
                    <a:lnTo>
                      <a:pt x="357" y="517"/>
                    </a:lnTo>
                    <a:lnTo>
                      <a:pt x="362" y="517"/>
                    </a:lnTo>
                    <a:lnTo>
                      <a:pt x="370" y="515"/>
                    </a:lnTo>
                    <a:lnTo>
                      <a:pt x="378" y="509"/>
                    </a:lnTo>
                    <a:lnTo>
                      <a:pt x="384" y="501"/>
                    </a:lnTo>
                    <a:lnTo>
                      <a:pt x="384" y="495"/>
                    </a:lnTo>
                    <a:lnTo>
                      <a:pt x="385" y="486"/>
                    </a:lnTo>
                    <a:lnTo>
                      <a:pt x="389" y="478"/>
                    </a:lnTo>
                    <a:lnTo>
                      <a:pt x="391" y="472"/>
                    </a:lnTo>
                    <a:lnTo>
                      <a:pt x="391" y="469"/>
                    </a:lnTo>
                    <a:lnTo>
                      <a:pt x="393" y="467"/>
                    </a:lnTo>
                    <a:lnTo>
                      <a:pt x="397" y="465"/>
                    </a:lnTo>
                    <a:lnTo>
                      <a:pt x="403" y="469"/>
                    </a:lnTo>
                    <a:lnTo>
                      <a:pt x="407" y="476"/>
                    </a:lnTo>
                    <a:lnTo>
                      <a:pt x="407" y="480"/>
                    </a:lnTo>
                    <a:lnTo>
                      <a:pt x="412" y="482"/>
                    </a:lnTo>
                    <a:lnTo>
                      <a:pt x="418" y="488"/>
                    </a:lnTo>
                    <a:lnTo>
                      <a:pt x="420" y="493"/>
                    </a:lnTo>
                    <a:lnTo>
                      <a:pt x="422" y="493"/>
                    </a:lnTo>
                    <a:lnTo>
                      <a:pt x="424" y="490"/>
                    </a:lnTo>
                    <a:lnTo>
                      <a:pt x="426" y="488"/>
                    </a:lnTo>
                    <a:lnTo>
                      <a:pt x="430" y="482"/>
                    </a:lnTo>
                    <a:lnTo>
                      <a:pt x="428" y="478"/>
                    </a:lnTo>
                    <a:lnTo>
                      <a:pt x="426" y="476"/>
                    </a:lnTo>
                    <a:lnTo>
                      <a:pt x="428" y="472"/>
                    </a:lnTo>
                    <a:lnTo>
                      <a:pt x="428" y="469"/>
                    </a:lnTo>
                    <a:lnTo>
                      <a:pt x="428" y="463"/>
                    </a:lnTo>
                    <a:lnTo>
                      <a:pt x="426" y="459"/>
                    </a:lnTo>
                    <a:lnTo>
                      <a:pt x="426" y="453"/>
                    </a:lnTo>
                    <a:lnTo>
                      <a:pt x="428" y="451"/>
                    </a:lnTo>
                    <a:lnTo>
                      <a:pt x="435" y="451"/>
                    </a:lnTo>
                    <a:lnTo>
                      <a:pt x="441" y="447"/>
                    </a:lnTo>
                    <a:lnTo>
                      <a:pt x="443" y="444"/>
                    </a:lnTo>
                    <a:lnTo>
                      <a:pt x="443" y="440"/>
                    </a:lnTo>
                    <a:lnTo>
                      <a:pt x="445" y="438"/>
                    </a:lnTo>
                    <a:lnTo>
                      <a:pt x="449" y="440"/>
                    </a:lnTo>
                    <a:lnTo>
                      <a:pt x="453" y="442"/>
                    </a:lnTo>
                    <a:lnTo>
                      <a:pt x="458" y="438"/>
                    </a:lnTo>
                    <a:lnTo>
                      <a:pt x="466" y="428"/>
                    </a:lnTo>
                    <a:lnTo>
                      <a:pt x="481" y="419"/>
                    </a:lnTo>
                    <a:lnTo>
                      <a:pt x="487" y="413"/>
                    </a:lnTo>
                    <a:lnTo>
                      <a:pt x="497" y="407"/>
                    </a:lnTo>
                    <a:lnTo>
                      <a:pt x="499" y="403"/>
                    </a:lnTo>
                    <a:lnTo>
                      <a:pt x="503" y="399"/>
                    </a:lnTo>
                    <a:lnTo>
                      <a:pt x="506" y="390"/>
                    </a:lnTo>
                    <a:lnTo>
                      <a:pt x="512" y="382"/>
                    </a:lnTo>
                    <a:lnTo>
                      <a:pt x="518" y="378"/>
                    </a:lnTo>
                    <a:lnTo>
                      <a:pt x="526" y="372"/>
                    </a:lnTo>
                    <a:lnTo>
                      <a:pt x="541" y="363"/>
                    </a:lnTo>
                    <a:lnTo>
                      <a:pt x="549" y="355"/>
                    </a:lnTo>
                    <a:lnTo>
                      <a:pt x="558" y="351"/>
                    </a:lnTo>
                    <a:lnTo>
                      <a:pt x="564" y="346"/>
                    </a:lnTo>
                    <a:lnTo>
                      <a:pt x="568" y="342"/>
                    </a:lnTo>
                    <a:lnTo>
                      <a:pt x="574" y="334"/>
                    </a:lnTo>
                    <a:lnTo>
                      <a:pt x="579" y="328"/>
                    </a:lnTo>
                    <a:lnTo>
                      <a:pt x="583" y="319"/>
                    </a:lnTo>
                    <a:lnTo>
                      <a:pt x="583" y="315"/>
                    </a:lnTo>
                    <a:lnTo>
                      <a:pt x="585" y="307"/>
                    </a:lnTo>
                    <a:lnTo>
                      <a:pt x="593" y="292"/>
                    </a:lnTo>
                    <a:lnTo>
                      <a:pt x="601" y="278"/>
                    </a:lnTo>
                    <a:lnTo>
                      <a:pt x="604" y="273"/>
                    </a:lnTo>
                    <a:lnTo>
                      <a:pt x="606" y="267"/>
                    </a:lnTo>
                    <a:lnTo>
                      <a:pt x="612" y="259"/>
                    </a:lnTo>
                    <a:lnTo>
                      <a:pt x="614" y="250"/>
                    </a:lnTo>
                    <a:lnTo>
                      <a:pt x="618" y="242"/>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71" name="Freeform 59">
                <a:extLst>
                  <a:ext uri="{FF2B5EF4-FFF2-40B4-BE49-F238E27FC236}">
                    <a16:creationId xmlns:a16="http://schemas.microsoft.com/office/drawing/2014/main" id="{B0FB2A86-88BA-4B98-BA88-22CCFAD798B5}"/>
                  </a:ext>
                </a:extLst>
              </p:cNvPr>
              <p:cNvSpPr>
                <a:spLocks/>
              </p:cNvSpPr>
              <p:nvPr/>
            </p:nvSpPr>
            <p:spPr bwMode="gray">
              <a:xfrm>
                <a:off x="3670330" y="2257096"/>
                <a:ext cx="673293" cy="416156"/>
              </a:xfrm>
              <a:custGeom>
                <a:avLst/>
                <a:gdLst>
                  <a:gd name="T0" fmla="*/ 595 w 597"/>
                  <a:gd name="T1" fmla="*/ 119 h 369"/>
                  <a:gd name="T2" fmla="*/ 597 w 597"/>
                  <a:gd name="T3" fmla="*/ 164 h 369"/>
                  <a:gd name="T4" fmla="*/ 595 w 597"/>
                  <a:gd name="T5" fmla="*/ 185 h 369"/>
                  <a:gd name="T6" fmla="*/ 580 w 597"/>
                  <a:gd name="T7" fmla="*/ 221 h 369"/>
                  <a:gd name="T8" fmla="*/ 576 w 597"/>
                  <a:gd name="T9" fmla="*/ 244 h 369"/>
                  <a:gd name="T10" fmla="*/ 566 w 597"/>
                  <a:gd name="T11" fmla="*/ 300 h 369"/>
                  <a:gd name="T12" fmla="*/ 559 w 597"/>
                  <a:gd name="T13" fmla="*/ 331 h 369"/>
                  <a:gd name="T14" fmla="*/ 514 w 597"/>
                  <a:gd name="T15" fmla="*/ 331 h 369"/>
                  <a:gd name="T16" fmla="*/ 482 w 597"/>
                  <a:gd name="T17" fmla="*/ 333 h 369"/>
                  <a:gd name="T18" fmla="*/ 438 w 597"/>
                  <a:gd name="T19" fmla="*/ 315 h 369"/>
                  <a:gd name="T20" fmla="*/ 382 w 597"/>
                  <a:gd name="T21" fmla="*/ 319 h 369"/>
                  <a:gd name="T22" fmla="*/ 344 w 597"/>
                  <a:gd name="T23" fmla="*/ 290 h 369"/>
                  <a:gd name="T24" fmla="*/ 192 w 597"/>
                  <a:gd name="T25" fmla="*/ 340 h 369"/>
                  <a:gd name="T26" fmla="*/ 138 w 597"/>
                  <a:gd name="T27" fmla="*/ 356 h 369"/>
                  <a:gd name="T28" fmla="*/ 44 w 597"/>
                  <a:gd name="T29" fmla="*/ 363 h 369"/>
                  <a:gd name="T30" fmla="*/ 2 w 597"/>
                  <a:gd name="T31" fmla="*/ 365 h 369"/>
                  <a:gd name="T32" fmla="*/ 17 w 597"/>
                  <a:gd name="T33" fmla="*/ 229 h 369"/>
                  <a:gd name="T34" fmla="*/ 59 w 597"/>
                  <a:gd name="T35" fmla="*/ 204 h 369"/>
                  <a:gd name="T36" fmla="*/ 105 w 597"/>
                  <a:gd name="T37" fmla="*/ 190 h 369"/>
                  <a:gd name="T38" fmla="*/ 151 w 597"/>
                  <a:gd name="T39" fmla="*/ 190 h 369"/>
                  <a:gd name="T40" fmla="*/ 190 w 597"/>
                  <a:gd name="T41" fmla="*/ 200 h 369"/>
                  <a:gd name="T42" fmla="*/ 207 w 597"/>
                  <a:gd name="T43" fmla="*/ 210 h 369"/>
                  <a:gd name="T44" fmla="*/ 257 w 597"/>
                  <a:gd name="T45" fmla="*/ 235 h 369"/>
                  <a:gd name="T46" fmla="*/ 330 w 597"/>
                  <a:gd name="T47" fmla="*/ 150 h 369"/>
                  <a:gd name="T48" fmla="*/ 374 w 597"/>
                  <a:gd name="T49" fmla="*/ 94 h 369"/>
                  <a:gd name="T50" fmla="*/ 424 w 597"/>
                  <a:gd name="T51" fmla="*/ 39 h 369"/>
                  <a:gd name="T52" fmla="*/ 432 w 597"/>
                  <a:gd name="T53" fmla="*/ 18 h 369"/>
                  <a:gd name="T54" fmla="*/ 459 w 597"/>
                  <a:gd name="T55" fmla="*/ 10 h 369"/>
                  <a:gd name="T56" fmla="*/ 488 w 597"/>
                  <a:gd name="T57" fmla="*/ 25 h 369"/>
                  <a:gd name="T58" fmla="*/ 509 w 597"/>
                  <a:gd name="T59" fmla="*/ 42 h 369"/>
                  <a:gd name="T60" fmla="*/ 537 w 597"/>
                  <a:gd name="T61" fmla="*/ 67 h 369"/>
                  <a:gd name="T62" fmla="*/ 559 w 597"/>
                  <a:gd name="T63" fmla="*/ 94 h 369"/>
                  <a:gd name="T64" fmla="*/ 574 w 597"/>
                  <a:gd name="T65" fmla="*/ 10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7" h="369">
                    <a:moveTo>
                      <a:pt x="587" y="96"/>
                    </a:moveTo>
                    <a:lnTo>
                      <a:pt x="595" y="119"/>
                    </a:lnTo>
                    <a:lnTo>
                      <a:pt x="597" y="140"/>
                    </a:lnTo>
                    <a:lnTo>
                      <a:pt x="597" y="164"/>
                    </a:lnTo>
                    <a:lnTo>
                      <a:pt x="597" y="177"/>
                    </a:lnTo>
                    <a:lnTo>
                      <a:pt x="595" y="185"/>
                    </a:lnTo>
                    <a:lnTo>
                      <a:pt x="589" y="192"/>
                    </a:lnTo>
                    <a:lnTo>
                      <a:pt x="580" y="221"/>
                    </a:lnTo>
                    <a:lnTo>
                      <a:pt x="578" y="237"/>
                    </a:lnTo>
                    <a:lnTo>
                      <a:pt x="576" y="244"/>
                    </a:lnTo>
                    <a:lnTo>
                      <a:pt x="572" y="271"/>
                    </a:lnTo>
                    <a:lnTo>
                      <a:pt x="566" y="300"/>
                    </a:lnTo>
                    <a:lnTo>
                      <a:pt x="560" y="323"/>
                    </a:lnTo>
                    <a:lnTo>
                      <a:pt x="559" y="331"/>
                    </a:lnTo>
                    <a:lnTo>
                      <a:pt x="536" y="327"/>
                    </a:lnTo>
                    <a:lnTo>
                      <a:pt x="514" y="331"/>
                    </a:lnTo>
                    <a:lnTo>
                      <a:pt x="495" y="331"/>
                    </a:lnTo>
                    <a:lnTo>
                      <a:pt x="482" y="333"/>
                    </a:lnTo>
                    <a:lnTo>
                      <a:pt x="464" y="327"/>
                    </a:lnTo>
                    <a:lnTo>
                      <a:pt x="438" y="315"/>
                    </a:lnTo>
                    <a:lnTo>
                      <a:pt x="409" y="310"/>
                    </a:lnTo>
                    <a:lnTo>
                      <a:pt x="382" y="319"/>
                    </a:lnTo>
                    <a:lnTo>
                      <a:pt x="367" y="317"/>
                    </a:lnTo>
                    <a:lnTo>
                      <a:pt x="344" y="290"/>
                    </a:lnTo>
                    <a:lnTo>
                      <a:pt x="320" y="302"/>
                    </a:lnTo>
                    <a:lnTo>
                      <a:pt x="192" y="340"/>
                    </a:lnTo>
                    <a:lnTo>
                      <a:pt x="159" y="350"/>
                    </a:lnTo>
                    <a:lnTo>
                      <a:pt x="138" y="356"/>
                    </a:lnTo>
                    <a:lnTo>
                      <a:pt x="55" y="359"/>
                    </a:lnTo>
                    <a:lnTo>
                      <a:pt x="44" y="363"/>
                    </a:lnTo>
                    <a:lnTo>
                      <a:pt x="25" y="369"/>
                    </a:lnTo>
                    <a:lnTo>
                      <a:pt x="2" y="365"/>
                    </a:lnTo>
                    <a:lnTo>
                      <a:pt x="0" y="246"/>
                    </a:lnTo>
                    <a:lnTo>
                      <a:pt x="17" y="229"/>
                    </a:lnTo>
                    <a:lnTo>
                      <a:pt x="38" y="213"/>
                    </a:lnTo>
                    <a:lnTo>
                      <a:pt x="59" y="204"/>
                    </a:lnTo>
                    <a:lnTo>
                      <a:pt x="80" y="196"/>
                    </a:lnTo>
                    <a:lnTo>
                      <a:pt x="105" y="190"/>
                    </a:lnTo>
                    <a:lnTo>
                      <a:pt x="130" y="188"/>
                    </a:lnTo>
                    <a:lnTo>
                      <a:pt x="151" y="190"/>
                    </a:lnTo>
                    <a:lnTo>
                      <a:pt x="161" y="194"/>
                    </a:lnTo>
                    <a:lnTo>
                      <a:pt x="190" y="200"/>
                    </a:lnTo>
                    <a:lnTo>
                      <a:pt x="205" y="208"/>
                    </a:lnTo>
                    <a:lnTo>
                      <a:pt x="207" y="210"/>
                    </a:lnTo>
                    <a:lnTo>
                      <a:pt x="223" y="215"/>
                    </a:lnTo>
                    <a:lnTo>
                      <a:pt x="257" y="235"/>
                    </a:lnTo>
                    <a:lnTo>
                      <a:pt x="307" y="173"/>
                    </a:lnTo>
                    <a:lnTo>
                      <a:pt x="330" y="150"/>
                    </a:lnTo>
                    <a:lnTo>
                      <a:pt x="347" y="129"/>
                    </a:lnTo>
                    <a:lnTo>
                      <a:pt x="374" y="94"/>
                    </a:lnTo>
                    <a:lnTo>
                      <a:pt x="409" y="56"/>
                    </a:lnTo>
                    <a:lnTo>
                      <a:pt x="424" y="39"/>
                    </a:lnTo>
                    <a:lnTo>
                      <a:pt x="432" y="25"/>
                    </a:lnTo>
                    <a:lnTo>
                      <a:pt x="432" y="18"/>
                    </a:lnTo>
                    <a:lnTo>
                      <a:pt x="432" y="0"/>
                    </a:lnTo>
                    <a:lnTo>
                      <a:pt x="459" y="10"/>
                    </a:lnTo>
                    <a:lnTo>
                      <a:pt x="474" y="18"/>
                    </a:lnTo>
                    <a:lnTo>
                      <a:pt x="488" y="25"/>
                    </a:lnTo>
                    <a:lnTo>
                      <a:pt x="501" y="35"/>
                    </a:lnTo>
                    <a:lnTo>
                      <a:pt x="509" y="42"/>
                    </a:lnTo>
                    <a:lnTo>
                      <a:pt x="526" y="54"/>
                    </a:lnTo>
                    <a:lnTo>
                      <a:pt x="537" y="67"/>
                    </a:lnTo>
                    <a:lnTo>
                      <a:pt x="547" y="85"/>
                    </a:lnTo>
                    <a:lnTo>
                      <a:pt x="559" y="94"/>
                    </a:lnTo>
                    <a:lnTo>
                      <a:pt x="566" y="100"/>
                    </a:lnTo>
                    <a:lnTo>
                      <a:pt x="574" y="100"/>
                    </a:lnTo>
                    <a:lnTo>
                      <a:pt x="587" y="96"/>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72" name="Freeform 60">
                <a:extLst>
                  <a:ext uri="{FF2B5EF4-FFF2-40B4-BE49-F238E27FC236}">
                    <a16:creationId xmlns:a16="http://schemas.microsoft.com/office/drawing/2014/main" id="{3913D71D-ED45-4D59-8CF6-7F6E3492C87C}"/>
                  </a:ext>
                </a:extLst>
              </p:cNvPr>
              <p:cNvSpPr>
                <a:spLocks/>
              </p:cNvSpPr>
              <p:nvPr/>
            </p:nvSpPr>
            <p:spPr bwMode="gray">
              <a:xfrm>
                <a:off x="3594768" y="2036048"/>
                <a:ext cx="562769" cy="498485"/>
              </a:xfrm>
              <a:custGeom>
                <a:avLst/>
                <a:gdLst>
                  <a:gd name="T0" fmla="*/ 499 w 499"/>
                  <a:gd name="T1" fmla="*/ 196 h 442"/>
                  <a:gd name="T2" fmla="*/ 499 w 499"/>
                  <a:gd name="T3" fmla="*/ 214 h 442"/>
                  <a:gd name="T4" fmla="*/ 499 w 499"/>
                  <a:gd name="T5" fmla="*/ 221 h 442"/>
                  <a:gd name="T6" fmla="*/ 491 w 499"/>
                  <a:gd name="T7" fmla="*/ 235 h 442"/>
                  <a:gd name="T8" fmla="*/ 476 w 499"/>
                  <a:gd name="T9" fmla="*/ 252 h 442"/>
                  <a:gd name="T10" fmla="*/ 441 w 499"/>
                  <a:gd name="T11" fmla="*/ 290 h 442"/>
                  <a:gd name="T12" fmla="*/ 414 w 499"/>
                  <a:gd name="T13" fmla="*/ 325 h 442"/>
                  <a:gd name="T14" fmla="*/ 397 w 499"/>
                  <a:gd name="T15" fmla="*/ 346 h 442"/>
                  <a:gd name="T16" fmla="*/ 374 w 499"/>
                  <a:gd name="T17" fmla="*/ 369 h 442"/>
                  <a:gd name="T18" fmla="*/ 324 w 499"/>
                  <a:gd name="T19" fmla="*/ 431 h 442"/>
                  <a:gd name="T20" fmla="*/ 290 w 499"/>
                  <a:gd name="T21" fmla="*/ 411 h 442"/>
                  <a:gd name="T22" fmla="*/ 274 w 499"/>
                  <a:gd name="T23" fmla="*/ 406 h 442"/>
                  <a:gd name="T24" fmla="*/ 272 w 499"/>
                  <a:gd name="T25" fmla="*/ 404 h 442"/>
                  <a:gd name="T26" fmla="*/ 257 w 499"/>
                  <a:gd name="T27" fmla="*/ 396 h 442"/>
                  <a:gd name="T28" fmla="*/ 228 w 499"/>
                  <a:gd name="T29" fmla="*/ 390 h 442"/>
                  <a:gd name="T30" fmla="*/ 218 w 499"/>
                  <a:gd name="T31" fmla="*/ 386 h 442"/>
                  <a:gd name="T32" fmla="*/ 197 w 499"/>
                  <a:gd name="T33" fmla="*/ 384 h 442"/>
                  <a:gd name="T34" fmla="*/ 172 w 499"/>
                  <a:gd name="T35" fmla="*/ 386 h 442"/>
                  <a:gd name="T36" fmla="*/ 147 w 499"/>
                  <a:gd name="T37" fmla="*/ 392 h 442"/>
                  <a:gd name="T38" fmla="*/ 126 w 499"/>
                  <a:gd name="T39" fmla="*/ 400 h 442"/>
                  <a:gd name="T40" fmla="*/ 105 w 499"/>
                  <a:gd name="T41" fmla="*/ 409 h 442"/>
                  <a:gd name="T42" fmla="*/ 84 w 499"/>
                  <a:gd name="T43" fmla="*/ 425 h 442"/>
                  <a:gd name="T44" fmla="*/ 67 w 499"/>
                  <a:gd name="T45" fmla="*/ 442 h 442"/>
                  <a:gd name="T46" fmla="*/ 61 w 499"/>
                  <a:gd name="T47" fmla="*/ 398 h 442"/>
                  <a:gd name="T48" fmla="*/ 44 w 499"/>
                  <a:gd name="T49" fmla="*/ 342 h 442"/>
                  <a:gd name="T50" fmla="*/ 40 w 499"/>
                  <a:gd name="T51" fmla="*/ 331 h 442"/>
                  <a:gd name="T52" fmla="*/ 38 w 499"/>
                  <a:gd name="T53" fmla="*/ 317 h 442"/>
                  <a:gd name="T54" fmla="*/ 34 w 499"/>
                  <a:gd name="T55" fmla="*/ 244 h 442"/>
                  <a:gd name="T56" fmla="*/ 0 w 499"/>
                  <a:gd name="T57" fmla="*/ 208 h 442"/>
                  <a:gd name="T58" fmla="*/ 3 w 499"/>
                  <a:gd name="T59" fmla="*/ 202 h 442"/>
                  <a:gd name="T60" fmla="*/ 17 w 499"/>
                  <a:gd name="T61" fmla="*/ 198 h 442"/>
                  <a:gd name="T62" fmla="*/ 19 w 499"/>
                  <a:gd name="T63" fmla="*/ 189 h 442"/>
                  <a:gd name="T64" fmla="*/ 26 w 499"/>
                  <a:gd name="T65" fmla="*/ 169 h 442"/>
                  <a:gd name="T66" fmla="*/ 42 w 499"/>
                  <a:gd name="T67" fmla="*/ 160 h 442"/>
                  <a:gd name="T68" fmla="*/ 51 w 499"/>
                  <a:gd name="T69" fmla="*/ 144 h 442"/>
                  <a:gd name="T70" fmla="*/ 51 w 499"/>
                  <a:gd name="T71" fmla="*/ 137 h 442"/>
                  <a:gd name="T72" fmla="*/ 55 w 499"/>
                  <a:gd name="T73" fmla="*/ 135 h 442"/>
                  <a:gd name="T74" fmla="*/ 61 w 499"/>
                  <a:gd name="T75" fmla="*/ 150 h 442"/>
                  <a:gd name="T76" fmla="*/ 82 w 499"/>
                  <a:gd name="T77" fmla="*/ 133 h 442"/>
                  <a:gd name="T78" fmla="*/ 103 w 499"/>
                  <a:gd name="T79" fmla="*/ 125 h 442"/>
                  <a:gd name="T80" fmla="*/ 128 w 499"/>
                  <a:gd name="T81" fmla="*/ 119 h 442"/>
                  <a:gd name="T82" fmla="*/ 144 w 499"/>
                  <a:gd name="T83" fmla="*/ 104 h 442"/>
                  <a:gd name="T84" fmla="*/ 217 w 499"/>
                  <a:gd name="T85" fmla="*/ 52 h 442"/>
                  <a:gd name="T86" fmla="*/ 276 w 499"/>
                  <a:gd name="T87" fmla="*/ 12 h 442"/>
                  <a:gd name="T88" fmla="*/ 295 w 499"/>
                  <a:gd name="T89" fmla="*/ 0 h 442"/>
                  <a:gd name="T90" fmla="*/ 305 w 499"/>
                  <a:gd name="T91" fmla="*/ 12 h 442"/>
                  <a:gd name="T92" fmla="*/ 320 w 499"/>
                  <a:gd name="T93" fmla="*/ 16 h 442"/>
                  <a:gd name="T94" fmla="*/ 324 w 499"/>
                  <a:gd name="T95" fmla="*/ 43 h 442"/>
                  <a:gd name="T96" fmla="*/ 336 w 499"/>
                  <a:gd name="T97" fmla="*/ 60 h 442"/>
                  <a:gd name="T98" fmla="*/ 349 w 499"/>
                  <a:gd name="T99" fmla="*/ 73 h 442"/>
                  <a:gd name="T100" fmla="*/ 351 w 499"/>
                  <a:gd name="T101" fmla="*/ 73 h 442"/>
                  <a:gd name="T102" fmla="*/ 361 w 499"/>
                  <a:gd name="T103" fmla="*/ 68 h 442"/>
                  <a:gd name="T104" fmla="*/ 366 w 499"/>
                  <a:gd name="T105" fmla="*/ 66 h 442"/>
                  <a:gd name="T106" fmla="*/ 380 w 499"/>
                  <a:gd name="T107" fmla="*/ 62 h 442"/>
                  <a:gd name="T108" fmla="*/ 395 w 499"/>
                  <a:gd name="T109" fmla="*/ 104 h 442"/>
                  <a:gd name="T110" fmla="*/ 399 w 499"/>
                  <a:gd name="T111" fmla="*/ 116 h 442"/>
                  <a:gd name="T112" fmla="*/ 407 w 499"/>
                  <a:gd name="T113" fmla="*/ 129 h 442"/>
                  <a:gd name="T114" fmla="*/ 416 w 499"/>
                  <a:gd name="T115" fmla="*/ 146 h 442"/>
                  <a:gd name="T116" fmla="*/ 441 w 499"/>
                  <a:gd name="T117" fmla="*/ 169 h 442"/>
                  <a:gd name="T118" fmla="*/ 472 w 499"/>
                  <a:gd name="T119" fmla="*/ 185 h 442"/>
                  <a:gd name="T120" fmla="*/ 499 w 499"/>
                  <a:gd name="T121" fmla="*/ 196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99" h="442">
                    <a:moveTo>
                      <a:pt x="499" y="196"/>
                    </a:moveTo>
                    <a:lnTo>
                      <a:pt x="499" y="214"/>
                    </a:lnTo>
                    <a:lnTo>
                      <a:pt x="499" y="221"/>
                    </a:lnTo>
                    <a:lnTo>
                      <a:pt x="491" y="235"/>
                    </a:lnTo>
                    <a:lnTo>
                      <a:pt x="476" y="252"/>
                    </a:lnTo>
                    <a:lnTo>
                      <a:pt x="441" y="290"/>
                    </a:lnTo>
                    <a:lnTo>
                      <a:pt x="414" y="325"/>
                    </a:lnTo>
                    <a:lnTo>
                      <a:pt x="397" y="346"/>
                    </a:lnTo>
                    <a:lnTo>
                      <a:pt x="374" y="369"/>
                    </a:lnTo>
                    <a:lnTo>
                      <a:pt x="324" y="431"/>
                    </a:lnTo>
                    <a:lnTo>
                      <a:pt x="290" y="411"/>
                    </a:lnTo>
                    <a:lnTo>
                      <a:pt x="274" y="406"/>
                    </a:lnTo>
                    <a:lnTo>
                      <a:pt x="272" y="404"/>
                    </a:lnTo>
                    <a:lnTo>
                      <a:pt x="257" y="396"/>
                    </a:lnTo>
                    <a:lnTo>
                      <a:pt x="228" y="390"/>
                    </a:lnTo>
                    <a:lnTo>
                      <a:pt x="218" y="386"/>
                    </a:lnTo>
                    <a:lnTo>
                      <a:pt x="197" y="384"/>
                    </a:lnTo>
                    <a:lnTo>
                      <a:pt x="172" y="386"/>
                    </a:lnTo>
                    <a:lnTo>
                      <a:pt x="147" y="392"/>
                    </a:lnTo>
                    <a:lnTo>
                      <a:pt x="126" y="400"/>
                    </a:lnTo>
                    <a:lnTo>
                      <a:pt x="105" y="409"/>
                    </a:lnTo>
                    <a:lnTo>
                      <a:pt x="84" y="425"/>
                    </a:lnTo>
                    <a:lnTo>
                      <a:pt x="67" y="442"/>
                    </a:lnTo>
                    <a:lnTo>
                      <a:pt x="61" y="398"/>
                    </a:lnTo>
                    <a:lnTo>
                      <a:pt x="44" y="342"/>
                    </a:lnTo>
                    <a:lnTo>
                      <a:pt x="40" y="331"/>
                    </a:lnTo>
                    <a:lnTo>
                      <a:pt x="38" y="317"/>
                    </a:lnTo>
                    <a:lnTo>
                      <a:pt x="34" y="244"/>
                    </a:lnTo>
                    <a:lnTo>
                      <a:pt x="0" y="208"/>
                    </a:lnTo>
                    <a:lnTo>
                      <a:pt x="3" y="202"/>
                    </a:lnTo>
                    <a:lnTo>
                      <a:pt x="17" y="198"/>
                    </a:lnTo>
                    <a:lnTo>
                      <a:pt x="19" y="189"/>
                    </a:lnTo>
                    <a:lnTo>
                      <a:pt x="26" y="169"/>
                    </a:lnTo>
                    <a:lnTo>
                      <a:pt x="42" y="160"/>
                    </a:lnTo>
                    <a:lnTo>
                      <a:pt x="51" y="144"/>
                    </a:lnTo>
                    <a:lnTo>
                      <a:pt x="51" y="137"/>
                    </a:lnTo>
                    <a:lnTo>
                      <a:pt x="55" y="135"/>
                    </a:lnTo>
                    <a:lnTo>
                      <a:pt x="61" y="150"/>
                    </a:lnTo>
                    <a:lnTo>
                      <a:pt x="82" y="133"/>
                    </a:lnTo>
                    <a:lnTo>
                      <a:pt x="103" y="125"/>
                    </a:lnTo>
                    <a:lnTo>
                      <a:pt x="128" y="119"/>
                    </a:lnTo>
                    <a:lnTo>
                      <a:pt x="144" y="104"/>
                    </a:lnTo>
                    <a:lnTo>
                      <a:pt x="217" y="52"/>
                    </a:lnTo>
                    <a:lnTo>
                      <a:pt x="276" y="12"/>
                    </a:lnTo>
                    <a:lnTo>
                      <a:pt x="295" y="0"/>
                    </a:lnTo>
                    <a:lnTo>
                      <a:pt x="305" y="12"/>
                    </a:lnTo>
                    <a:lnTo>
                      <a:pt x="320" y="16"/>
                    </a:lnTo>
                    <a:lnTo>
                      <a:pt x="324" y="43"/>
                    </a:lnTo>
                    <a:lnTo>
                      <a:pt x="336" y="60"/>
                    </a:lnTo>
                    <a:lnTo>
                      <a:pt x="349" y="73"/>
                    </a:lnTo>
                    <a:lnTo>
                      <a:pt x="351" y="73"/>
                    </a:lnTo>
                    <a:lnTo>
                      <a:pt x="361" y="68"/>
                    </a:lnTo>
                    <a:lnTo>
                      <a:pt x="366" y="66"/>
                    </a:lnTo>
                    <a:lnTo>
                      <a:pt x="380" y="62"/>
                    </a:lnTo>
                    <a:lnTo>
                      <a:pt x="395" y="104"/>
                    </a:lnTo>
                    <a:lnTo>
                      <a:pt x="399" y="116"/>
                    </a:lnTo>
                    <a:lnTo>
                      <a:pt x="407" y="129"/>
                    </a:lnTo>
                    <a:lnTo>
                      <a:pt x="416" y="146"/>
                    </a:lnTo>
                    <a:lnTo>
                      <a:pt x="441" y="169"/>
                    </a:lnTo>
                    <a:lnTo>
                      <a:pt x="472" y="185"/>
                    </a:lnTo>
                    <a:lnTo>
                      <a:pt x="499" y="196"/>
                    </a:lnTo>
                    <a:close/>
                  </a:path>
                </a:pathLst>
              </a:custGeom>
              <a:solidFill>
                <a:schemeClr val="accent6">
                  <a:lumMod val="20000"/>
                  <a:lumOff val="80000"/>
                </a:schemeClr>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73" name="Freeform 61">
                <a:extLst>
                  <a:ext uri="{FF2B5EF4-FFF2-40B4-BE49-F238E27FC236}">
                    <a16:creationId xmlns:a16="http://schemas.microsoft.com/office/drawing/2014/main" id="{8EF2C1C8-D03D-4E1A-B085-C85FAFEA92FA}"/>
                  </a:ext>
                </a:extLst>
              </p:cNvPr>
              <p:cNvSpPr>
                <a:spLocks/>
              </p:cNvSpPr>
              <p:nvPr/>
            </p:nvSpPr>
            <p:spPr bwMode="gray">
              <a:xfrm>
                <a:off x="3289136" y="2270629"/>
                <a:ext cx="417284" cy="658631"/>
              </a:xfrm>
              <a:custGeom>
                <a:avLst/>
                <a:gdLst>
                  <a:gd name="T0" fmla="*/ 340 w 370"/>
                  <a:gd name="T1" fmla="*/ 353 h 584"/>
                  <a:gd name="T2" fmla="*/ 357 w 370"/>
                  <a:gd name="T3" fmla="*/ 420 h 584"/>
                  <a:gd name="T4" fmla="*/ 367 w 370"/>
                  <a:gd name="T5" fmla="*/ 528 h 584"/>
                  <a:gd name="T6" fmla="*/ 332 w 370"/>
                  <a:gd name="T7" fmla="*/ 566 h 584"/>
                  <a:gd name="T8" fmla="*/ 271 w 370"/>
                  <a:gd name="T9" fmla="*/ 565 h 584"/>
                  <a:gd name="T10" fmla="*/ 251 w 370"/>
                  <a:gd name="T11" fmla="*/ 568 h 584"/>
                  <a:gd name="T12" fmla="*/ 211 w 370"/>
                  <a:gd name="T13" fmla="*/ 578 h 584"/>
                  <a:gd name="T14" fmla="*/ 167 w 370"/>
                  <a:gd name="T15" fmla="*/ 584 h 584"/>
                  <a:gd name="T16" fmla="*/ 152 w 370"/>
                  <a:gd name="T17" fmla="*/ 584 h 584"/>
                  <a:gd name="T18" fmla="*/ 144 w 370"/>
                  <a:gd name="T19" fmla="*/ 568 h 584"/>
                  <a:gd name="T20" fmla="*/ 134 w 370"/>
                  <a:gd name="T21" fmla="*/ 501 h 584"/>
                  <a:gd name="T22" fmla="*/ 130 w 370"/>
                  <a:gd name="T23" fmla="*/ 472 h 584"/>
                  <a:gd name="T24" fmla="*/ 134 w 370"/>
                  <a:gd name="T25" fmla="*/ 451 h 584"/>
                  <a:gd name="T26" fmla="*/ 140 w 370"/>
                  <a:gd name="T27" fmla="*/ 426 h 584"/>
                  <a:gd name="T28" fmla="*/ 119 w 370"/>
                  <a:gd name="T29" fmla="*/ 411 h 584"/>
                  <a:gd name="T30" fmla="*/ 79 w 370"/>
                  <a:gd name="T31" fmla="*/ 405 h 584"/>
                  <a:gd name="T32" fmla="*/ 54 w 370"/>
                  <a:gd name="T33" fmla="*/ 401 h 584"/>
                  <a:gd name="T34" fmla="*/ 31 w 370"/>
                  <a:gd name="T35" fmla="*/ 386 h 584"/>
                  <a:gd name="T36" fmla="*/ 17 w 370"/>
                  <a:gd name="T37" fmla="*/ 351 h 584"/>
                  <a:gd name="T38" fmla="*/ 25 w 370"/>
                  <a:gd name="T39" fmla="*/ 319 h 584"/>
                  <a:gd name="T40" fmla="*/ 11 w 370"/>
                  <a:gd name="T41" fmla="*/ 273 h 584"/>
                  <a:gd name="T42" fmla="*/ 2 w 370"/>
                  <a:gd name="T43" fmla="*/ 255 h 584"/>
                  <a:gd name="T44" fmla="*/ 17 w 370"/>
                  <a:gd name="T45" fmla="*/ 226 h 584"/>
                  <a:gd name="T46" fmla="*/ 42 w 370"/>
                  <a:gd name="T47" fmla="*/ 200 h 584"/>
                  <a:gd name="T48" fmla="*/ 54 w 370"/>
                  <a:gd name="T49" fmla="*/ 175 h 584"/>
                  <a:gd name="T50" fmla="*/ 73 w 370"/>
                  <a:gd name="T51" fmla="*/ 153 h 584"/>
                  <a:gd name="T52" fmla="*/ 69 w 370"/>
                  <a:gd name="T53" fmla="*/ 138 h 584"/>
                  <a:gd name="T54" fmla="*/ 65 w 370"/>
                  <a:gd name="T55" fmla="*/ 117 h 584"/>
                  <a:gd name="T56" fmla="*/ 46 w 370"/>
                  <a:gd name="T57" fmla="*/ 84 h 584"/>
                  <a:gd name="T58" fmla="*/ 31 w 370"/>
                  <a:gd name="T59" fmla="*/ 54 h 584"/>
                  <a:gd name="T60" fmla="*/ 33 w 370"/>
                  <a:gd name="T61" fmla="*/ 36 h 584"/>
                  <a:gd name="T62" fmla="*/ 46 w 370"/>
                  <a:gd name="T63" fmla="*/ 32 h 584"/>
                  <a:gd name="T64" fmla="*/ 75 w 370"/>
                  <a:gd name="T65" fmla="*/ 48 h 584"/>
                  <a:gd name="T66" fmla="*/ 115 w 370"/>
                  <a:gd name="T67" fmla="*/ 61 h 584"/>
                  <a:gd name="T68" fmla="*/ 134 w 370"/>
                  <a:gd name="T69" fmla="*/ 59 h 584"/>
                  <a:gd name="T70" fmla="*/ 152 w 370"/>
                  <a:gd name="T71" fmla="*/ 50 h 584"/>
                  <a:gd name="T72" fmla="*/ 171 w 370"/>
                  <a:gd name="T73" fmla="*/ 50 h 584"/>
                  <a:gd name="T74" fmla="*/ 190 w 370"/>
                  <a:gd name="T75" fmla="*/ 54 h 584"/>
                  <a:gd name="T76" fmla="*/ 213 w 370"/>
                  <a:gd name="T77" fmla="*/ 54 h 584"/>
                  <a:gd name="T78" fmla="*/ 251 w 370"/>
                  <a:gd name="T79" fmla="*/ 40 h 584"/>
                  <a:gd name="T80" fmla="*/ 257 w 370"/>
                  <a:gd name="T81" fmla="*/ 21 h 584"/>
                  <a:gd name="T82" fmla="*/ 271 w 370"/>
                  <a:gd name="T83" fmla="*/ 0 h 584"/>
                  <a:gd name="T84" fmla="*/ 309 w 370"/>
                  <a:gd name="T85" fmla="*/ 109 h 584"/>
                  <a:gd name="T86" fmla="*/ 315 w 370"/>
                  <a:gd name="T87" fmla="*/ 134 h 584"/>
                  <a:gd name="T88" fmla="*/ 338 w 370"/>
                  <a:gd name="T89" fmla="*/ 23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70" h="584">
                    <a:moveTo>
                      <a:pt x="338" y="234"/>
                    </a:moveTo>
                    <a:lnTo>
                      <a:pt x="340" y="353"/>
                    </a:lnTo>
                    <a:lnTo>
                      <a:pt x="347" y="384"/>
                    </a:lnTo>
                    <a:lnTo>
                      <a:pt x="357" y="420"/>
                    </a:lnTo>
                    <a:lnTo>
                      <a:pt x="367" y="476"/>
                    </a:lnTo>
                    <a:lnTo>
                      <a:pt x="367" y="528"/>
                    </a:lnTo>
                    <a:lnTo>
                      <a:pt x="370" y="568"/>
                    </a:lnTo>
                    <a:lnTo>
                      <a:pt x="332" y="566"/>
                    </a:lnTo>
                    <a:lnTo>
                      <a:pt x="292" y="566"/>
                    </a:lnTo>
                    <a:lnTo>
                      <a:pt x="271" y="565"/>
                    </a:lnTo>
                    <a:lnTo>
                      <a:pt x="263" y="566"/>
                    </a:lnTo>
                    <a:lnTo>
                      <a:pt x="251" y="568"/>
                    </a:lnTo>
                    <a:lnTo>
                      <a:pt x="232" y="574"/>
                    </a:lnTo>
                    <a:lnTo>
                      <a:pt x="211" y="578"/>
                    </a:lnTo>
                    <a:lnTo>
                      <a:pt x="192" y="582"/>
                    </a:lnTo>
                    <a:lnTo>
                      <a:pt x="167" y="584"/>
                    </a:lnTo>
                    <a:lnTo>
                      <a:pt x="155" y="584"/>
                    </a:lnTo>
                    <a:lnTo>
                      <a:pt x="152" y="584"/>
                    </a:lnTo>
                    <a:lnTo>
                      <a:pt x="146" y="584"/>
                    </a:lnTo>
                    <a:lnTo>
                      <a:pt x="144" y="568"/>
                    </a:lnTo>
                    <a:lnTo>
                      <a:pt x="138" y="526"/>
                    </a:lnTo>
                    <a:lnTo>
                      <a:pt x="134" y="501"/>
                    </a:lnTo>
                    <a:lnTo>
                      <a:pt x="130" y="484"/>
                    </a:lnTo>
                    <a:lnTo>
                      <a:pt x="130" y="472"/>
                    </a:lnTo>
                    <a:lnTo>
                      <a:pt x="132" y="463"/>
                    </a:lnTo>
                    <a:lnTo>
                      <a:pt x="134" y="451"/>
                    </a:lnTo>
                    <a:lnTo>
                      <a:pt x="138" y="438"/>
                    </a:lnTo>
                    <a:lnTo>
                      <a:pt x="140" y="426"/>
                    </a:lnTo>
                    <a:lnTo>
                      <a:pt x="132" y="417"/>
                    </a:lnTo>
                    <a:lnTo>
                      <a:pt x="119" y="411"/>
                    </a:lnTo>
                    <a:lnTo>
                      <a:pt x="104" y="407"/>
                    </a:lnTo>
                    <a:lnTo>
                      <a:pt x="79" y="405"/>
                    </a:lnTo>
                    <a:lnTo>
                      <a:pt x="67" y="405"/>
                    </a:lnTo>
                    <a:lnTo>
                      <a:pt x="54" y="401"/>
                    </a:lnTo>
                    <a:lnTo>
                      <a:pt x="44" y="397"/>
                    </a:lnTo>
                    <a:lnTo>
                      <a:pt x="31" y="386"/>
                    </a:lnTo>
                    <a:lnTo>
                      <a:pt x="21" y="369"/>
                    </a:lnTo>
                    <a:lnTo>
                      <a:pt x="17" y="351"/>
                    </a:lnTo>
                    <a:lnTo>
                      <a:pt x="19" y="338"/>
                    </a:lnTo>
                    <a:lnTo>
                      <a:pt x="25" y="319"/>
                    </a:lnTo>
                    <a:lnTo>
                      <a:pt x="19" y="294"/>
                    </a:lnTo>
                    <a:lnTo>
                      <a:pt x="11" y="273"/>
                    </a:lnTo>
                    <a:lnTo>
                      <a:pt x="6" y="261"/>
                    </a:lnTo>
                    <a:lnTo>
                      <a:pt x="2" y="255"/>
                    </a:lnTo>
                    <a:lnTo>
                      <a:pt x="0" y="242"/>
                    </a:lnTo>
                    <a:lnTo>
                      <a:pt x="17" y="226"/>
                    </a:lnTo>
                    <a:lnTo>
                      <a:pt x="34" y="211"/>
                    </a:lnTo>
                    <a:lnTo>
                      <a:pt x="42" y="200"/>
                    </a:lnTo>
                    <a:lnTo>
                      <a:pt x="46" y="190"/>
                    </a:lnTo>
                    <a:lnTo>
                      <a:pt x="54" y="175"/>
                    </a:lnTo>
                    <a:lnTo>
                      <a:pt x="69" y="163"/>
                    </a:lnTo>
                    <a:lnTo>
                      <a:pt x="73" y="153"/>
                    </a:lnTo>
                    <a:lnTo>
                      <a:pt x="69" y="142"/>
                    </a:lnTo>
                    <a:lnTo>
                      <a:pt x="69" y="138"/>
                    </a:lnTo>
                    <a:lnTo>
                      <a:pt x="73" y="130"/>
                    </a:lnTo>
                    <a:lnTo>
                      <a:pt x="65" y="117"/>
                    </a:lnTo>
                    <a:lnTo>
                      <a:pt x="56" y="100"/>
                    </a:lnTo>
                    <a:lnTo>
                      <a:pt x="46" y="84"/>
                    </a:lnTo>
                    <a:lnTo>
                      <a:pt x="40" y="69"/>
                    </a:lnTo>
                    <a:lnTo>
                      <a:pt x="31" y="54"/>
                    </a:lnTo>
                    <a:lnTo>
                      <a:pt x="29" y="44"/>
                    </a:lnTo>
                    <a:lnTo>
                      <a:pt x="33" y="36"/>
                    </a:lnTo>
                    <a:lnTo>
                      <a:pt x="38" y="30"/>
                    </a:lnTo>
                    <a:lnTo>
                      <a:pt x="46" y="32"/>
                    </a:lnTo>
                    <a:lnTo>
                      <a:pt x="59" y="36"/>
                    </a:lnTo>
                    <a:lnTo>
                      <a:pt x="75" y="48"/>
                    </a:lnTo>
                    <a:lnTo>
                      <a:pt x="105" y="67"/>
                    </a:lnTo>
                    <a:lnTo>
                      <a:pt x="115" y="61"/>
                    </a:lnTo>
                    <a:lnTo>
                      <a:pt x="130" y="61"/>
                    </a:lnTo>
                    <a:lnTo>
                      <a:pt x="134" y="59"/>
                    </a:lnTo>
                    <a:lnTo>
                      <a:pt x="144" y="55"/>
                    </a:lnTo>
                    <a:lnTo>
                      <a:pt x="152" y="50"/>
                    </a:lnTo>
                    <a:lnTo>
                      <a:pt x="163" y="50"/>
                    </a:lnTo>
                    <a:lnTo>
                      <a:pt x="171" y="50"/>
                    </a:lnTo>
                    <a:lnTo>
                      <a:pt x="182" y="54"/>
                    </a:lnTo>
                    <a:lnTo>
                      <a:pt x="190" y="54"/>
                    </a:lnTo>
                    <a:lnTo>
                      <a:pt x="201" y="54"/>
                    </a:lnTo>
                    <a:lnTo>
                      <a:pt x="213" y="54"/>
                    </a:lnTo>
                    <a:lnTo>
                      <a:pt x="228" y="52"/>
                    </a:lnTo>
                    <a:lnTo>
                      <a:pt x="251" y="40"/>
                    </a:lnTo>
                    <a:lnTo>
                      <a:pt x="253" y="27"/>
                    </a:lnTo>
                    <a:lnTo>
                      <a:pt x="257" y="21"/>
                    </a:lnTo>
                    <a:lnTo>
                      <a:pt x="265" y="6"/>
                    </a:lnTo>
                    <a:lnTo>
                      <a:pt x="271" y="0"/>
                    </a:lnTo>
                    <a:lnTo>
                      <a:pt x="305" y="36"/>
                    </a:lnTo>
                    <a:lnTo>
                      <a:pt x="309" y="109"/>
                    </a:lnTo>
                    <a:lnTo>
                      <a:pt x="311" y="123"/>
                    </a:lnTo>
                    <a:lnTo>
                      <a:pt x="315" y="134"/>
                    </a:lnTo>
                    <a:lnTo>
                      <a:pt x="332" y="190"/>
                    </a:lnTo>
                    <a:lnTo>
                      <a:pt x="338" y="234"/>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sp>
            <p:nvSpPr>
              <p:cNvPr id="174" name="Freeform 62">
                <a:extLst>
                  <a:ext uri="{FF2B5EF4-FFF2-40B4-BE49-F238E27FC236}">
                    <a16:creationId xmlns:a16="http://schemas.microsoft.com/office/drawing/2014/main" id="{2C88F902-6111-4764-8356-D01160DBD031}"/>
                  </a:ext>
                </a:extLst>
              </p:cNvPr>
              <p:cNvSpPr>
                <a:spLocks/>
              </p:cNvSpPr>
              <p:nvPr/>
            </p:nvSpPr>
            <p:spPr bwMode="gray">
              <a:xfrm>
                <a:off x="2724111" y="2170256"/>
                <a:ext cx="548108" cy="479312"/>
              </a:xfrm>
              <a:custGeom>
                <a:avLst/>
                <a:gdLst>
                  <a:gd name="T0" fmla="*/ 100 w 486"/>
                  <a:gd name="T1" fmla="*/ 390 h 425"/>
                  <a:gd name="T2" fmla="*/ 94 w 486"/>
                  <a:gd name="T3" fmla="*/ 379 h 425"/>
                  <a:gd name="T4" fmla="*/ 88 w 486"/>
                  <a:gd name="T5" fmla="*/ 363 h 425"/>
                  <a:gd name="T6" fmla="*/ 78 w 486"/>
                  <a:gd name="T7" fmla="*/ 354 h 425"/>
                  <a:gd name="T8" fmla="*/ 59 w 486"/>
                  <a:gd name="T9" fmla="*/ 352 h 425"/>
                  <a:gd name="T10" fmla="*/ 67 w 486"/>
                  <a:gd name="T11" fmla="*/ 327 h 425"/>
                  <a:gd name="T12" fmla="*/ 75 w 486"/>
                  <a:gd name="T13" fmla="*/ 304 h 425"/>
                  <a:gd name="T14" fmla="*/ 42 w 486"/>
                  <a:gd name="T15" fmla="*/ 292 h 425"/>
                  <a:gd name="T16" fmla="*/ 42 w 486"/>
                  <a:gd name="T17" fmla="*/ 277 h 425"/>
                  <a:gd name="T18" fmla="*/ 29 w 486"/>
                  <a:gd name="T19" fmla="*/ 254 h 425"/>
                  <a:gd name="T20" fmla="*/ 11 w 486"/>
                  <a:gd name="T21" fmla="*/ 204 h 425"/>
                  <a:gd name="T22" fmla="*/ 13 w 486"/>
                  <a:gd name="T23" fmla="*/ 183 h 425"/>
                  <a:gd name="T24" fmla="*/ 50 w 486"/>
                  <a:gd name="T25" fmla="*/ 154 h 425"/>
                  <a:gd name="T26" fmla="*/ 80 w 486"/>
                  <a:gd name="T27" fmla="*/ 121 h 425"/>
                  <a:gd name="T28" fmla="*/ 126 w 486"/>
                  <a:gd name="T29" fmla="*/ 81 h 425"/>
                  <a:gd name="T30" fmla="*/ 173 w 486"/>
                  <a:gd name="T31" fmla="*/ 48 h 425"/>
                  <a:gd name="T32" fmla="*/ 207 w 486"/>
                  <a:gd name="T33" fmla="*/ 25 h 425"/>
                  <a:gd name="T34" fmla="*/ 261 w 486"/>
                  <a:gd name="T35" fmla="*/ 10 h 425"/>
                  <a:gd name="T36" fmla="*/ 301 w 486"/>
                  <a:gd name="T37" fmla="*/ 2 h 425"/>
                  <a:gd name="T38" fmla="*/ 401 w 486"/>
                  <a:gd name="T39" fmla="*/ 18 h 425"/>
                  <a:gd name="T40" fmla="*/ 445 w 486"/>
                  <a:gd name="T41" fmla="*/ 70 h 425"/>
                  <a:gd name="T42" fmla="*/ 482 w 486"/>
                  <a:gd name="T43" fmla="*/ 116 h 425"/>
                  <a:gd name="T44" fmla="*/ 486 w 486"/>
                  <a:gd name="T45" fmla="*/ 139 h 425"/>
                  <a:gd name="T46" fmla="*/ 474 w 486"/>
                  <a:gd name="T47" fmla="*/ 148 h 425"/>
                  <a:gd name="T48" fmla="*/ 464 w 486"/>
                  <a:gd name="T49" fmla="*/ 156 h 425"/>
                  <a:gd name="T50" fmla="*/ 478 w 486"/>
                  <a:gd name="T51" fmla="*/ 168 h 425"/>
                  <a:gd name="T52" fmla="*/ 486 w 486"/>
                  <a:gd name="T53" fmla="*/ 194 h 425"/>
                  <a:gd name="T54" fmla="*/ 464 w 486"/>
                  <a:gd name="T55" fmla="*/ 210 h 425"/>
                  <a:gd name="T56" fmla="*/ 459 w 486"/>
                  <a:gd name="T57" fmla="*/ 221 h 425"/>
                  <a:gd name="T58" fmla="*/ 482 w 486"/>
                  <a:gd name="T59" fmla="*/ 231 h 425"/>
                  <a:gd name="T60" fmla="*/ 468 w 486"/>
                  <a:gd name="T61" fmla="*/ 264 h 425"/>
                  <a:gd name="T62" fmla="*/ 457 w 486"/>
                  <a:gd name="T63" fmla="*/ 289 h 425"/>
                  <a:gd name="T64" fmla="*/ 457 w 486"/>
                  <a:gd name="T65" fmla="*/ 321 h 425"/>
                  <a:gd name="T66" fmla="*/ 390 w 486"/>
                  <a:gd name="T67" fmla="*/ 394 h 425"/>
                  <a:gd name="T68" fmla="*/ 378 w 486"/>
                  <a:gd name="T69" fmla="*/ 392 h 425"/>
                  <a:gd name="T70" fmla="*/ 370 w 486"/>
                  <a:gd name="T71" fmla="*/ 400 h 425"/>
                  <a:gd name="T72" fmla="*/ 363 w 486"/>
                  <a:gd name="T73" fmla="*/ 392 h 425"/>
                  <a:gd name="T74" fmla="*/ 351 w 486"/>
                  <a:gd name="T75" fmla="*/ 392 h 425"/>
                  <a:gd name="T76" fmla="*/ 340 w 486"/>
                  <a:gd name="T77" fmla="*/ 398 h 425"/>
                  <a:gd name="T78" fmla="*/ 340 w 486"/>
                  <a:gd name="T79" fmla="*/ 419 h 425"/>
                  <a:gd name="T80" fmla="*/ 318 w 486"/>
                  <a:gd name="T81" fmla="*/ 421 h 425"/>
                  <a:gd name="T82" fmla="*/ 280 w 486"/>
                  <a:gd name="T83" fmla="*/ 423 h 425"/>
                  <a:gd name="T84" fmla="*/ 246 w 486"/>
                  <a:gd name="T85" fmla="*/ 392 h 425"/>
                  <a:gd name="T86" fmla="*/ 221 w 486"/>
                  <a:gd name="T87" fmla="*/ 408 h 425"/>
                  <a:gd name="T88" fmla="*/ 186 w 486"/>
                  <a:gd name="T89" fmla="*/ 415 h 425"/>
                  <a:gd name="T90" fmla="*/ 128 w 486"/>
                  <a:gd name="T91" fmla="*/ 417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6" h="425">
                    <a:moveTo>
                      <a:pt x="119" y="410"/>
                    </a:moveTo>
                    <a:lnTo>
                      <a:pt x="115" y="406"/>
                    </a:lnTo>
                    <a:lnTo>
                      <a:pt x="100" y="390"/>
                    </a:lnTo>
                    <a:lnTo>
                      <a:pt x="98" y="388"/>
                    </a:lnTo>
                    <a:lnTo>
                      <a:pt x="96" y="387"/>
                    </a:lnTo>
                    <a:lnTo>
                      <a:pt x="94" y="379"/>
                    </a:lnTo>
                    <a:lnTo>
                      <a:pt x="92" y="377"/>
                    </a:lnTo>
                    <a:lnTo>
                      <a:pt x="84" y="373"/>
                    </a:lnTo>
                    <a:lnTo>
                      <a:pt x="88" y="363"/>
                    </a:lnTo>
                    <a:lnTo>
                      <a:pt x="90" y="358"/>
                    </a:lnTo>
                    <a:lnTo>
                      <a:pt x="84" y="356"/>
                    </a:lnTo>
                    <a:lnTo>
                      <a:pt x="78" y="354"/>
                    </a:lnTo>
                    <a:lnTo>
                      <a:pt x="71" y="352"/>
                    </a:lnTo>
                    <a:lnTo>
                      <a:pt x="65" y="350"/>
                    </a:lnTo>
                    <a:lnTo>
                      <a:pt x="59" y="352"/>
                    </a:lnTo>
                    <a:lnTo>
                      <a:pt x="61" y="344"/>
                    </a:lnTo>
                    <a:lnTo>
                      <a:pt x="63" y="335"/>
                    </a:lnTo>
                    <a:lnTo>
                      <a:pt x="67" y="327"/>
                    </a:lnTo>
                    <a:lnTo>
                      <a:pt x="69" y="317"/>
                    </a:lnTo>
                    <a:lnTo>
                      <a:pt x="71" y="312"/>
                    </a:lnTo>
                    <a:lnTo>
                      <a:pt x="75" y="304"/>
                    </a:lnTo>
                    <a:lnTo>
                      <a:pt x="73" y="302"/>
                    </a:lnTo>
                    <a:lnTo>
                      <a:pt x="52" y="296"/>
                    </a:lnTo>
                    <a:lnTo>
                      <a:pt x="42" y="292"/>
                    </a:lnTo>
                    <a:lnTo>
                      <a:pt x="40" y="292"/>
                    </a:lnTo>
                    <a:lnTo>
                      <a:pt x="40" y="290"/>
                    </a:lnTo>
                    <a:lnTo>
                      <a:pt x="42" y="277"/>
                    </a:lnTo>
                    <a:lnTo>
                      <a:pt x="42" y="275"/>
                    </a:lnTo>
                    <a:lnTo>
                      <a:pt x="42" y="271"/>
                    </a:lnTo>
                    <a:lnTo>
                      <a:pt x="29" y="254"/>
                    </a:lnTo>
                    <a:lnTo>
                      <a:pt x="25" y="237"/>
                    </a:lnTo>
                    <a:lnTo>
                      <a:pt x="19" y="214"/>
                    </a:lnTo>
                    <a:lnTo>
                      <a:pt x="11" y="204"/>
                    </a:lnTo>
                    <a:lnTo>
                      <a:pt x="2" y="202"/>
                    </a:lnTo>
                    <a:lnTo>
                      <a:pt x="0" y="191"/>
                    </a:lnTo>
                    <a:lnTo>
                      <a:pt x="13" y="183"/>
                    </a:lnTo>
                    <a:lnTo>
                      <a:pt x="27" y="175"/>
                    </a:lnTo>
                    <a:lnTo>
                      <a:pt x="38" y="166"/>
                    </a:lnTo>
                    <a:lnTo>
                      <a:pt x="50" y="154"/>
                    </a:lnTo>
                    <a:lnTo>
                      <a:pt x="67" y="135"/>
                    </a:lnTo>
                    <a:lnTo>
                      <a:pt x="78" y="123"/>
                    </a:lnTo>
                    <a:lnTo>
                      <a:pt x="80" y="121"/>
                    </a:lnTo>
                    <a:lnTo>
                      <a:pt x="102" y="112"/>
                    </a:lnTo>
                    <a:lnTo>
                      <a:pt x="111" y="96"/>
                    </a:lnTo>
                    <a:lnTo>
                      <a:pt x="126" y="81"/>
                    </a:lnTo>
                    <a:lnTo>
                      <a:pt x="140" y="70"/>
                    </a:lnTo>
                    <a:lnTo>
                      <a:pt x="157" y="60"/>
                    </a:lnTo>
                    <a:lnTo>
                      <a:pt x="173" y="48"/>
                    </a:lnTo>
                    <a:lnTo>
                      <a:pt x="186" y="39"/>
                    </a:lnTo>
                    <a:lnTo>
                      <a:pt x="190" y="35"/>
                    </a:lnTo>
                    <a:lnTo>
                      <a:pt x="207" y="25"/>
                    </a:lnTo>
                    <a:lnTo>
                      <a:pt x="219" y="20"/>
                    </a:lnTo>
                    <a:lnTo>
                      <a:pt x="230" y="18"/>
                    </a:lnTo>
                    <a:lnTo>
                      <a:pt x="261" y="10"/>
                    </a:lnTo>
                    <a:lnTo>
                      <a:pt x="276" y="6"/>
                    </a:lnTo>
                    <a:lnTo>
                      <a:pt x="292" y="2"/>
                    </a:lnTo>
                    <a:lnTo>
                      <a:pt x="301" y="2"/>
                    </a:lnTo>
                    <a:lnTo>
                      <a:pt x="330" y="0"/>
                    </a:lnTo>
                    <a:lnTo>
                      <a:pt x="378" y="8"/>
                    </a:lnTo>
                    <a:lnTo>
                      <a:pt x="401" y="18"/>
                    </a:lnTo>
                    <a:lnTo>
                      <a:pt x="414" y="39"/>
                    </a:lnTo>
                    <a:lnTo>
                      <a:pt x="436" y="58"/>
                    </a:lnTo>
                    <a:lnTo>
                      <a:pt x="445" y="70"/>
                    </a:lnTo>
                    <a:lnTo>
                      <a:pt x="468" y="85"/>
                    </a:lnTo>
                    <a:lnTo>
                      <a:pt x="476" y="98"/>
                    </a:lnTo>
                    <a:lnTo>
                      <a:pt x="482" y="116"/>
                    </a:lnTo>
                    <a:lnTo>
                      <a:pt x="486" y="131"/>
                    </a:lnTo>
                    <a:lnTo>
                      <a:pt x="486" y="135"/>
                    </a:lnTo>
                    <a:lnTo>
                      <a:pt x="486" y="139"/>
                    </a:lnTo>
                    <a:lnTo>
                      <a:pt x="480" y="143"/>
                    </a:lnTo>
                    <a:lnTo>
                      <a:pt x="478" y="146"/>
                    </a:lnTo>
                    <a:lnTo>
                      <a:pt x="474" y="148"/>
                    </a:lnTo>
                    <a:lnTo>
                      <a:pt x="466" y="148"/>
                    </a:lnTo>
                    <a:lnTo>
                      <a:pt x="464" y="150"/>
                    </a:lnTo>
                    <a:lnTo>
                      <a:pt x="464" y="156"/>
                    </a:lnTo>
                    <a:lnTo>
                      <a:pt x="464" y="160"/>
                    </a:lnTo>
                    <a:lnTo>
                      <a:pt x="470" y="162"/>
                    </a:lnTo>
                    <a:lnTo>
                      <a:pt x="478" y="168"/>
                    </a:lnTo>
                    <a:lnTo>
                      <a:pt x="480" y="171"/>
                    </a:lnTo>
                    <a:lnTo>
                      <a:pt x="486" y="183"/>
                    </a:lnTo>
                    <a:lnTo>
                      <a:pt x="486" y="194"/>
                    </a:lnTo>
                    <a:lnTo>
                      <a:pt x="480" y="200"/>
                    </a:lnTo>
                    <a:lnTo>
                      <a:pt x="468" y="206"/>
                    </a:lnTo>
                    <a:lnTo>
                      <a:pt x="464" y="210"/>
                    </a:lnTo>
                    <a:lnTo>
                      <a:pt x="459" y="214"/>
                    </a:lnTo>
                    <a:lnTo>
                      <a:pt x="459" y="217"/>
                    </a:lnTo>
                    <a:lnTo>
                      <a:pt x="459" y="221"/>
                    </a:lnTo>
                    <a:lnTo>
                      <a:pt x="464" y="225"/>
                    </a:lnTo>
                    <a:lnTo>
                      <a:pt x="474" y="227"/>
                    </a:lnTo>
                    <a:lnTo>
                      <a:pt x="482" y="231"/>
                    </a:lnTo>
                    <a:lnTo>
                      <a:pt x="476" y="244"/>
                    </a:lnTo>
                    <a:lnTo>
                      <a:pt x="472" y="258"/>
                    </a:lnTo>
                    <a:lnTo>
                      <a:pt x="468" y="264"/>
                    </a:lnTo>
                    <a:lnTo>
                      <a:pt x="464" y="277"/>
                    </a:lnTo>
                    <a:lnTo>
                      <a:pt x="462" y="283"/>
                    </a:lnTo>
                    <a:lnTo>
                      <a:pt x="457" y="289"/>
                    </a:lnTo>
                    <a:lnTo>
                      <a:pt x="457" y="292"/>
                    </a:lnTo>
                    <a:lnTo>
                      <a:pt x="457" y="294"/>
                    </a:lnTo>
                    <a:lnTo>
                      <a:pt x="457" y="321"/>
                    </a:lnTo>
                    <a:lnTo>
                      <a:pt x="455" y="327"/>
                    </a:lnTo>
                    <a:lnTo>
                      <a:pt x="451" y="331"/>
                    </a:lnTo>
                    <a:lnTo>
                      <a:pt x="390" y="394"/>
                    </a:lnTo>
                    <a:lnTo>
                      <a:pt x="386" y="394"/>
                    </a:lnTo>
                    <a:lnTo>
                      <a:pt x="382" y="394"/>
                    </a:lnTo>
                    <a:lnTo>
                      <a:pt x="378" y="392"/>
                    </a:lnTo>
                    <a:lnTo>
                      <a:pt x="376" y="394"/>
                    </a:lnTo>
                    <a:lnTo>
                      <a:pt x="372" y="400"/>
                    </a:lnTo>
                    <a:lnTo>
                      <a:pt x="370" y="400"/>
                    </a:lnTo>
                    <a:lnTo>
                      <a:pt x="368" y="398"/>
                    </a:lnTo>
                    <a:lnTo>
                      <a:pt x="365" y="394"/>
                    </a:lnTo>
                    <a:lnTo>
                      <a:pt x="363" y="392"/>
                    </a:lnTo>
                    <a:lnTo>
                      <a:pt x="359" y="394"/>
                    </a:lnTo>
                    <a:lnTo>
                      <a:pt x="357" y="394"/>
                    </a:lnTo>
                    <a:lnTo>
                      <a:pt x="351" y="392"/>
                    </a:lnTo>
                    <a:lnTo>
                      <a:pt x="343" y="388"/>
                    </a:lnTo>
                    <a:lnTo>
                      <a:pt x="338" y="392"/>
                    </a:lnTo>
                    <a:lnTo>
                      <a:pt x="340" y="398"/>
                    </a:lnTo>
                    <a:lnTo>
                      <a:pt x="340" y="408"/>
                    </a:lnTo>
                    <a:lnTo>
                      <a:pt x="342" y="413"/>
                    </a:lnTo>
                    <a:lnTo>
                      <a:pt x="340" y="419"/>
                    </a:lnTo>
                    <a:lnTo>
                      <a:pt x="334" y="419"/>
                    </a:lnTo>
                    <a:lnTo>
                      <a:pt x="324" y="419"/>
                    </a:lnTo>
                    <a:lnTo>
                      <a:pt x="318" y="421"/>
                    </a:lnTo>
                    <a:lnTo>
                      <a:pt x="313" y="425"/>
                    </a:lnTo>
                    <a:lnTo>
                      <a:pt x="303" y="425"/>
                    </a:lnTo>
                    <a:lnTo>
                      <a:pt x="280" y="423"/>
                    </a:lnTo>
                    <a:lnTo>
                      <a:pt x="267" y="411"/>
                    </a:lnTo>
                    <a:lnTo>
                      <a:pt x="257" y="400"/>
                    </a:lnTo>
                    <a:lnTo>
                      <a:pt x="246" y="392"/>
                    </a:lnTo>
                    <a:lnTo>
                      <a:pt x="234" y="392"/>
                    </a:lnTo>
                    <a:lnTo>
                      <a:pt x="226" y="398"/>
                    </a:lnTo>
                    <a:lnTo>
                      <a:pt x="221" y="408"/>
                    </a:lnTo>
                    <a:lnTo>
                      <a:pt x="207" y="413"/>
                    </a:lnTo>
                    <a:lnTo>
                      <a:pt x="199" y="413"/>
                    </a:lnTo>
                    <a:lnTo>
                      <a:pt x="186" y="415"/>
                    </a:lnTo>
                    <a:lnTo>
                      <a:pt x="165" y="417"/>
                    </a:lnTo>
                    <a:lnTo>
                      <a:pt x="142" y="419"/>
                    </a:lnTo>
                    <a:lnTo>
                      <a:pt x="128" y="417"/>
                    </a:lnTo>
                    <a:lnTo>
                      <a:pt x="119" y="410"/>
                    </a:lnTo>
                    <a:close/>
                  </a:path>
                </a:pathLst>
              </a:custGeom>
              <a:solidFill>
                <a:srgbClr val="D0D0D0"/>
              </a:solidFill>
              <a:ln w="6350">
                <a:solidFill>
                  <a:srgbClr val="B3B3B3"/>
                </a:solidFill>
              </a:ln>
            </p:spPr>
            <p:txBody>
              <a:bodyPr vert="horz" wrap="square" lIns="91440" tIns="45720" rIns="91440" bIns="45720" numCol="1" anchor="t" anchorCtr="0" compatLnSpc="1">
                <a:prstTxWarp prst="textNoShape">
                  <a:avLst/>
                </a:prstTxWarp>
              </a:bodyPr>
              <a:lstStyle/>
              <a:p>
                <a:endParaRPr lang="en-US" dirty="0"/>
              </a:p>
            </p:txBody>
          </p:sp>
        </p:grpSp>
        <p:grpSp>
          <p:nvGrpSpPr>
            <p:cNvPr id="28" name="Group 27">
              <a:extLst>
                <a:ext uri="{FF2B5EF4-FFF2-40B4-BE49-F238E27FC236}">
                  <a16:creationId xmlns:a16="http://schemas.microsoft.com/office/drawing/2014/main" id="{244B1A7A-0A5A-4F5C-AFDC-E9031AD66B08}"/>
                </a:ext>
              </a:extLst>
            </p:cNvPr>
            <p:cNvGrpSpPr/>
            <p:nvPr/>
          </p:nvGrpSpPr>
          <p:grpSpPr>
            <a:xfrm>
              <a:off x="1890015" y="2047012"/>
              <a:ext cx="5550038" cy="2899521"/>
              <a:chOff x="1890015" y="2047012"/>
              <a:chExt cx="5550038" cy="2899521"/>
            </a:xfrm>
          </p:grpSpPr>
          <p:grpSp>
            <p:nvGrpSpPr>
              <p:cNvPr id="29" name="Group 28">
                <a:extLst>
                  <a:ext uri="{FF2B5EF4-FFF2-40B4-BE49-F238E27FC236}">
                    <a16:creationId xmlns:a16="http://schemas.microsoft.com/office/drawing/2014/main" id="{E7076CA8-6257-4170-9B28-1E5AC3E42812}"/>
                  </a:ext>
                </a:extLst>
              </p:cNvPr>
              <p:cNvGrpSpPr/>
              <p:nvPr/>
            </p:nvGrpSpPr>
            <p:grpSpPr>
              <a:xfrm>
                <a:off x="1890015" y="2047012"/>
                <a:ext cx="5511483" cy="2354889"/>
                <a:chOff x="1890015" y="2047012"/>
                <a:chExt cx="5511483" cy="2354889"/>
              </a:xfrm>
            </p:grpSpPr>
            <p:sp>
              <p:nvSpPr>
                <p:cNvPr id="78" name="Rectangle 77">
                  <a:extLst>
                    <a:ext uri="{FF2B5EF4-FFF2-40B4-BE49-F238E27FC236}">
                      <a16:creationId xmlns:a16="http://schemas.microsoft.com/office/drawing/2014/main" id="{080B8FE0-5FB1-40BB-94F0-22214D0982BE}"/>
                    </a:ext>
                  </a:extLst>
                </p:cNvPr>
                <p:cNvSpPr>
                  <a:spLocks noChangeArrowheads="1"/>
                </p:cNvSpPr>
                <p:nvPr/>
              </p:nvSpPr>
              <p:spPr bwMode="gray">
                <a:xfrm>
                  <a:off x="2275249" y="2970917"/>
                  <a:ext cx="910716" cy="92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Western Water Catchment</a:t>
                  </a:r>
                  <a:endParaRPr kumimoji="0" lang="en-US" altLang="en-US" sz="600" b="0" i="0" u="none" strike="noStrike" cap="none" normalizeH="0" baseline="0" dirty="0">
                    <a:ln>
                      <a:noFill/>
                    </a:ln>
                    <a:solidFill>
                      <a:srgbClr val="000000"/>
                    </a:solidFill>
                    <a:effectLst/>
                  </a:endParaRPr>
                </a:p>
              </p:txBody>
            </p:sp>
            <p:sp>
              <p:nvSpPr>
                <p:cNvPr id="79" name="Rectangle 78">
                  <a:extLst>
                    <a:ext uri="{FF2B5EF4-FFF2-40B4-BE49-F238E27FC236}">
                      <a16:creationId xmlns:a16="http://schemas.microsoft.com/office/drawing/2014/main" id="{0C1F488D-F1EF-4146-8682-70E3525E7597}"/>
                    </a:ext>
                  </a:extLst>
                </p:cNvPr>
                <p:cNvSpPr>
                  <a:spLocks noChangeArrowheads="1"/>
                </p:cNvSpPr>
                <p:nvPr/>
              </p:nvSpPr>
              <p:spPr bwMode="gray">
                <a:xfrm>
                  <a:off x="2606511" y="3510653"/>
                  <a:ext cx="433347" cy="92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Jurong West</a:t>
                  </a:r>
                  <a:endParaRPr kumimoji="0" lang="en-US" altLang="en-US" sz="600" b="0" i="0" u="none" strike="noStrike" cap="none" normalizeH="0" baseline="0" dirty="0">
                    <a:ln>
                      <a:noFill/>
                    </a:ln>
                    <a:solidFill>
                      <a:srgbClr val="000000"/>
                    </a:solidFill>
                    <a:effectLst/>
                  </a:endParaRPr>
                </a:p>
              </p:txBody>
            </p:sp>
            <p:sp>
              <p:nvSpPr>
                <p:cNvPr id="80" name="Rectangle 79">
                  <a:extLst>
                    <a:ext uri="{FF2B5EF4-FFF2-40B4-BE49-F238E27FC236}">
                      <a16:creationId xmlns:a16="http://schemas.microsoft.com/office/drawing/2014/main" id="{659D97BD-2A3B-4FEF-9ED7-1CD5754E309B}"/>
                    </a:ext>
                  </a:extLst>
                </p:cNvPr>
                <p:cNvSpPr>
                  <a:spLocks noChangeArrowheads="1"/>
                </p:cNvSpPr>
                <p:nvPr/>
              </p:nvSpPr>
              <p:spPr bwMode="gray">
                <a:xfrm>
                  <a:off x="2772607" y="3685823"/>
                  <a:ext cx="18114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Boon</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Lay</a:t>
                  </a:r>
                  <a:endParaRPr kumimoji="0" lang="en-US" altLang="en-US" sz="600" b="0" i="0" u="none" strike="noStrike" cap="none" normalizeH="0" baseline="0" dirty="0">
                    <a:ln>
                      <a:noFill/>
                    </a:ln>
                    <a:solidFill>
                      <a:srgbClr val="000000"/>
                    </a:solidFill>
                    <a:effectLst/>
                  </a:endParaRPr>
                </a:p>
              </p:txBody>
            </p:sp>
            <p:sp>
              <p:nvSpPr>
                <p:cNvPr id="81" name="Rectangle 80">
                  <a:extLst>
                    <a:ext uri="{FF2B5EF4-FFF2-40B4-BE49-F238E27FC236}">
                      <a16:creationId xmlns:a16="http://schemas.microsoft.com/office/drawing/2014/main" id="{3DCE9381-DF33-4B4E-A966-2C883423BF8B}"/>
                    </a:ext>
                  </a:extLst>
                </p:cNvPr>
                <p:cNvSpPr>
                  <a:spLocks noChangeArrowheads="1"/>
                </p:cNvSpPr>
                <p:nvPr/>
              </p:nvSpPr>
              <p:spPr bwMode="gray">
                <a:xfrm>
                  <a:off x="2382985" y="3730753"/>
                  <a:ext cx="26770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Pioneer</a:t>
                  </a:r>
                  <a:endParaRPr kumimoji="0" lang="en-US" altLang="en-US" sz="600" b="0" i="0" u="none" strike="noStrike" cap="none" normalizeH="0" baseline="0" dirty="0">
                    <a:ln>
                      <a:noFill/>
                    </a:ln>
                    <a:solidFill>
                      <a:srgbClr val="000000"/>
                    </a:solidFill>
                    <a:effectLst/>
                  </a:endParaRPr>
                </a:p>
              </p:txBody>
            </p:sp>
            <p:sp>
              <p:nvSpPr>
                <p:cNvPr id="82" name="Rectangle 81">
                  <a:extLst>
                    <a:ext uri="{FF2B5EF4-FFF2-40B4-BE49-F238E27FC236}">
                      <a16:creationId xmlns:a16="http://schemas.microsoft.com/office/drawing/2014/main" id="{D9DD9F4B-1716-4F4E-817E-E341C7FB6F24}"/>
                    </a:ext>
                  </a:extLst>
                </p:cNvPr>
                <p:cNvSpPr>
                  <a:spLocks noChangeArrowheads="1"/>
                </p:cNvSpPr>
                <p:nvPr/>
              </p:nvSpPr>
              <p:spPr bwMode="gray">
                <a:xfrm>
                  <a:off x="1890015" y="4002449"/>
                  <a:ext cx="170587" cy="92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Tuas</a:t>
                  </a:r>
                  <a:endParaRPr kumimoji="0" lang="en-US" altLang="en-US" sz="600" b="0" i="0" u="none" strike="noStrike" cap="none" normalizeH="0" baseline="0" dirty="0">
                    <a:ln>
                      <a:noFill/>
                    </a:ln>
                    <a:solidFill>
                      <a:srgbClr val="000000"/>
                    </a:solidFill>
                    <a:effectLst/>
                  </a:endParaRPr>
                </a:p>
              </p:txBody>
            </p:sp>
            <p:sp>
              <p:nvSpPr>
                <p:cNvPr id="83" name="Rectangle 82">
                  <a:extLst>
                    <a:ext uri="{FF2B5EF4-FFF2-40B4-BE49-F238E27FC236}">
                      <a16:creationId xmlns:a16="http://schemas.microsoft.com/office/drawing/2014/main" id="{8220BC0A-1DD0-4E4F-9B24-39A2A08C34F5}"/>
                    </a:ext>
                  </a:extLst>
                </p:cNvPr>
                <p:cNvSpPr>
                  <a:spLocks noChangeArrowheads="1"/>
                </p:cNvSpPr>
                <p:nvPr/>
              </p:nvSpPr>
              <p:spPr bwMode="gray">
                <a:xfrm>
                  <a:off x="4066004" y="4163901"/>
                  <a:ext cx="218737" cy="184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Bukit</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Merah</a:t>
                  </a:r>
                  <a:endParaRPr kumimoji="0" lang="en-US" altLang="en-US" sz="600" b="0" i="0" u="none" strike="noStrike" cap="none" normalizeH="0" baseline="0" dirty="0">
                    <a:ln>
                      <a:noFill/>
                    </a:ln>
                    <a:solidFill>
                      <a:srgbClr val="000000"/>
                    </a:solidFill>
                    <a:effectLst/>
                  </a:endParaRPr>
                </a:p>
              </p:txBody>
            </p:sp>
            <p:sp>
              <p:nvSpPr>
                <p:cNvPr id="84" name="Rectangle 83">
                  <a:extLst>
                    <a:ext uri="{FF2B5EF4-FFF2-40B4-BE49-F238E27FC236}">
                      <a16:creationId xmlns:a16="http://schemas.microsoft.com/office/drawing/2014/main" id="{0876700E-24C3-4A7D-BE45-3AFA514B1F26}"/>
                    </a:ext>
                  </a:extLst>
                </p:cNvPr>
                <p:cNvSpPr>
                  <a:spLocks noChangeArrowheads="1"/>
                </p:cNvSpPr>
                <p:nvPr/>
              </p:nvSpPr>
              <p:spPr bwMode="gray">
                <a:xfrm>
                  <a:off x="4458862" y="4009213"/>
                  <a:ext cx="295777" cy="92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Museum</a:t>
                  </a:r>
                  <a:endParaRPr kumimoji="0" lang="en-US" altLang="en-US" sz="600" b="0" i="0" u="none" strike="noStrike" cap="none" normalizeH="0" baseline="0" dirty="0">
                    <a:ln>
                      <a:noFill/>
                    </a:ln>
                    <a:solidFill>
                      <a:srgbClr val="000000"/>
                    </a:solidFill>
                    <a:effectLst/>
                  </a:endParaRPr>
                </a:p>
              </p:txBody>
            </p:sp>
            <p:sp>
              <p:nvSpPr>
                <p:cNvPr id="85" name="Rectangle 84">
                  <a:extLst>
                    <a:ext uri="{FF2B5EF4-FFF2-40B4-BE49-F238E27FC236}">
                      <a16:creationId xmlns:a16="http://schemas.microsoft.com/office/drawing/2014/main" id="{9E018987-7FFC-4725-9E7A-ED5EAD0C5F27}"/>
                    </a:ext>
                  </a:extLst>
                </p:cNvPr>
                <p:cNvSpPr>
                  <a:spLocks noChangeArrowheads="1"/>
                </p:cNvSpPr>
                <p:nvPr/>
              </p:nvSpPr>
              <p:spPr bwMode="gray">
                <a:xfrm>
                  <a:off x="4548957" y="3906624"/>
                  <a:ext cx="250068"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Rochor</a:t>
                  </a:r>
                  <a:endParaRPr kumimoji="0" lang="en-US" altLang="en-US" sz="600" b="0" i="0" u="none" strike="noStrike" cap="none" normalizeH="0" baseline="0" dirty="0">
                    <a:ln>
                      <a:noFill/>
                    </a:ln>
                    <a:solidFill>
                      <a:srgbClr val="000000"/>
                    </a:solidFill>
                    <a:effectLst/>
                  </a:endParaRPr>
                </a:p>
              </p:txBody>
            </p:sp>
            <p:sp>
              <p:nvSpPr>
                <p:cNvPr id="86" name="Rectangle 85">
                  <a:extLst>
                    <a:ext uri="{FF2B5EF4-FFF2-40B4-BE49-F238E27FC236}">
                      <a16:creationId xmlns:a16="http://schemas.microsoft.com/office/drawing/2014/main" id="{67A73F98-1675-44A8-A960-D1BC54168357}"/>
                    </a:ext>
                  </a:extLst>
                </p:cNvPr>
                <p:cNvSpPr>
                  <a:spLocks noChangeArrowheads="1"/>
                </p:cNvSpPr>
                <p:nvPr/>
              </p:nvSpPr>
              <p:spPr bwMode="gray">
                <a:xfrm>
                  <a:off x="4690403" y="3759102"/>
                  <a:ext cx="259686"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Kallang</a:t>
                  </a:r>
                  <a:endParaRPr kumimoji="0" lang="en-US" altLang="en-US" sz="600" b="0" i="0" u="none" strike="noStrike" cap="none" normalizeH="0" baseline="0" dirty="0">
                    <a:ln>
                      <a:noFill/>
                    </a:ln>
                    <a:solidFill>
                      <a:srgbClr val="000000"/>
                    </a:solidFill>
                    <a:effectLst/>
                  </a:endParaRPr>
                </a:p>
              </p:txBody>
            </p:sp>
            <p:sp>
              <p:nvSpPr>
                <p:cNvPr id="87" name="Rectangle 86">
                  <a:extLst>
                    <a:ext uri="{FF2B5EF4-FFF2-40B4-BE49-F238E27FC236}">
                      <a16:creationId xmlns:a16="http://schemas.microsoft.com/office/drawing/2014/main" id="{3D2913A0-AE80-4F83-8D29-2A172B2A243E}"/>
                    </a:ext>
                  </a:extLst>
                </p:cNvPr>
                <p:cNvSpPr>
                  <a:spLocks noChangeArrowheads="1"/>
                </p:cNvSpPr>
                <p:nvPr/>
              </p:nvSpPr>
              <p:spPr bwMode="gray">
                <a:xfrm>
                  <a:off x="4118751" y="3859274"/>
                  <a:ext cx="254878"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Tanglin</a:t>
                  </a:r>
                  <a:endParaRPr kumimoji="0" lang="en-US" altLang="en-US" sz="600" b="0" i="0" u="none" strike="noStrike" cap="none" normalizeH="0" baseline="0" dirty="0">
                    <a:ln>
                      <a:noFill/>
                    </a:ln>
                    <a:solidFill>
                      <a:srgbClr val="000000"/>
                    </a:solidFill>
                    <a:effectLst/>
                  </a:endParaRPr>
                </a:p>
              </p:txBody>
            </p:sp>
            <p:sp>
              <p:nvSpPr>
                <p:cNvPr id="88" name="Rectangle 87">
                  <a:extLst>
                    <a:ext uri="{FF2B5EF4-FFF2-40B4-BE49-F238E27FC236}">
                      <a16:creationId xmlns:a16="http://schemas.microsoft.com/office/drawing/2014/main" id="{88325363-EBFC-4651-BF29-20365B20039D}"/>
                    </a:ext>
                  </a:extLst>
                </p:cNvPr>
                <p:cNvSpPr>
                  <a:spLocks noChangeArrowheads="1"/>
                </p:cNvSpPr>
                <p:nvPr/>
              </p:nvSpPr>
              <p:spPr bwMode="gray">
                <a:xfrm>
                  <a:off x="3408123" y="3742029"/>
                  <a:ext cx="30617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Clementi</a:t>
                  </a:r>
                  <a:endParaRPr kumimoji="0" lang="en-US" altLang="en-US" sz="600" b="0" i="0" u="none" strike="noStrike" cap="none" normalizeH="0" baseline="0" dirty="0">
                    <a:ln>
                      <a:noFill/>
                    </a:ln>
                    <a:solidFill>
                      <a:srgbClr val="000000"/>
                    </a:solidFill>
                    <a:effectLst/>
                  </a:endParaRPr>
                </a:p>
              </p:txBody>
            </p:sp>
            <p:sp>
              <p:nvSpPr>
                <p:cNvPr id="89" name="Rectangle 88">
                  <a:extLst>
                    <a:ext uri="{FF2B5EF4-FFF2-40B4-BE49-F238E27FC236}">
                      <a16:creationId xmlns:a16="http://schemas.microsoft.com/office/drawing/2014/main" id="{FE83E6B2-9F70-46BD-9287-3A28054D3D7A}"/>
                    </a:ext>
                  </a:extLst>
                </p:cNvPr>
                <p:cNvSpPr>
                  <a:spLocks noChangeArrowheads="1"/>
                </p:cNvSpPr>
                <p:nvPr/>
              </p:nvSpPr>
              <p:spPr bwMode="gray">
                <a:xfrm>
                  <a:off x="3684628" y="4030355"/>
                  <a:ext cx="431971" cy="92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Queenstown</a:t>
                  </a:r>
                  <a:endParaRPr kumimoji="0" lang="en-US" altLang="en-US" sz="600" b="0" i="0" u="none" strike="noStrike" cap="none" normalizeH="0" baseline="0" dirty="0">
                    <a:ln>
                      <a:noFill/>
                    </a:ln>
                    <a:solidFill>
                      <a:srgbClr val="000000"/>
                    </a:solidFill>
                    <a:effectLst/>
                  </a:endParaRPr>
                </a:p>
              </p:txBody>
            </p:sp>
            <p:sp>
              <p:nvSpPr>
                <p:cNvPr id="90" name="Rectangle 89">
                  <a:extLst>
                    <a:ext uri="{FF2B5EF4-FFF2-40B4-BE49-F238E27FC236}">
                      <a16:creationId xmlns:a16="http://schemas.microsoft.com/office/drawing/2014/main" id="{B9602980-77FF-4C55-9C57-DF8B62ACBFA7}"/>
                    </a:ext>
                  </a:extLst>
                </p:cNvPr>
                <p:cNvSpPr>
                  <a:spLocks noChangeArrowheads="1"/>
                </p:cNvSpPr>
                <p:nvPr/>
              </p:nvSpPr>
              <p:spPr bwMode="gray">
                <a:xfrm>
                  <a:off x="3148224" y="3518974"/>
                  <a:ext cx="235246" cy="184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Jurong</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East</a:t>
                  </a:r>
                  <a:endParaRPr kumimoji="0" lang="en-US" altLang="en-US" sz="600" b="0" i="0" u="none" strike="noStrike" cap="none" normalizeH="0" baseline="0" dirty="0">
                    <a:ln>
                      <a:noFill/>
                    </a:ln>
                    <a:solidFill>
                      <a:srgbClr val="000000"/>
                    </a:solidFill>
                    <a:effectLst/>
                  </a:endParaRPr>
                </a:p>
              </p:txBody>
            </p:sp>
            <p:sp>
              <p:nvSpPr>
                <p:cNvPr id="91" name="Rectangle 90">
                  <a:extLst>
                    <a:ext uri="{FF2B5EF4-FFF2-40B4-BE49-F238E27FC236}">
                      <a16:creationId xmlns:a16="http://schemas.microsoft.com/office/drawing/2014/main" id="{B9D2046E-67BF-42D6-93FD-AACBFD1B2899}"/>
                    </a:ext>
                  </a:extLst>
                </p:cNvPr>
                <p:cNvSpPr>
                  <a:spLocks noChangeArrowheads="1"/>
                </p:cNvSpPr>
                <p:nvPr/>
              </p:nvSpPr>
              <p:spPr bwMode="gray">
                <a:xfrm>
                  <a:off x="3744889" y="3588330"/>
                  <a:ext cx="405833" cy="92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Bukit Timah</a:t>
                  </a:r>
                  <a:endParaRPr kumimoji="0" lang="en-US" altLang="en-US" sz="600" b="0" i="0" u="none" strike="noStrike" cap="none" normalizeH="0" baseline="0" dirty="0">
                    <a:ln>
                      <a:noFill/>
                    </a:ln>
                    <a:solidFill>
                      <a:srgbClr val="000000"/>
                    </a:solidFill>
                    <a:effectLst/>
                  </a:endParaRPr>
                </a:p>
              </p:txBody>
            </p:sp>
            <p:sp>
              <p:nvSpPr>
                <p:cNvPr id="92" name="Rectangle 91">
                  <a:extLst>
                    <a:ext uri="{FF2B5EF4-FFF2-40B4-BE49-F238E27FC236}">
                      <a16:creationId xmlns:a16="http://schemas.microsoft.com/office/drawing/2014/main" id="{C8921845-773D-4720-BF8F-70EFD31D6AE1}"/>
                    </a:ext>
                  </a:extLst>
                </p:cNvPr>
                <p:cNvSpPr>
                  <a:spLocks noChangeArrowheads="1"/>
                </p:cNvSpPr>
                <p:nvPr/>
              </p:nvSpPr>
              <p:spPr bwMode="gray">
                <a:xfrm>
                  <a:off x="3262000" y="3311592"/>
                  <a:ext cx="389324" cy="92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Bukit Batok</a:t>
                  </a:r>
                  <a:endParaRPr kumimoji="0" lang="en-US" altLang="en-US" sz="600" b="0" i="0" u="none" strike="noStrike" cap="none" normalizeH="0" baseline="0" dirty="0">
                    <a:ln>
                      <a:noFill/>
                    </a:ln>
                    <a:solidFill>
                      <a:srgbClr val="000000"/>
                    </a:solidFill>
                    <a:effectLst/>
                  </a:endParaRPr>
                </a:p>
              </p:txBody>
            </p:sp>
            <p:sp>
              <p:nvSpPr>
                <p:cNvPr id="93" name="Rectangle 92">
                  <a:extLst>
                    <a:ext uri="{FF2B5EF4-FFF2-40B4-BE49-F238E27FC236}">
                      <a16:creationId xmlns:a16="http://schemas.microsoft.com/office/drawing/2014/main" id="{9A7AF606-A5E3-4F3B-9731-51AB8B0DBDE8}"/>
                    </a:ext>
                  </a:extLst>
                </p:cNvPr>
                <p:cNvSpPr>
                  <a:spLocks noChangeArrowheads="1"/>
                </p:cNvSpPr>
                <p:nvPr/>
              </p:nvSpPr>
              <p:spPr bwMode="gray">
                <a:xfrm>
                  <a:off x="3039858" y="3186243"/>
                  <a:ext cx="26289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Tengah</a:t>
                  </a:r>
                  <a:endParaRPr kumimoji="0" lang="en-US" altLang="en-US" sz="600" b="0" i="0" u="none" strike="noStrike" cap="none" normalizeH="0" baseline="0" dirty="0">
                    <a:ln>
                      <a:noFill/>
                    </a:ln>
                    <a:solidFill>
                      <a:srgbClr val="000000"/>
                    </a:solidFill>
                    <a:effectLst/>
                  </a:endParaRPr>
                </a:p>
              </p:txBody>
            </p:sp>
            <p:sp>
              <p:nvSpPr>
                <p:cNvPr id="94" name="Rectangle 93">
                  <a:extLst>
                    <a:ext uri="{FF2B5EF4-FFF2-40B4-BE49-F238E27FC236}">
                      <a16:creationId xmlns:a16="http://schemas.microsoft.com/office/drawing/2014/main" id="{6E88700E-95CE-42E2-9F24-18E43A23325F}"/>
                    </a:ext>
                  </a:extLst>
                </p:cNvPr>
                <p:cNvSpPr>
                  <a:spLocks noChangeArrowheads="1"/>
                </p:cNvSpPr>
                <p:nvPr/>
              </p:nvSpPr>
              <p:spPr bwMode="gray">
                <a:xfrm>
                  <a:off x="3239503" y="2921314"/>
                  <a:ext cx="34945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Choa Chu</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Kang</a:t>
                  </a:r>
                  <a:endParaRPr kumimoji="0" lang="en-US" altLang="en-US" sz="600" b="0" i="0" u="none" strike="noStrike" cap="none" normalizeH="0" baseline="0" dirty="0">
                    <a:ln>
                      <a:noFill/>
                    </a:ln>
                    <a:solidFill>
                      <a:srgbClr val="000000"/>
                    </a:solidFill>
                    <a:effectLst/>
                  </a:endParaRPr>
                </a:p>
              </p:txBody>
            </p:sp>
            <p:sp>
              <p:nvSpPr>
                <p:cNvPr id="95" name="Rectangle 94">
                  <a:extLst>
                    <a:ext uri="{FF2B5EF4-FFF2-40B4-BE49-F238E27FC236}">
                      <a16:creationId xmlns:a16="http://schemas.microsoft.com/office/drawing/2014/main" id="{13E7090D-C990-4A94-9061-FB70DB21AC91}"/>
                    </a:ext>
                  </a:extLst>
                </p:cNvPr>
                <p:cNvSpPr>
                  <a:spLocks noChangeArrowheads="1"/>
                </p:cNvSpPr>
                <p:nvPr/>
              </p:nvSpPr>
              <p:spPr bwMode="gray">
                <a:xfrm>
                  <a:off x="3528985" y="3101529"/>
                  <a:ext cx="28533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Bukit</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Panjang</a:t>
                  </a:r>
                  <a:endParaRPr kumimoji="0" lang="en-US" altLang="en-US" sz="600" b="0" i="0" u="none" strike="noStrike" cap="none" normalizeH="0" baseline="0" dirty="0">
                    <a:ln>
                      <a:noFill/>
                    </a:ln>
                    <a:solidFill>
                      <a:srgbClr val="000000"/>
                    </a:solidFill>
                    <a:effectLst/>
                  </a:endParaRPr>
                </a:p>
              </p:txBody>
            </p:sp>
            <p:sp>
              <p:nvSpPr>
                <p:cNvPr id="96" name="Rectangle 95">
                  <a:extLst>
                    <a:ext uri="{FF2B5EF4-FFF2-40B4-BE49-F238E27FC236}">
                      <a16:creationId xmlns:a16="http://schemas.microsoft.com/office/drawing/2014/main" id="{6BA6603D-EF1F-41DC-8506-B638E4397365}"/>
                    </a:ext>
                  </a:extLst>
                </p:cNvPr>
                <p:cNvSpPr>
                  <a:spLocks noChangeArrowheads="1"/>
                </p:cNvSpPr>
                <p:nvPr/>
              </p:nvSpPr>
              <p:spPr bwMode="gray">
                <a:xfrm>
                  <a:off x="4341737" y="2945714"/>
                  <a:ext cx="397578" cy="92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Ang Mo Kio</a:t>
                  </a:r>
                  <a:endParaRPr kumimoji="0" lang="en-US" altLang="en-US" sz="600" b="0" i="0" u="none" strike="noStrike" cap="none" normalizeH="0" baseline="0" dirty="0">
                    <a:ln>
                      <a:noFill/>
                    </a:ln>
                    <a:solidFill>
                      <a:srgbClr val="000000"/>
                    </a:solidFill>
                    <a:effectLst/>
                  </a:endParaRPr>
                </a:p>
              </p:txBody>
            </p:sp>
            <p:sp>
              <p:nvSpPr>
                <p:cNvPr id="97" name="Rectangle 96">
                  <a:extLst>
                    <a:ext uri="{FF2B5EF4-FFF2-40B4-BE49-F238E27FC236}">
                      <a16:creationId xmlns:a16="http://schemas.microsoft.com/office/drawing/2014/main" id="{70E6CFFA-534C-447A-B662-60AB8E61C2F8}"/>
                    </a:ext>
                  </a:extLst>
                </p:cNvPr>
                <p:cNvSpPr>
                  <a:spLocks noChangeArrowheads="1"/>
                </p:cNvSpPr>
                <p:nvPr/>
              </p:nvSpPr>
              <p:spPr bwMode="gray">
                <a:xfrm>
                  <a:off x="3750339" y="2931459"/>
                  <a:ext cx="475994" cy="184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Central Water</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Catchment</a:t>
                  </a:r>
                  <a:endParaRPr kumimoji="0" lang="en-US" altLang="en-US" sz="600" b="0" i="0" u="none" strike="noStrike" cap="none" normalizeH="0" baseline="0" dirty="0">
                    <a:ln>
                      <a:noFill/>
                    </a:ln>
                    <a:solidFill>
                      <a:srgbClr val="000000"/>
                    </a:solidFill>
                    <a:effectLst/>
                  </a:endParaRPr>
                </a:p>
              </p:txBody>
            </p:sp>
            <p:sp>
              <p:nvSpPr>
                <p:cNvPr id="98" name="Rectangle 97">
                  <a:extLst>
                    <a:ext uri="{FF2B5EF4-FFF2-40B4-BE49-F238E27FC236}">
                      <a16:creationId xmlns:a16="http://schemas.microsoft.com/office/drawing/2014/main" id="{AC77BF95-B6B0-4C3D-A32A-2F2E7DC38B3C}"/>
                    </a:ext>
                  </a:extLst>
                </p:cNvPr>
                <p:cNvSpPr>
                  <a:spLocks noChangeArrowheads="1"/>
                </p:cNvSpPr>
                <p:nvPr/>
              </p:nvSpPr>
              <p:spPr bwMode="gray">
                <a:xfrm>
                  <a:off x="4919473" y="2832415"/>
                  <a:ext cx="349455"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Sengkang</a:t>
                  </a:r>
                  <a:endParaRPr kumimoji="0" lang="en-US" altLang="en-US" sz="600" b="0" i="0" u="none" strike="noStrike" cap="none" normalizeH="0" baseline="0" dirty="0">
                    <a:ln>
                      <a:noFill/>
                    </a:ln>
                    <a:solidFill>
                      <a:srgbClr val="000000"/>
                    </a:solidFill>
                    <a:effectLst/>
                  </a:endParaRPr>
                </a:p>
              </p:txBody>
            </p:sp>
            <p:sp>
              <p:nvSpPr>
                <p:cNvPr id="99" name="Rectangle 98">
                  <a:extLst>
                    <a:ext uri="{FF2B5EF4-FFF2-40B4-BE49-F238E27FC236}">
                      <a16:creationId xmlns:a16="http://schemas.microsoft.com/office/drawing/2014/main" id="{F2417F77-7063-4183-B64B-291D9881C54B}"/>
                    </a:ext>
                  </a:extLst>
                </p:cNvPr>
                <p:cNvSpPr>
                  <a:spLocks noChangeArrowheads="1"/>
                </p:cNvSpPr>
                <p:nvPr/>
              </p:nvSpPr>
              <p:spPr bwMode="gray">
                <a:xfrm>
                  <a:off x="4641708" y="3194285"/>
                  <a:ext cx="37991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Serangoon</a:t>
                  </a:r>
                  <a:endParaRPr kumimoji="0" lang="en-US" altLang="en-US" sz="600" b="0" i="0" u="none" strike="noStrike" cap="none" normalizeH="0" baseline="0" dirty="0">
                    <a:ln>
                      <a:noFill/>
                    </a:ln>
                    <a:solidFill>
                      <a:srgbClr val="000000"/>
                    </a:solidFill>
                    <a:effectLst/>
                  </a:endParaRPr>
                </a:p>
              </p:txBody>
            </p:sp>
            <p:sp>
              <p:nvSpPr>
                <p:cNvPr id="100" name="Rectangle 99">
                  <a:extLst>
                    <a:ext uri="{FF2B5EF4-FFF2-40B4-BE49-F238E27FC236}">
                      <a16:creationId xmlns:a16="http://schemas.microsoft.com/office/drawing/2014/main" id="{80F7E34E-91A2-468C-9A39-8F0422D5B6CB}"/>
                    </a:ext>
                  </a:extLst>
                </p:cNvPr>
                <p:cNvSpPr>
                  <a:spLocks noChangeArrowheads="1"/>
                </p:cNvSpPr>
                <p:nvPr/>
              </p:nvSpPr>
              <p:spPr bwMode="gray">
                <a:xfrm>
                  <a:off x="4400299" y="3294469"/>
                  <a:ext cx="23724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Bishan</a:t>
                  </a:r>
                  <a:endParaRPr kumimoji="0" lang="en-US" altLang="en-US" sz="600" b="0" i="0" u="none" strike="noStrike" cap="none" normalizeH="0" baseline="0" dirty="0">
                    <a:ln>
                      <a:noFill/>
                    </a:ln>
                    <a:solidFill>
                      <a:srgbClr val="000000"/>
                    </a:solidFill>
                    <a:effectLst/>
                  </a:endParaRPr>
                </a:p>
              </p:txBody>
            </p:sp>
            <p:sp>
              <p:nvSpPr>
                <p:cNvPr id="101" name="Rectangle 100">
                  <a:extLst>
                    <a:ext uri="{FF2B5EF4-FFF2-40B4-BE49-F238E27FC236}">
                      <a16:creationId xmlns:a16="http://schemas.microsoft.com/office/drawing/2014/main" id="{414B1754-94DE-451E-BA10-D5E249FF018C}"/>
                    </a:ext>
                  </a:extLst>
                </p:cNvPr>
                <p:cNvSpPr>
                  <a:spLocks noChangeArrowheads="1"/>
                </p:cNvSpPr>
                <p:nvPr/>
              </p:nvSpPr>
              <p:spPr bwMode="gray">
                <a:xfrm>
                  <a:off x="4372284" y="3685823"/>
                  <a:ext cx="26770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Novena</a:t>
                  </a:r>
                  <a:endParaRPr kumimoji="0" lang="en-US" altLang="en-US" sz="600" b="0" i="0" u="none" strike="noStrike" cap="none" normalizeH="0" baseline="0" dirty="0">
                    <a:ln>
                      <a:noFill/>
                    </a:ln>
                    <a:solidFill>
                      <a:srgbClr val="000000"/>
                    </a:solidFill>
                    <a:effectLst/>
                  </a:endParaRPr>
                </a:p>
              </p:txBody>
            </p:sp>
            <p:sp>
              <p:nvSpPr>
                <p:cNvPr id="102" name="Rectangle 101">
                  <a:extLst>
                    <a:ext uri="{FF2B5EF4-FFF2-40B4-BE49-F238E27FC236}">
                      <a16:creationId xmlns:a16="http://schemas.microsoft.com/office/drawing/2014/main" id="{CABE28C3-F4C2-4319-B44D-16E768E56DBA}"/>
                    </a:ext>
                  </a:extLst>
                </p:cNvPr>
                <p:cNvSpPr>
                  <a:spLocks noChangeArrowheads="1"/>
                </p:cNvSpPr>
                <p:nvPr/>
              </p:nvSpPr>
              <p:spPr bwMode="gray">
                <a:xfrm>
                  <a:off x="4590625" y="3515431"/>
                  <a:ext cx="371440" cy="92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Toa Payoh</a:t>
                  </a:r>
                  <a:endParaRPr kumimoji="0" lang="en-US" altLang="en-US" sz="600" b="0" i="0" u="none" strike="noStrike" cap="none" normalizeH="0" baseline="0" dirty="0">
                    <a:ln>
                      <a:noFill/>
                    </a:ln>
                    <a:solidFill>
                      <a:srgbClr val="000000"/>
                    </a:solidFill>
                    <a:effectLst/>
                  </a:endParaRPr>
                </a:p>
              </p:txBody>
            </p:sp>
            <p:sp>
              <p:nvSpPr>
                <p:cNvPr id="103" name="Rectangle 102">
                  <a:extLst>
                    <a:ext uri="{FF2B5EF4-FFF2-40B4-BE49-F238E27FC236}">
                      <a16:creationId xmlns:a16="http://schemas.microsoft.com/office/drawing/2014/main" id="{3E2377D5-4923-4D3C-8552-DD7DCDED5053}"/>
                    </a:ext>
                  </a:extLst>
                </p:cNvPr>
                <p:cNvSpPr>
                  <a:spLocks noChangeArrowheads="1"/>
                </p:cNvSpPr>
                <p:nvPr/>
              </p:nvSpPr>
              <p:spPr bwMode="gray">
                <a:xfrm>
                  <a:off x="4973531" y="3705953"/>
                  <a:ext cx="286147" cy="92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Geylang</a:t>
                  </a:r>
                  <a:endParaRPr kumimoji="0" lang="en-US" altLang="en-US" sz="600" b="0" i="0" u="none" strike="noStrike" cap="none" normalizeH="0" baseline="0" dirty="0">
                    <a:ln>
                      <a:noFill/>
                    </a:ln>
                    <a:solidFill>
                      <a:srgbClr val="000000"/>
                    </a:solidFill>
                    <a:effectLst/>
                  </a:endParaRPr>
                </a:p>
              </p:txBody>
            </p:sp>
            <p:sp>
              <p:nvSpPr>
                <p:cNvPr id="104" name="Rectangle 103">
                  <a:extLst>
                    <a:ext uri="{FF2B5EF4-FFF2-40B4-BE49-F238E27FC236}">
                      <a16:creationId xmlns:a16="http://schemas.microsoft.com/office/drawing/2014/main" id="{F33012C2-FCB0-45F4-ACD2-F470EF1B0620}"/>
                    </a:ext>
                  </a:extLst>
                </p:cNvPr>
                <p:cNvSpPr>
                  <a:spLocks noChangeArrowheads="1"/>
                </p:cNvSpPr>
                <p:nvPr/>
              </p:nvSpPr>
              <p:spPr bwMode="gray">
                <a:xfrm>
                  <a:off x="5474686" y="3666497"/>
                  <a:ext cx="21961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Bedok</a:t>
                  </a:r>
                  <a:endParaRPr kumimoji="0" lang="en-US" altLang="en-US" sz="600" b="0" i="0" u="none" strike="noStrike" cap="none" normalizeH="0" baseline="0" dirty="0">
                    <a:ln>
                      <a:noFill/>
                    </a:ln>
                    <a:solidFill>
                      <a:srgbClr val="000000"/>
                    </a:solidFill>
                    <a:effectLst/>
                  </a:endParaRPr>
                </a:p>
              </p:txBody>
            </p:sp>
            <p:sp>
              <p:nvSpPr>
                <p:cNvPr id="105" name="Rectangle 104">
                  <a:extLst>
                    <a:ext uri="{FF2B5EF4-FFF2-40B4-BE49-F238E27FC236}">
                      <a16:creationId xmlns:a16="http://schemas.microsoft.com/office/drawing/2014/main" id="{8A65C88A-4327-4268-A93C-83BEE7AE9954}"/>
                    </a:ext>
                  </a:extLst>
                </p:cNvPr>
                <p:cNvSpPr>
                  <a:spLocks noChangeArrowheads="1"/>
                </p:cNvSpPr>
                <p:nvPr/>
              </p:nvSpPr>
              <p:spPr bwMode="gray">
                <a:xfrm>
                  <a:off x="5692047" y="3449166"/>
                  <a:ext cx="337048" cy="92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Tampines</a:t>
                  </a:r>
                  <a:endParaRPr kumimoji="0" lang="en-US" altLang="en-US" sz="600" b="0" i="0" u="none" strike="noStrike" cap="none" normalizeH="0" baseline="0" dirty="0">
                    <a:ln>
                      <a:noFill/>
                    </a:ln>
                    <a:solidFill>
                      <a:srgbClr val="000000"/>
                    </a:solidFill>
                    <a:effectLst/>
                  </a:endParaRPr>
                </a:p>
              </p:txBody>
            </p:sp>
            <p:sp>
              <p:nvSpPr>
                <p:cNvPr id="106" name="Rectangle 105">
                  <a:extLst>
                    <a:ext uri="{FF2B5EF4-FFF2-40B4-BE49-F238E27FC236}">
                      <a16:creationId xmlns:a16="http://schemas.microsoft.com/office/drawing/2014/main" id="{C89F04A2-A541-49C3-BA3D-2C6ADF28887C}"/>
                    </a:ext>
                  </a:extLst>
                </p:cNvPr>
                <p:cNvSpPr>
                  <a:spLocks noChangeArrowheads="1"/>
                </p:cNvSpPr>
                <p:nvPr/>
              </p:nvSpPr>
              <p:spPr bwMode="gray">
                <a:xfrm>
                  <a:off x="5336824" y="3202022"/>
                  <a:ext cx="19877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Paya</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Lebar</a:t>
                  </a:r>
                  <a:endParaRPr kumimoji="0" lang="en-US" altLang="en-US" sz="600" b="0" i="0" u="none" strike="noStrike" cap="none" normalizeH="0" baseline="0" dirty="0">
                    <a:ln>
                      <a:noFill/>
                    </a:ln>
                    <a:solidFill>
                      <a:srgbClr val="000000"/>
                    </a:solidFill>
                    <a:effectLst/>
                  </a:endParaRPr>
                </a:p>
              </p:txBody>
            </p:sp>
            <p:sp>
              <p:nvSpPr>
                <p:cNvPr id="107" name="Rectangle 106">
                  <a:extLst>
                    <a:ext uri="{FF2B5EF4-FFF2-40B4-BE49-F238E27FC236}">
                      <a16:creationId xmlns:a16="http://schemas.microsoft.com/office/drawing/2014/main" id="{0C98FDC1-06F6-4C9A-9726-0376289D0089}"/>
                    </a:ext>
                  </a:extLst>
                </p:cNvPr>
                <p:cNvSpPr>
                  <a:spLocks noChangeArrowheads="1"/>
                </p:cNvSpPr>
                <p:nvPr/>
              </p:nvSpPr>
              <p:spPr bwMode="gray">
                <a:xfrm>
                  <a:off x="4994928" y="3091707"/>
                  <a:ext cx="31579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Hougang</a:t>
                  </a:r>
                  <a:endParaRPr kumimoji="0" lang="en-US" altLang="en-US" sz="600" b="0" i="0" u="none" strike="noStrike" cap="none" normalizeH="0" baseline="0" dirty="0">
                    <a:ln>
                      <a:noFill/>
                    </a:ln>
                    <a:solidFill>
                      <a:srgbClr val="000000"/>
                    </a:solidFill>
                    <a:effectLst/>
                  </a:endParaRPr>
                </a:p>
              </p:txBody>
            </p:sp>
            <p:sp>
              <p:nvSpPr>
                <p:cNvPr id="108" name="Rectangle 107">
                  <a:extLst>
                    <a:ext uri="{FF2B5EF4-FFF2-40B4-BE49-F238E27FC236}">
                      <a16:creationId xmlns:a16="http://schemas.microsoft.com/office/drawing/2014/main" id="{11E04E58-485E-4B4B-B75B-789F4F083F29}"/>
                    </a:ext>
                  </a:extLst>
                </p:cNvPr>
                <p:cNvSpPr>
                  <a:spLocks noChangeArrowheads="1"/>
                </p:cNvSpPr>
                <p:nvPr/>
              </p:nvSpPr>
              <p:spPr bwMode="gray">
                <a:xfrm>
                  <a:off x="5179516" y="2704747"/>
                  <a:ext cx="285335"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Punggol</a:t>
                  </a:r>
                  <a:endParaRPr kumimoji="0" lang="en-US" altLang="en-US" sz="600" b="0" i="0" u="none" strike="noStrike" cap="none" normalizeH="0" baseline="0" dirty="0">
                    <a:ln>
                      <a:noFill/>
                    </a:ln>
                    <a:solidFill>
                      <a:srgbClr val="000000"/>
                    </a:solidFill>
                    <a:effectLst/>
                  </a:endParaRPr>
                </a:p>
              </p:txBody>
            </p:sp>
            <p:sp>
              <p:nvSpPr>
                <p:cNvPr id="109" name="Rectangle 108">
                  <a:extLst>
                    <a:ext uri="{FF2B5EF4-FFF2-40B4-BE49-F238E27FC236}">
                      <a16:creationId xmlns:a16="http://schemas.microsoft.com/office/drawing/2014/main" id="{51DABC1F-9092-4B4D-811F-10763A0DEA48}"/>
                    </a:ext>
                  </a:extLst>
                </p:cNvPr>
                <p:cNvSpPr>
                  <a:spLocks noChangeArrowheads="1"/>
                </p:cNvSpPr>
                <p:nvPr/>
              </p:nvSpPr>
              <p:spPr bwMode="gray">
                <a:xfrm>
                  <a:off x="5681906" y="3017139"/>
                  <a:ext cx="306782" cy="92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Pasir Ris</a:t>
                  </a:r>
                  <a:endParaRPr kumimoji="0" lang="en-US" altLang="en-US" sz="600" b="0" i="0" u="none" strike="noStrike" cap="none" normalizeH="0" baseline="0" dirty="0">
                    <a:ln>
                      <a:noFill/>
                    </a:ln>
                    <a:solidFill>
                      <a:srgbClr val="000000"/>
                    </a:solidFill>
                    <a:effectLst/>
                  </a:endParaRPr>
                </a:p>
              </p:txBody>
            </p:sp>
            <p:sp>
              <p:nvSpPr>
                <p:cNvPr id="110" name="Rectangle 109">
                  <a:extLst>
                    <a:ext uri="{FF2B5EF4-FFF2-40B4-BE49-F238E27FC236}">
                      <a16:creationId xmlns:a16="http://schemas.microsoft.com/office/drawing/2014/main" id="{C7CF2911-C5F1-480A-8FDA-88BB41B6A6C1}"/>
                    </a:ext>
                  </a:extLst>
                </p:cNvPr>
                <p:cNvSpPr>
                  <a:spLocks noChangeArrowheads="1"/>
                </p:cNvSpPr>
                <p:nvPr/>
              </p:nvSpPr>
              <p:spPr bwMode="gray">
                <a:xfrm>
                  <a:off x="6921377" y="2622565"/>
                  <a:ext cx="480121" cy="184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North-Eastern</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Islands</a:t>
                  </a:r>
                  <a:endParaRPr kumimoji="0" lang="en-US" altLang="en-US" sz="600" b="0" i="0" u="none" strike="noStrike" cap="none" normalizeH="0" baseline="0" dirty="0">
                    <a:ln>
                      <a:noFill/>
                    </a:ln>
                    <a:solidFill>
                      <a:srgbClr val="000000"/>
                    </a:solidFill>
                    <a:effectLst/>
                  </a:endParaRPr>
                </a:p>
              </p:txBody>
            </p:sp>
            <p:sp>
              <p:nvSpPr>
                <p:cNvPr id="111" name="Rectangle 110">
                  <a:extLst>
                    <a:ext uri="{FF2B5EF4-FFF2-40B4-BE49-F238E27FC236}">
                      <a16:creationId xmlns:a16="http://schemas.microsoft.com/office/drawing/2014/main" id="{1B606084-1E7A-4822-8CD4-442D3B05EA53}"/>
                    </a:ext>
                  </a:extLst>
                </p:cNvPr>
                <p:cNvSpPr>
                  <a:spLocks noChangeArrowheads="1"/>
                </p:cNvSpPr>
                <p:nvPr/>
              </p:nvSpPr>
              <p:spPr bwMode="gray">
                <a:xfrm>
                  <a:off x="6304691" y="3346328"/>
                  <a:ext cx="246862"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Changi</a:t>
                  </a:r>
                  <a:endParaRPr kumimoji="0" lang="en-US" altLang="en-US" sz="600" b="0" i="0" u="none" strike="noStrike" cap="none" normalizeH="0" baseline="0" dirty="0">
                    <a:ln>
                      <a:noFill/>
                    </a:ln>
                    <a:solidFill>
                      <a:srgbClr val="000000"/>
                    </a:solidFill>
                    <a:effectLst/>
                  </a:endParaRPr>
                </a:p>
              </p:txBody>
            </p:sp>
            <p:sp>
              <p:nvSpPr>
                <p:cNvPr id="112" name="Rectangle 111">
                  <a:extLst>
                    <a:ext uri="{FF2B5EF4-FFF2-40B4-BE49-F238E27FC236}">
                      <a16:creationId xmlns:a16="http://schemas.microsoft.com/office/drawing/2014/main" id="{C587112B-B5FA-4B78-958B-9795AF9A20E6}"/>
                    </a:ext>
                  </a:extLst>
                </p:cNvPr>
                <p:cNvSpPr>
                  <a:spLocks noChangeArrowheads="1"/>
                </p:cNvSpPr>
                <p:nvPr/>
              </p:nvSpPr>
              <p:spPr bwMode="gray">
                <a:xfrm>
                  <a:off x="2515053" y="4309455"/>
                  <a:ext cx="553033" cy="92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Western Islands</a:t>
                  </a:r>
                  <a:endParaRPr kumimoji="0" lang="en-US" altLang="en-US" sz="600" b="0" i="0" u="none" strike="noStrike" cap="none" normalizeH="0" baseline="0" dirty="0">
                    <a:ln>
                      <a:noFill/>
                    </a:ln>
                    <a:solidFill>
                      <a:srgbClr val="000000"/>
                    </a:solidFill>
                    <a:effectLst/>
                  </a:endParaRPr>
                </a:p>
              </p:txBody>
            </p:sp>
            <p:sp>
              <p:nvSpPr>
                <p:cNvPr id="113" name="Rectangle 112">
                  <a:extLst>
                    <a:ext uri="{FF2B5EF4-FFF2-40B4-BE49-F238E27FC236}">
                      <a16:creationId xmlns:a16="http://schemas.microsoft.com/office/drawing/2014/main" id="{29EF81CE-134B-4975-AD10-C2BE3213E5AA}"/>
                    </a:ext>
                  </a:extLst>
                </p:cNvPr>
                <p:cNvSpPr>
                  <a:spLocks noChangeArrowheads="1"/>
                </p:cNvSpPr>
                <p:nvPr/>
              </p:nvSpPr>
              <p:spPr bwMode="gray">
                <a:xfrm>
                  <a:off x="4047801" y="2047012"/>
                  <a:ext cx="431208"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Sembawang</a:t>
                  </a:r>
                  <a:endParaRPr kumimoji="0" lang="en-US" altLang="en-US" sz="600" b="0" i="0" u="none" strike="noStrike" cap="none" normalizeH="0" baseline="0" dirty="0">
                    <a:ln>
                      <a:noFill/>
                    </a:ln>
                    <a:solidFill>
                      <a:srgbClr val="000000"/>
                    </a:solidFill>
                    <a:effectLst/>
                  </a:endParaRPr>
                </a:p>
              </p:txBody>
            </p:sp>
            <p:sp>
              <p:nvSpPr>
                <p:cNvPr id="114" name="Rectangle 113">
                  <a:extLst>
                    <a:ext uri="{FF2B5EF4-FFF2-40B4-BE49-F238E27FC236}">
                      <a16:creationId xmlns:a16="http://schemas.microsoft.com/office/drawing/2014/main" id="{93D11481-E234-41BE-A97B-1FC41919F600}"/>
                    </a:ext>
                  </a:extLst>
                </p:cNvPr>
                <p:cNvSpPr>
                  <a:spLocks noChangeArrowheads="1"/>
                </p:cNvSpPr>
                <p:nvPr/>
              </p:nvSpPr>
              <p:spPr bwMode="gray">
                <a:xfrm>
                  <a:off x="4804602" y="2622565"/>
                  <a:ext cx="243500" cy="92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Seletar</a:t>
                  </a:r>
                  <a:endParaRPr kumimoji="0" lang="en-US" altLang="en-US" sz="600" b="0" i="0" u="none" strike="noStrike" cap="none" normalizeH="0" baseline="0" dirty="0">
                    <a:ln>
                      <a:noFill/>
                    </a:ln>
                    <a:solidFill>
                      <a:srgbClr val="000000"/>
                    </a:solidFill>
                    <a:effectLst/>
                  </a:endParaRPr>
                </a:p>
              </p:txBody>
            </p:sp>
            <p:sp>
              <p:nvSpPr>
                <p:cNvPr id="115" name="Rectangle 114">
                  <a:extLst>
                    <a:ext uri="{FF2B5EF4-FFF2-40B4-BE49-F238E27FC236}">
                      <a16:creationId xmlns:a16="http://schemas.microsoft.com/office/drawing/2014/main" id="{CCA398E9-5B90-4314-B8BA-5BFC89DBA997}"/>
                    </a:ext>
                  </a:extLst>
                </p:cNvPr>
                <p:cNvSpPr>
                  <a:spLocks noChangeArrowheads="1"/>
                </p:cNvSpPr>
                <p:nvPr/>
              </p:nvSpPr>
              <p:spPr bwMode="gray">
                <a:xfrm>
                  <a:off x="4346242" y="2549286"/>
                  <a:ext cx="23724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Yishun</a:t>
                  </a:r>
                  <a:endParaRPr kumimoji="0" lang="en-US" altLang="en-US" sz="600" b="0" i="0" u="none" strike="noStrike" cap="none" normalizeH="0" baseline="0" dirty="0">
                    <a:ln>
                      <a:noFill/>
                    </a:ln>
                    <a:solidFill>
                      <a:srgbClr val="000000"/>
                    </a:solidFill>
                    <a:effectLst/>
                  </a:endParaRPr>
                </a:p>
              </p:txBody>
            </p:sp>
            <p:sp>
              <p:nvSpPr>
                <p:cNvPr id="116" name="Rectangle 115">
                  <a:extLst>
                    <a:ext uri="{FF2B5EF4-FFF2-40B4-BE49-F238E27FC236}">
                      <a16:creationId xmlns:a16="http://schemas.microsoft.com/office/drawing/2014/main" id="{E586CF9C-F060-43A6-9F08-8B5E8EEC9071}"/>
                    </a:ext>
                  </a:extLst>
                </p:cNvPr>
                <p:cNvSpPr>
                  <a:spLocks noChangeArrowheads="1"/>
                </p:cNvSpPr>
                <p:nvPr/>
              </p:nvSpPr>
              <p:spPr bwMode="gray">
                <a:xfrm>
                  <a:off x="4010393" y="2476009"/>
                  <a:ext cx="254878"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Mandai</a:t>
                  </a:r>
                  <a:endParaRPr kumimoji="0" lang="en-US" altLang="en-US" sz="600" b="0" i="0" u="none" strike="noStrike" cap="none" normalizeH="0" baseline="0" dirty="0">
                    <a:ln>
                      <a:noFill/>
                    </a:ln>
                    <a:solidFill>
                      <a:srgbClr val="000000"/>
                    </a:solidFill>
                    <a:effectLst/>
                  </a:endParaRPr>
                </a:p>
              </p:txBody>
            </p:sp>
            <p:sp>
              <p:nvSpPr>
                <p:cNvPr id="117" name="Rectangle 116">
                  <a:extLst>
                    <a:ext uri="{FF2B5EF4-FFF2-40B4-BE49-F238E27FC236}">
                      <a16:creationId xmlns:a16="http://schemas.microsoft.com/office/drawing/2014/main" id="{120E5715-86D0-470E-8744-8B99BB8F979D}"/>
                    </a:ext>
                  </a:extLst>
                </p:cNvPr>
                <p:cNvSpPr>
                  <a:spLocks noChangeArrowheads="1"/>
                </p:cNvSpPr>
                <p:nvPr/>
              </p:nvSpPr>
              <p:spPr bwMode="gray">
                <a:xfrm>
                  <a:off x="3695302" y="2252792"/>
                  <a:ext cx="387927"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Woodlands</a:t>
                  </a:r>
                  <a:endParaRPr kumimoji="0" lang="en-US" altLang="en-US" sz="600" b="0" i="0" u="none" strike="noStrike" cap="none" normalizeH="0" baseline="0" dirty="0">
                    <a:ln>
                      <a:noFill/>
                    </a:ln>
                    <a:solidFill>
                      <a:srgbClr val="000000"/>
                    </a:solidFill>
                    <a:effectLst/>
                  </a:endParaRPr>
                </a:p>
              </p:txBody>
            </p:sp>
            <p:sp>
              <p:nvSpPr>
                <p:cNvPr id="118" name="Rectangle 117">
                  <a:extLst>
                    <a:ext uri="{FF2B5EF4-FFF2-40B4-BE49-F238E27FC236}">
                      <a16:creationId xmlns:a16="http://schemas.microsoft.com/office/drawing/2014/main" id="{B9FC0D6D-107D-43E8-9A66-7B31D267A5E6}"/>
                    </a:ext>
                  </a:extLst>
                </p:cNvPr>
                <p:cNvSpPr>
                  <a:spLocks noChangeArrowheads="1"/>
                </p:cNvSpPr>
                <p:nvPr/>
              </p:nvSpPr>
              <p:spPr bwMode="gray">
                <a:xfrm>
                  <a:off x="3378459" y="2479003"/>
                  <a:ext cx="24205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Sungei</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Kadut</a:t>
                  </a:r>
                  <a:endParaRPr kumimoji="0" lang="en-US" altLang="en-US" sz="600" b="0" i="0" u="none" strike="noStrike" cap="none" normalizeH="0" baseline="0" dirty="0">
                    <a:ln>
                      <a:noFill/>
                    </a:ln>
                    <a:solidFill>
                      <a:srgbClr val="000000"/>
                    </a:solidFill>
                    <a:effectLst/>
                  </a:endParaRPr>
                </a:p>
              </p:txBody>
            </p:sp>
            <p:sp>
              <p:nvSpPr>
                <p:cNvPr id="119" name="Rectangle 118">
                  <a:extLst>
                    <a:ext uri="{FF2B5EF4-FFF2-40B4-BE49-F238E27FC236}">
                      <a16:creationId xmlns:a16="http://schemas.microsoft.com/office/drawing/2014/main" id="{8F8D0BBE-6205-4DC3-8721-64A724500076}"/>
                    </a:ext>
                  </a:extLst>
                </p:cNvPr>
                <p:cNvSpPr>
                  <a:spLocks noChangeArrowheads="1"/>
                </p:cNvSpPr>
                <p:nvPr/>
              </p:nvSpPr>
              <p:spPr bwMode="gray">
                <a:xfrm>
                  <a:off x="2762664" y="2358607"/>
                  <a:ext cx="486999" cy="92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Lim Chu Kang</a:t>
                  </a:r>
                  <a:endParaRPr kumimoji="0" lang="en-US" altLang="en-US" sz="600" b="0" i="0" u="none" strike="noStrike" cap="none" normalizeH="0" baseline="0" dirty="0">
                    <a:ln>
                      <a:noFill/>
                    </a:ln>
                    <a:solidFill>
                      <a:srgbClr val="000000"/>
                    </a:solidFill>
                    <a:effectLst/>
                  </a:endParaRPr>
                </a:p>
              </p:txBody>
            </p:sp>
          </p:grpSp>
          <p:grpSp>
            <p:nvGrpSpPr>
              <p:cNvPr id="30" name="Group 29">
                <a:extLst>
                  <a:ext uri="{FF2B5EF4-FFF2-40B4-BE49-F238E27FC236}">
                    <a16:creationId xmlns:a16="http://schemas.microsoft.com/office/drawing/2014/main" id="{8D70EE30-DBEE-4BB0-B3D7-747DFF6E947F}"/>
                  </a:ext>
                </a:extLst>
              </p:cNvPr>
              <p:cNvGrpSpPr/>
              <p:nvPr/>
            </p:nvGrpSpPr>
            <p:grpSpPr bwMode="gray">
              <a:xfrm>
                <a:off x="6810352" y="3714902"/>
                <a:ext cx="629701" cy="92333"/>
                <a:chOff x="8702186" y="3756823"/>
                <a:chExt cx="733743" cy="107589"/>
              </a:xfrm>
            </p:grpSpPr>
            <p:sp>
              <p:nvSpPr>
                <p:cNvPr id="76" name="Rectangle 75">
                  <a:extLst>
                    <a:ext uri="{FF2B5EF4-FFF2-40B4-BE49-F238E27FC236}">
                      <a16:creationId xmlns:a16="http://schemas.microsoft.com/office/drawing/2014/main" id="{9EAF4524-C212-45F8-AAD7-0CD4BF2128B4}"/>
                    </a:ext>
                  </a:extLst>
                </p:cNvPr>
                <p:cNvSpPr>
                  <a:spLocks noChangeArrowheads="1"/>
                </p:cNvSpPr>
                <p:nvPr/>
              </p:nvSpPr>
              <p:spPr bwMode="gray">
                <a:xfrm>
                  <a:off x="8968965" y="3756823"/>
                  <a:ext cx="466964" cy="107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Changi Bay</a:t>
                  </a:r>
                  <a:endParaRPr kumimoji="0" lang="en-US" altLang="en-US" sz="600" b="0" i="0" u="none" strike="noStrike" cap="none" normalizeH="0" baseline="0" dirty="0">
                    <a:ln>
                      <a:noFill/>
                    </a:ln>
                    <a:solidFill>
                      <a:srgbClr val="000000"/>
                    </a:solidFill>
                    <a:effectLst/>
                  </a:endParaRPr>
                </a:p>
              </p:txBody>
            </p:sp>
            <p:sp>
              <p:nvSpPr>
                <p:cNvPr id="77" name="Freeform: Shape 76">
                  <a:extLst>
                    <a:ext uri="{FF2B5EF4-FFF2-40B4-BE49-F238E27FC236}">
                      <a16:creationId xmlns:a16="http://schemas.microsoft.com/office/drawing/2014/main" id="{E7B508C9-FEA0-4A5F-A432-F7CCE221F5AF}"/>
                    </a:ext>
                  </a:extLst>
                </p:cNvPr>
                <p:cNvSpPr/>
                <p:nvPr/>
              </p:nvSpPr>
              <p:spPr bwMode="gray">
                <a:xfrm>
                  <a:off x="8702186" y="3812078"/>
                  <a:ext cx="240144" cy="0"/>
                </a:xfrm>
                <a:custGeom>
                  <a:avLst/>
                  <a:gdLst>
                    <a:gd name="connsiteX0" fmla="*/ 0 w 290512"/>
                    <a:gd name="connsiteY0" fmla="*/ 0 h 0"/>
                    <a:gd name="connsiteX1" fmla="*/ 290512 w 290512"/>
                    <a:gd name="connsiteY1" fmla="*/ 0 h 0"/>
                  </a:gdLst>
                  <a:ahLst/>
                  <a:cxnLst>
                    <a:cxn ang="0">
                      <a:pos x="connsiteX0" y="connsiteY0"/>
                    </a:cxn>
                    <a:cxn ang="0">
                      <a:pos x="connsiteX1" y="connsiteY1"/>
                    </a:cxn>
                  </a:cxnLst>
                  <a:rect l="l" t="t" r="r" b="b"/>
                  <a:pathLst>
                    <a:path w="290512">
                      <a:moveTo>
                        <a:pt x="0" y="0"/>
                      </a:moveTo>
                      <a:lnTo>
                        <a:pt x="290512" y="0"/>
                      </a:lnTo>
                    </a:path>
                  </a:pathLst>
                </a:custGeom>
                <a:noFill/>
                <a:ln w="6350" cap="sq">
                  <a:solidFill>
                    <a:schemeClr val="bg1">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grpSp>
          <p:grpSp>
            <p:nvGrpSpPr>
              <p:cNvPr id="31" name="Group 30">
                <a:extLst>
                  <a:ext uri="{FF2B5EF4-FFF2-40B4-BE49-F238E27FC236}">
                    <a16:creationId xmlns:a16="http://schemas.microsoft.com/office/drawing/2014/main" id="{6D959125-5158-4E92-9C08-1038D8E81C5E}"/>
                  </a:ext>
                </a:extLst>
              </p:cNvPr>
              <p:cNvGrpSpPr/>
              <p:nvPr/>
            </p:nvGrpSpPr>
            <p:grpSpPr bwMode="gray">
              <a:xfrm>
                <a:off x="4752797" y="4388005"/>
                <a:ext cx="762970" cy="129003"/>
                <a:chOff x="6304674" y="4541140"/>
                <a:chExt cx="889031" cy="150318"/>
              </a:xfrm>
            </p:grpSpPr>
            <p:sp>
              <p:nvSpPr>
                <p:cNvPr id="74" name="Rectangle 73">
                  <a:extLst>
                    <a:ext uri="{FF2B5EF4-FFF2-40B4-BE49-F238E27FC236}">
                      <a16:creationId xmlns:a16="http://schemas.microsoft.com/office/drawing/2014/main" id="{67983FB4-B6F9-40FE-B640-A4C820B05318}"/>
                    </a:ext>
                  </a:extLst>
                </p:cNvPr>
                <p:cNvSpPr>
                  <a:spLocks noChangeArrowheads="1"/>
                </p:cNvSpPr>
                <p:nvPr/>
              </p:nvSpPr>
              <p:spPr bwMode="gray">
                <a:xfrm>
                  <a:off x="6720819" y="4583736"/>
                  <a:ext cx="472886"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Straits View</a:t>
                  </a:r>
                  <a:endParaRPr kumimoji="0" lang="en-US" altLang="en-US" sz="600" b="0" i="0" u="none" strike="noStrike" cap="none" normalizeH="0" baseline="0" dirty="0">
                    <a:ln>
                      <a:noFill/>
                    </a:ln>
                    <a:solidFill>
                      <a:srgbClr val="000000"/>
                    </a:solidFill>
                    <a:effectLst/>
                  </a:endParaRPr>
                </a:p>
              </p:txBody>
            </p:sp>
            <p:sp>
              <p:nvSpPr>
                <p:cNvPr id="75" name="Freeform: Shape 74">
                  <a:extLst>
                    <a:ext uri="{FF2B5EF4-FFF2-40B4-BE49-F238E27FC236}">
                      <a16:creationId xmlns:a16="http://schemas.microsoft.com/office/drawing/2014/main" id="{B444E9F0-5360-45A9-AFFD-65FBDFA5D31D}"/>
                    </a:ext>
                  </a:extLst>
                </p:cNvPr>
                <p:cNvSpPr/>
                <p:nvPr/>
              </p:nvSpPr>
              <p:spPr bwMode="gray">
                <a:xfrm>
                  <a:off x="6304674" y="4541140"/>
                  <a:ext cx="385806" cy="90640"/>
                </a:xfrm>
                <a:custGeom>
                  <a:avLst/>
                  <a:gdLst>
                    <a:gd name="connsiteX0" fmla="*/ 0 w 495300"/>
                    <a:gd name="connsiteY0" fmla="*/ 0 h 238125"/>
                    <a:gd name="connsiteX1" fmla="*/ 0 w 495300"/>
                    <a:gd name="connsiteY1" fmla="*/ 238125 h 238125"/>
                    <a:gd name="connsiteX2" fmla="*/ 495300 w 495300"/>
                    <a:gd name="connsiteY2" fmla="*/ 238125 h 238125"/>
                  </a:gdLst>
                  <a:ahLst/>
                  <a:cxnLst>
                    <a:cxn ang="0">
                      <a:pos x="connsiteX0" y="connsiteY0"/>
                    </a:cxn>
                    <a:cxn ang="0">
                      <a:pos x="connsiteX1" y="connsiteY1"/>
                    </a:cxn>
                    <a:cxn ang="0">
                      <a:pos x="connsiteX2" y="connsiteY2"/>
                    </a:cxn>
                  </a:cxnLst>
                  <a:rect l="l" t="t" r="r" b="b"/>
                  <a:pathLst>
                    <a:path w="495300" h="238125">
                      <a:moveTo>
                        <a:pt x="0" y="0"/>
                      </a:moveTo>
                      <a:lnTo>
                        <a:pt x="0" y="238125"/>
                      </a:lnTo>
                      <a:lnTo>
                        <a:pt x="495300" y="238125"/>
                      </a:lnTo>
                    </a:path>
                  </a:pathLst>
                </a:custGeom>
                <a:noFill/>
                <a:ln w="6350" cap="sq">
                  <a:solidFill>
                    <a:srgbClr val="B3B3B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grpSp>
          <p:grpSp>
            <p:nvGrpSpPr>
              <p:cNvPr id="32" name="Group 31">
                <a:extLst>
                  <a:ext uri="{FF2B5EF4-FFF2-40B4-BE49-F238E27FC236}">
                    <a16:creationId xmlns:a16="http://schemas.microsoft.com/office/drawing/2014/main" id="{7873658C-68BD-4B71-B437-BDFEC64E24A4}"/>
                  </a:ext>
                </a:extLst>
              </p:cNvPr>
              <p:cNvGrpSpPr/>
              <p:nvPr/>
            </p:nvGrpSpPr>
            <p:grpSpPr bwMode="gray">
              <a:xfrm>
                <a:off x="4854154" y="4302326"/>
                <a:ext cx="713890" cy="92447"/>
                <a:chOff x="6422777" y="4441304"/>
                <a:chExt cx="831842" cy="107722"/>
              </a:xfrm>
            </p:grpSpPr>
            <p:sp>
              <p:nvSpPr>
                <p:cNvPr id="72" name="Rectangle 71">
                  <a:extLst>
                    <a:ext uri="{FF2B5EF4-FFF2-40B4-BE49-F238E27FC236}">
                      <a16:creationId xmlns:a16="http://schemas.microsoft.com/office/drawing/2014/main" id="{7DC4CA25-8967-498D-AE52-F8962CCD5430}"/>
                    </a:ext>
                  </a:extLst>
                </p:cNvPr>
                <p:cNvSpPr>
                  <a:spLocks noChangeArrowheads="1"/>
                </p:cNvSpPr>
                <p:nvPr/>
              </p:nvSpPr>
              <p:spPr bwMode="gray">
                <a:xfrm>
                  <a:off x="6720819" y="4441304"/>
                  <a:ext cx="533800"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Marina South</a:t>
                  </a:r>
                  <a:endParaRPr kumimoji="0" lang="en-US" altLang="en-US" sz="600" b="0" i="0" u="none" strike="noStrike" cap="none" normalizeH="0" baseline="0" dirty="0">
                    <a:ln>
                      <a:noFill/>
                    </a:ln>
                    <a:solidFill>
                      <a:srgbClr val="000000"/>
                    </a:solidFill>
                    <a:effectLst/>
                  </a:endParaRPr>
                </a:p>
              </p:txBody>
            </p:sp>
            <p:sp>
              <p:nvSpPr>
                <p:cNvPr id="73" name="Freeform: Shape 72">
                  <a:extLst>
                    <a:ext uri="{FF2B5EF4-FFF2-40B4-BE49-F238E27FC236}">
                      <a16:creationId xmlns:a16="http://schemas.microsoft.com/office/drawing/2014/main" id="{C80BE365-819A-4B26-802E-C211454C5858}"/>
                    </a:ext>
                  </a:extLst>
                </p:cNvPr>
                <p:cNvSpPr/>
                <p:nvPr/>
              </p:nvSpPr>
              <p:spPr bwMode="gray">
                <a:xfrm>
                  <a:off x="6422777" y="4455566"/>
                  <a:ext cx="267703" cy="37832"/>
                </a:xfrm>
                <a:custGeom>
                  <a:avLst/>
                  <a:gdLst>
                    <a:gd name="connsiteX0" fmla="*/ 0 w 495300"/>
                    <a:gd name="connsiteY0" fmla="*/ 0 h 238125"/>
                    <a:gd name="connsiteX1" fmla="*/ 0 w 495300"/>
                    <a:gd name="connsiteY1" fmla="*/ 238125 h 238125"/>
                    <a:gd name="connsiteX2" fmla="*/ 495300 w 495300"/>
                    <a:gd name="connsiteY2" fmla="*/ 238125 h 238125"/>
                  </a:gdLst>
                  <a:ahLst/>
                  <a:cxnLst>
                    <a:cxn ang="0">
                      <a:pos x="connsiteX0" y="connsiteY0"/>
                    </a:cxn>
                    <a:cxn ang="0">
                      <a:pos x="connsiteX1" y="connsiteY1"/>
                    </a:cxn>
                    <a:cxn ang="0">
                      <a:pos x="connsiteX2" y="connsiteY2"/>
                    </a:cxn>
                  </a:cxnLst>
                  <a:rect l="l" t="t" r="r" b="b"/>
                  <a:pathLst>
                    <a:path w="495300" h="238125">
                      <a:moveTo>
                        <a:pt x="0" y="0"/>
                      </a:moveTo>
                      <a:lnTo>
                        <a:pt x="0" y="238125"/>
                      </a:lnTo>
                      <a:lnTo>
                        <a:pt x="495300" y="238125"/>
                      </a:lnTo>
                    </a:path>
                  </a:pathLst>
                </a:custGeom>
                <a:noFill/>
                <a:ln w="6350" cap="sq">
                  <a:solidFill>
                    <a:srgbClr val="B3B3B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grpSp>
          <p:grpSp>
            <p:nvGrpSpPr>
              <p:cNvPr id="33" name="Group 32">
                <a:extLst>
                  <a:ext uri="{FF2B5EF4-FFF2-40B4-BE49-F238E27FC236}">
                    <a16:creationId xmlns:a16="http://schemas.microsoft.com/office/drawing/2014/main" id="{CFDCD187-D10D-4CB7-896E-2504D7DCF9A6}"/>
                  </a:ext>
                </a:extLst>
              </p:cNvPr>
              <p:cNvGrpSpPr/>
              <p:nvPr/>
            </p:nvGrpSpPr>
            <p:grpSpPr bwMode="gray">
              <a:xfrm>
                <a:off x="5189760" y="4084747"/>
                <a:ext cx="667056" cy="95103"/>
                <a:chOff x="6813833" y="4187776"/>
                <a:chExt cx="777270" cy="110816"/>
              </a:xfrm>
            </p:grpSpPr>
            <p:sp>
              <p:nvSpPr>
                <p:cNvPr id="70" name="Rectangle 69">
                  <a:extLst>
                    <a:ext uri="{FF2B5EF4-FFF2-40B4-BE49-F238E27FC236}">
                      <a16:creationId xmlns:a16="http://schemas.microsoft.com/office/drawing/2014/main" id="{AAC422B1-16EF-46EA-BC93-1B0BFC32D806}"/>
                    </a:ext>
                  </a:extLst>
                </p:cNvPr>
                <p:cNvSpPr>
                  <a:spLocks noChangeArrowheads="1"/>
                </p:cNvSpPr>
                <p:nvPr/>
              </p:nvSpPr>
              <p:spPr bwMode="gray">
                <a:xfrm>
                  <a:off x="7002800" y="4190870"/>
                  <a:ext cx="58830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Marine Parade</a:t>
                  </a:r>
                  <a:endParaRPr kumimoji="0" lang="en-US" altLang="en-US" sz="600" b="0" i="0" u="none" strike="noStrike" cap="none" normalizeH="0" baseline="0" dirty="0">
                    <a:ln>
                      <a:noFill/>
                    </a:ln>
                    <a:solidFill>
                      <a:srgbClr val="000000"/>
                    </a:solidFill>
                    <a:effectLst/>
                  </a:endParaRPr>
                </a:p>
              </p:txBody>
            </p:sp>
            <p:sp>
              <p:nvSpPr>
                <p:cNvPr id="71" name="Freeform: Shape 70">
                  <a:extLst>
                    <a:ext uri="{FF2B5EF4-FFF2-40B4-BE49-F238E27FC236}">
                      <a16:creationId xmlns:a16="http://schemas.microsoft.com/office/drawing/2014/main" id="{B08BC015-2DDB-4CED-B854-8AF397649FB1}"/>
                    </a:ext>
                  </a:extLst>
                </p:cNvPr>
                <p:cNvSpPr/>
                <p:nvPr/>
              </p:nvSpPr>
              <p:spPr bwMode="gray">
                <a:xfrm>
                  <a:off x="6813833" y="4187776"/>
                  <a:ext cx="175843" cy="49918"/>
                </a:xfrm>
                <a:custGeom>
                  <a:avLst/>
                  <a:gdLst>
                    <a:gd name="connsiteX0" fmla="*/ 0 w 495300"/>
                    <a:gd name="connsiteY0" fmla="*/ 0 h 238125"/>
                    <a:gd name="connsiteX1" fmla="*/ 0 w 495300"/>
                    <a:gd name="connsiteY1" fmla="*/ 238125 h 238125"/>
                    <a:gd name="connsiteX2" fmla="*/ 495300 w 495300"/>
                    <a:gd name="connsiteY2" fmla="*/ 238125 h 238125"/>
                  </a:gdLst>
                  <a:ahLst/>
                  <a:cxnLst>
                    <a:cxn ang="0">
                      <a:pos x="connsiteX0" y="connsiteY0"/>
                    </a:cxn>
                    <a:cxn ang="0">
                      <a:pos x="connsiteX1" y="connsiteY1"/>
                    </a:cxn>
                    <a:cxn ang="0">
                      <a:pos x="connsiteX2" y="connsiteY2"/>
                    </a:cxn>
                  </a:cxnLst>
                  <a:rect l="l" t="t" r="r" b="b"/>
                  <a:pathLst>
                    <a:path w="495300" h="238125">
                      <a:moveTo>
                        <a:pt x="0" y="0"/>
                      </a:moveTo>
                      <a:lnTo>
                        <a:pt x="0" y="238125"/>
                      </a:lnTo>
                      <a:lnTo>
                        <a:pt x="495300" y="238125"/>
                      </a:lnTo>
                    </a:path>
                  </a:pathLst>
                </a:custGeom>
                <a:noFill/>
                <a:ln w="6350" cap="sq">
                  <a:solidFill>
                    <a:srgbClr val="B3B3B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grpSp>
          <p:grpSp>
            <p:nvGrpSpPr>
              <p:cNvPr id="35" name="Group 34">
                <a:extLst>
                  <a:ext uri="{FF2B5EF4-FFF2-40B4-BE49-F238E27FC236}">
                    <a16:creationId xmlns:a16="http://schemas.microsoft.com/office/drawing/2014/main" id="{16E9E7DB-8508-4D6E-978E-B3D20666BF04}"/>
                  </a:ext>
                </a:extLst>
              </p:cNvPr>
              <p:cNvGrpSpPr/>
              <p:nvPr/>
            </p:nvGrpSpPr>
            <p:grpSpPr bwMode="gray">
              <a:xfrm>
                <a:off x="4950443" y="4184919"/>
                <a:ext cx="572516" cy="92447"/>
                <a:chOff x="6534976" y="4304499"/>
                <a:chExt cx="667109" cy="107722"/>
              </a:xfrm>
            </p:grpSpPr>
            <p:sp>
              <p:nvSpPr>
                <p:cNvPr id="68" name="Rectangle 67">
                  <a:extLst>
                    <a:ext uri="{FF2B5EF4-FFF2-40B4-BE49-F238E27FC236}">
                      <a16:creationId xmlns:a16="http://schemas.microsoft.com/office/drawing/2014/main" id="{F9D9363B-960F-42C1-BFE4-2BF76E38B76A}"/>
                    </a:ext>
                  </a:extLst>
                </p:cNvPr>
                <p:cNvSpPr>
                  <a:spLocks noChangeArrowheads="1"/>
                </p:cNvSpPr>
                <p:nvPr/>
              </p:nvSpPr>
              <p:spPr bwMode="gray">
                <a:xfrm>
                  <a:off x="6722787" y="4304499"/>
                  <a:ext cx="479298"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Marina East</a:t>
                  </a:r>
                  <a:endParaRPr kumimoji="0" lang="en-US" altLang="en-US" sz="600" b="0" i="0" u="none" strike="noStrike" cap="none" normalizeH="0" baseline="0" dirty="0">
                    <a:ln>
                      <a:noFill/>
                    </a:ln>
                    <a:solidFill>
                      <a:srgbClr val="000000"/>
                    </a:solidFill>
                    <a:effectLst/>
                  </a:endParaRPr>
                </a:p>
              </p:txBody>
            </p:sp>
            <p:sp>
              <p:nvSpPr>
                <p:cNvPr id="69" name="Freeform: Shape 68">
                  <a:extLst>
                    <a:ext uri="{FF2B5EF4-FFF2-40B4-BE49-F238E27FC236}">
                      <a16:creationId xmlns:a16="http://schemas.microsoft.com/office/drawing/2014/main" id="{09B81EA1-BCFF-4E26-93EE-61C78C8E8C24}"/>
                    </a:ext>
                  </a:extLst>
                </p:cNvPr>
                <p:cNvSpPr/>
                <p:nvPr/>
              </p:nvSpPr>
              <p:spPr bwMode="gray">
                <a:xfrm>
                  <a:off x="6534976" y="4353948"/>
                  <a:ext cx="155504" cy="0"/>
                </a:xfrm>
                <a:custGeom>
                  <a:avLst/>
                  <a:gdLst>
                    <a:gd name="connsiteX0" fmla="*/ 0 w 188119"/>
                    <a:gd name="connsiteY0" fmla="*/ 0 h 0"/>
                    <a:gd name="connsiteX1" fmla="*/ 188119 w 188119"/>
                    <a:gd name="connsiteY1" fmla="*/ 0 h 0"/>
                  </a:gdLst>
                  <a:ahLst/>
                  <a:cxnLst>
                    <a:cxn ang="0">
                      <a:pos x="connsiteX0" y="connsiteY0"/>
                    </a:cxn>
                    <a:cxn ang="0">
                      <a:pos x="connsiteX1" y="connsiteY1"/>
                    </a:cxn>
                  </a:cxnLst>
                  <a:rect l="l" t="t" r="r" b="b"/>
                  <a:pathLst>
                    <a:path w="188119">
                      <a:moveTo>
                        <a:pt x="0" y="0"/>
                      </a:moveTo>
                      <a:lnTo>
                        <a:pt x="188119" y="0"/>
                      </a:lnTo>
                    </a:path>
                  </a:pathLst>
                </a:custGeom>
                <a:noFill/>
                <a:ln w="6350" cap="sq">
                  <a:solidFill>
                    <a:srgbClr val="B3B3B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grpSp>
          <p:grpSp>
            <p:nvGrpSpPr>
              <p:cNvPr id="36" name="Group 35">
                <a:extLst>
                  <a:ext uri="{FF2B5EF4-FFF2-40B4-BE49-F238E27FC236}">
                    <a16:creationId xmlns:a16="http://schemas.microsoft.com/office/drawing/2014/main" id="{B5A5256C-F911-4929-9AAD-8F9C998D9FC1}"/>
                  </a:ext>
                </a:extLst>
              </p:cNvPr>
              <p:cNvGrpSpPr/>
              <p:nvPr/>
            </p:nvGrpSpPr>
            <p:grpSpPr bwMode="gray">
              <a:xfrm>
                <a:off x="4651440" y="4302326"/>
                <a:ext cx="1006339" cy="307852"/>
                <a:chOff x="6186570" y="4441305"/>
                <a:chExt cx="1172610" cy="358717"/>
              </a:xfrm>
            </p:grpSpPr>
            <p:sp>
              <p:nvSpPr>
                <p:cNvPr id="64" name="Rectangle 63">
                  <a:extLst>
                    <a:ext uri="{FF2B5EF4-FFF2-40B4-BE49-F238E27FC236}">
                      <a16:creationId xmlns:a16="http://schemas.microsoft.com/office/drawing/2014/main" id="{B014606C-027D-4BA4-91A8-17D019C7FA72}"/>
                    </a:ext>
                  </a:extLst>
                </p:cNvPr>
                <p:cNvSpPr>
                  <a:spLocks noChangeArrowheads="1"/>
                </p:cNvSpPr>
                <p:nvPr/>
              </p:nvSpPr>
              <p:spPr bwMode="gray">
                <a:xfrm>
                  <a:off x="6722787" y="4692300"/>
                  <a:ext cx="636393"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Downtown Core</a:t>
                  </a:r>
                  <a:endParaRPr kumimoji="0" lang="en-US" altLang="en-US" sz="600" b="0" i="0" u="none" strike="noStrike" cap="none" normalizeH="0" baseline="0" dirty="0">
                    <a:ln>
                      <a:noFill/>
                    </a:ln>
                    <a:solidFill>
                      <a:srgbClr val="000000"/>
                    </a:solidFill>
                    <a:effectLst/>
                  </a:endParaRPr>
                </a:p>
              </p:txBody>
            </p:sp>
            <p:sp>
              <p:nvSpPr>
                <p:cNvPr id="65" name="Freeform: Shape 64">
                  <a:extLst>
                    <a:ext uri="{FF2B5EF4-FFF2-40B4-BE49-F238E27FC236}">
                      <a16:creationId xmlns:a16="http://schemas.microsoft.com/office/drawing/2014/main" id="{7D1D93D3-A765-4737-947D-A20FC712B7F1}"/>
                    </a:ext>
                  </a:extLst>
                </p:cNvPr>
                <p:cNvSpPr/>
                <p:nvPr/>
              </p:nvSpPr>
              <p:spPr bwMode="gray">
                <a:xfrm>
                  <a:off x="6186570" y="4441305"/>
                  <a:ext cx="503910" cy="295565"/>
                </a:xfrm>
                <a:custGeom>
                  <a:avLst/>
                  <a:gdLst>
                    <a:gd name="connsiteX0" fmla="*/ 0 w 495300"/>
                    <a:gd name="connsiteY0" fmla="*/ 0 h 238125"/>
                    <a:gd name="connsiteX1" fmla="*/ 0 w 495300"/>
                    <a:gd name="connsiteY1" fmla="*/ 238125 h 238125"/>
                    <a:gd name="connsiteX2" fmla="*/ 495300 w 495300"/>
                    <a:gd name="connsiteY2" fmla="*/ 238125 h 238125"/>
                  </a:gdLst>
                  <a:ahLst/>
                  <a:cxnLst>
                    <a:cxn ang="0">
                      <a:pos x="connsiteX0" y="connsiteY0"/>
                    </a:cxn>
                    <a:cxn ang="0">
                      <a:pos x="connsiteX1" y="connsiteY1"/>
                    </a:cxn>
                    <a:cxn ang="0">
                      <a:pos x="connsiteX2" y="connsiteY2"/>
                    </a:cxn>
                  </a:cxnLst>
                  <a:rect l="l" t="t" r="r" b="b"/>
                  <a:pathLst>
                    <a:path w="495300" h="238125">
                      <a:moveTo>
                        <a:pt x="0" y="0"/>
                      </a:moveTo>
                      <a:lnTo>
                        <a:pt x="0" y="238125"/>
                      </a:lnTo>
                      <a:lnTo>
                        <a:pt x="495300" y="238125"/>
                      </a:lnTo>
                    </a:path>
                  </a:pathLst>
                </a:custGeom>
                <a:noFill/>
                <a:ln w="6350" cap="sq">
                  <a:solidFill>
                    <a:srgbClr val="B3B3B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grpSp>
          <p:grpSp>
            <p:nvGrpSpPr>
              <p:cNvPr id="37" name="Group 36">
                <a:extLst>
                  <a:ext uri="{FF2B5EF4-FFF2-40B4-BE49-F238E27FC236}">
                    <a16:creationId xmlns:a16="http://schemas.microsoft.com/office/drawing/2014/main" id="{0874ECBB-3C8D-41D2-B0A1-30DDAFFA5C94}"/>
                  </a:ext>
                </a:extLst>
              </p:cNvPr>
              <p:cNvGrpSpPr/>
              <p:nvPr/>
            </p:nvGrpSpPr>
            <p:grpSpPr bwMode="gray">
              <a:xfrm>
                <a:off x="4529791" y="4243541"/>
                <a:ext cx="838776" cy="451591"/>
                <a:chOff x="6044822" y="4372807"/>
                <a:chExt cx="977362" cy="526205"/>
              </a:xfrm>
            </p:grpSpPr>
            <p:sp>
              <p:nvSpPr>
                <p:cNvPr id="62" name="Rectangle 61">
                  <a:extLst>
                    <a:ext uri="{FF2B5EF4-FFF2-40B4-BE49-F238E27FC236}">
                      <a16:creationId xmlns:a16="http://schemas.microsoft.com/office/drawing/2014/main" id="{C65DA95D-FD0E-4F53-84FB-28859386C868}"/>
                    </a:ext>
                  </a:extLst>
                </p:cNvPr>
                <p:cNvSpPr>
                  <a:spLocks noChangeArrowheads="1"/>
                </p:cNvSpPr>
                <p:nvPr/>
              </p:nvSpPr>
              <p:spPr bwMode="gray">
                <a:xfrm>
                  <a:off x="6720819" y="4791290"/>
                  <a:ext cx="301365"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Outram</a:t>
                  </a:r>
                  <a:endParaRPr kumimoji="0" lang="en-US" altLang="en-US" sz="600" b="0" i="0" u="none" strike="noStrike" cap="none" normalizeH="0" baseline="0" dirty="0">
                    <a:ln>
                      <a:noFill/>
                    </a:ln>
                    <a:solidFill>
                      <a:srgbClr val="000000"/>
                    </a:solidFill>
                    <a:effectLst/>
                  </a:endParaRPr>
                </a:p>
              </p:txBody>
            </p:sp>
            <p:sp>
              <p:nvSpPr>
                <p:cNvPr id="63" name="Freeform: Shape 62">
                  <a:extLst>
                    <a:ext uri="{FF2B5EF4-FFF2-40B4-BE49-F238E27FC236}">
                      <a16:creationId xmlns:a16="http://schemas.microsoft.com/office/drawing/2014/main" id="{64592C99-8B83-47AE-88A9-F34DE3C219DA}"/>
                    </a:ext>
                  </a:extLst>
                </p:cNvPr>
                <p:cNvSpPr/>
                <p:nvPr/>
              </p:nvSpPr>
              <p:spPr bwMode="gray">
                <a:xfrm>
                  <a:off x="6044822" y="4372807"/>
                  <a:ext cx="645658" cy="463052"/>
                </a:xfrm>
                <a:custGeom>
                  <a:avLst/>
                  <a:gdLst>
                    <a:gd name="connsiteX0" fmla="*/ 0 w 495300"/>
                    <a:gd name="connsiteY0" fmla="*/ 0 h 238125"/>
                    <a:gd name="connsiteX1" fmla="*/ 0 w 495300"/>
                    <a:gd name="connsiteY1" fmla="*/ 238125 h 238125"/>
                    <a:gd name="connsiteX2" fmla="*/ 495300 w 495300"/>
                    <a:gd name="connsiteY2" fmla="*/ 238125 h 238125"/>
                  </a:gdLst>
                  <a:ahLst/>
                  <a:cxnLst>
                    <a:cxn ang="0">
                      <a:pos x="connsiteX0" y="connsiteY0"/>
                    </a:cxn>
                    <a:cxn ang="0">
                      <a:pos x="connsiteX1" y="connsiteY1"/>
                    </a:cxn>
                    <a:cxn ang="0">
                      <a:pos x="connsiteX2" y="connsiteY2"/>
                    </a:cxn>
                  </a:cxnLst>
                  <a:rect l="l" t="t" r="r" b="b"/>
                  <a:pathLst>
                    <a:path w="495300" h="238125">
                      <a:moveTo>
                        <a:pt x="0" y="0"/>
                      </a:moveTo>
                      <a:lnTo>
                        <a:pt x="0" y="238125"/>
                      </a:lnTo>
                      <a:lnTo>
                        <a:pt x="495300" y="238125"/>
                      </a:lnTo>
                    </a:path>
                  </a:pathLst>
                </a:custGeom>
                <a:noFill/>
                <a:ln w="6350" cap="sq">
                  <a:solidFill>
                    <a:srgbClr val="B3B3B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grpSp>
          <p:grpSp>
            <p:nvGrpSpPr>
              <p:cNvPr id="42" name="Group 41">
                <a:extLst>
                  <a:ext uri="{FF2B5EF4-FFF2-40B4-BE49-F238E27FC236}">
                    <a16:creationId xmlns:a16="http://schemas.microsoft.com/office/drawing/2014/main" id="{762CB42F-7ED3-4312-ABF2-A562F4C61667}"/>
                  </a:ext>
                </a:extLst>
              </p:cNvPr>
              <p:cNvGrpSpPr/>
              <p:nvPr/>
            </p:nvGrpSpPr>
            <p:grpSpPr bwMode="gray">
              <a:xfrm>
                <a:off x="4485890" y="4127587"/>
                <a:ext cx="1178566" cy="646508"/>
                <a:chOff x="5993667" y="4237694"/>
                <a:chExt cx="1373294" cy="753328"/>
              </a:xfrm>
            </p:grpSpPr>
            <p:sp>
              <p:nvSpPr>
                <p:cNvPr id="59" name="Rectangle 58">
                  <a:extLst>
                    <a:ext uri="{FF2B5EF4-FFF2-40B4-BE49-F238E27FC236}">
                      <a16:creationId xmlns:a16="http://schemas.microsoft.com/office/drawing/2014/main" id="{58369240-F71B-4464-B30D-7EF491902381}"/>
                    </a:ext>
                  </a:extLst>
                </p:cNvPr>
                <p:cNvSpPr>
                  <a:spLocks noChangeArrowheads="1"/>
                </p:cNvSpPr>
                <p:nvPr/>
              </p:nvSpPr>
              <p:spPr bwMode="gray">
                <a:xfrm>
                  <a:off x="6718813" y="4883433"/>
                  <a:ext cx="648148" cy="107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Singapore River</a:t>
                  </a:r>
                  <a:endParaRPr kumimoji="0" lang="en-US" altLang="en-US" sz="600" b="0" i="0" u="none" strike="noStrike" cap="none" normalizeH="0" baseline="0" dirty="0">
                    <a:ln>
                      <a:noFill/>
                    </a:ln>
                    <a:solidFill>
                      <a:srgbClr val="000000"/>
                    </a:solidFill>
                    <a:effectLst/>
                  </a:endParaRPr>
                </a:p>
              </p:txBody>
            </p:sp>
            <p:sp>
              <p:nvSpPr>
                <p:cNvPr id="60" name="Freeform: Shape 59">
                  <a:extLst>
                    <a:ext uri="{FF2B5EF4-FFF2-40B4-BE49-F238E27FC236}">
                      <a16:creationId xmlns:a16="http://schemas.microsoft.com/office/drawing/2014/main" id="{EC58433E-55A0-4E19-B494-145FF1091274}"/>
                    </a:ext>
                  </a:extLst>
                </p:cNvPr>
                <p:cNvSpPr/>
                <p:nvPr/>
              </p:nvSpPr>
              <p:spPr bwMode="gray">
                <a:xfrm>
                  <a:off x="5993667" y="4237694"/>
                  <a:ext cx="696814" cy="690308"/>
                </a:xfrm>
                <a:custGeom>
                  <a:avLst/>
                  <a:gdLst>
                    <a:gd name="connsiteX0" fmla="*/ 0 w 495300"/>
                    <a:gd name="connsiteY0" fmla="*/ 0 h 238125"/>
                    <a:gd name="connsiteX1" fmla="*/ 0 w 495300"/>
                    <a:gd name="connsiteY1" fmla="*/ 238125 h 238125"/>
                    <a:gd name="connsiteX2" fmla="*/ 495300 w 495300"/>
                    <a:gd name="connsiteY2" fmla="*/ 238125 h 238125"/>
                  </a:gdLst>
                  <a:ahLst/>
                  <a:cxnLst>
                    <a:cxn ang="0">
                      <a:pos x="connsiteX0" y="connsiteY0"/>
                    </a:cxn>
                    <a:cxn ang="0">
                      <a:pos x="connsiteX1" y="connsiteY1"/>
                    </a:cxn>
                    <a:cxn ang="0">
                      <a:pos x="connsiteX2" y="connsiteY2"/>
                    </a:cxn>
                  </a:cxnLst>
                  <a:rect l="l" t="t" r="r" b="b"/>
                  <a:pathLst>
                    <a:path w="495300" h="238125">
                      <a:moveTo>
                        <a:pt x="0" y="0"/>
                      </a:moveTo>
                      <a:lnTo>
                        <a:pt x="0" y="238125"/>
                      </a:lnTo>
                      <a:lnTo>
                        <a:pt x="495300" y="238125"/>
                      </a:lnTo>
                    </a:path>
                  </a:pathLst>
                </a:custGeom>
                <a:noFill/>
                <a:ln w="6350" cap="sq">
                  <a:solidFill>
                    <a:srgbClr val="B3B3B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grpSp>
          <p:grpSp>
            <p:nvGrpSpPr>
              <p:cNvPr id="44" name="Group 43">
                <a:extLst>
                  <a:ext uri="{FF2B5EF4-FFF2-40B4-BE49-F238E27FC236}">
                    <a16:creationId xmlns:a16="http://schemas.microsoft.com/office/drawing/2014/main" id="{3B2AB5DA-2C75-498C-A38E-B0F237F2A674}"/>
                  </a:ext>
                </a:extLst>
              </p:cNvPr>
              <p:cNvGrpSpPr/>
              <p:nvPr/>
            </p:nvGrpSpPr>
            <p:grpSpPr bwMode="gray">
              <a:xfrm>
                <a:off x="3943801" y="4742477"/>
                <a:ext cx="577795" cy="204056"/>
                <a:chOff x="5362012" y="4954180"/>
                <a:chExt cx="673261" cy="237771"/>
              </a:xfrm>
            </p:grpSpPr>
            <p:sp>
              <p:nvSpPr>
                <p:cNvPr id="57" name="Rectangle 56">
                  <a:extLst>
                    <a:ext uri="{FF2B5EF4-FFF2-40B4-BE49-F238E27FC236}">
                      <a16:creationId xmlns:a16="http://schemas.microsoft.com/office/drawing/2014/main" id="{7099FF2D-4B70-4741-B89F-68F205FE588A}"/>
                    </a:ext>
                  </a:extLst>
                </p:cNvPr>
                <p:cNvSpPr>
                  <a:spLocks noChangeArrowheads="1"/>
                </p:cNvSpPr>
                <p:nvPr/>
              </p:nvSpPr>
              <p:spPr bwMode="gray">
                <a:xfrm>
                  <a:off x="5362012" y="5084230"/>
                  <a:ext cx="673261" cy="107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Southern Islands</a:t>
                  </a:r>
                  <a:endParaRPr kumimoji="0" lang="en-US" altLang="en-US" sz="600" b="0" i="0" u="none" strike="noStrike" cap="none" normalizeH="0" baseline="0" dirty="0">
                    <a:ln>
                      <a:noFill/>
                    </a:ln>
                    <a:solidFill>
                      <a:srgbClr val="000000"/>
                    </a:solidFill>
                    <a:effectLst/>
                  </a:endParaRPr>
                </a:p>
              </p:txBody>
            </p:sp>
            <p:sp>
              <p:nvSpPr>
                <p:cNvPr id="58" name="Freeform: Shape 57">
                  <a:extLst>
                    <a:ext uri="{FF2B5EF4-FFF2-40B4-BE49-F238E27FC236}">
                      <a16:creationId xmlns:a16="http://schemas.microsoft.com/office/drawing/2014/main" id="{46BBAD14-C942-4D0E-906A-2F7309F6586D}"/>
                    </a:ext>
                  </a:extLst>
                </p:cNvPr>
                <p:cNvSpPr/>
                <p:nvPr/>
              </p:nvSpPr>
              <p:spPr bwMode="gray">
                <a:xfrm>
                  <a:off x="5893970" y="4954180"/>
                  <a:ext cx="0" cy="130049"/>
                </a:xfrm>
                <a:custGeom>
                  <a:avLst/>
                  <a:gdLst>
                    <a:gd name="connsiteX0" fmla="*/ 0 w 0"/>
                    <a:gd name="connsiteY0" fmla="*/ 0 h 157163"/>
                    <a:gd name="connsiteX1" fmla="*/ 0 w 0"/>
                    <a:gd name="connsiteY1" fmla="*/ 157163 h 157163"/>
                  </a:gdLst>
                  <a:ahLst/>
                  <a:cxnLst>
                    <a:cxn ang="0">
                      <a:pos x="connsiteX0" y="connsiteY0"/>
                    </a:cxn>
                    <a:cxn ang="0">
                      <a:pos x="connsiteX1" y="connsiteY1"/>
                    </a:cxn>
                  </a:cxnLst>
                  <a:rect l="l" t="t" r="r" b="b"/>
                  <a:pathLst>
                    <a:path h="157163">
                      <a:moveTo>
                        <a:pt x="0" y="0"/>
                      </a:moveTo>
                      <a:lnTo>
                        <a:pt x="0" y="157163"/>
                      </a:lnTo>
                    </a:path>
                  </a:pathLst>
                </a:custGeom>
                <a:noFill/>
                <a:ln w="9525">
                  <a:solidFill>
                    <a:srgbClr val="B3B3B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000000"/>
                    </a:solidFill>
                  </a:endParaRPr>
                </a:p>
              </p:txBody>
            </p:sp>
          </p:grpSp>
          <p:grpSp>
            <p:nvGrpSpPr>
              <p:cNvPr id="45" name="Group 44">
                <a:extLst>
                  <a:ext uri="{FF2B5EF4-FFF2-40B4-BE49-F238E27FC236}">
                    <a16:creationId xmlns:a16="http://schemas.microsoft.com/office/drawing/2014/main" id="{5EEBBC7F-DF40-4F57-95DC-EC218145D143}"/>
                  </a:ext>
                </a:extLst>
              </p:cNvPr>
              <p:cNvGrpSpPr/>
              <p:nvPr/>
            </p:nvGrpSpPr>
            <p:grpSpPr bwMode="gray">
              <a:xfrm>
                <a:off x="3642207" y="3994395"/>
                <a:ext cx="699531" cy="606405"/>
                <a:chOff x="5010587" y="4082496"/>
                <a:chExt cx="815110" cy="706599"/>
              </a:xfrm>
            </p:grpSpPr>
            <p:sp>
              <p:nvSpPr>
                <p:cNvPr id="55" name="Rectangle 54">
                  <a:extLst>
                    <a:ext uri="{FF2B5EF4-FFF2-40B4-BE49-F238E27FC236}">
                      <a16:creationId xmlns:a16="http://schemas.microsoft.com/office/drawing/2014/main" id="{FD6833BA-9EE3-4389-B6C9-D112D2EC17F9}"/>
                    </a:ext>
                  </a:extLst>
                </p:cNvPr>
                <p:cNvSpPr>
                  <a:spLocks noChangeArrowheads="1"/>
                </p:cNvSpPr>
                <p:nvPr/>
              </p:nvSpPr>
              <p:spPr bwMode="gray">
                <a:xfrm>
                  <a:off x="5010587" y="4681506"/>
                  <a:ext cx="481908" cy="107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River Valley</a:t>
                  </a:r>
                  <a:endParaRPr kumimoji="0" lang="en-US" altLang="en-US" sz="600" b="0" i="0" u="none" strike="noStrike" cap="none" normalizeH="0" baseline="0" dirty="0">
                    <a:ln>
                      <a:noFill/>
                    </a:ln>
                    <a:solidFill>
                      <a:srgbClr val="000000"/>
                    </a:solidFill>
                    <a:effectLst/>
                  </a:endParaRPr>
                </a:p>
              </p:txBody>
            </p:sp>
            <p:sp>
              <p:nvSpPr>
                <p:cNvPr id="56" name="Freeform: Shape 55">
                  <a:extLst>
                    <a:ext uri="{FF2B5EF4-FFF2-40B4-BE49-F238E27FC236}">
                      <a16:creationId xmlns:a16="http://schemas.microsoft.com/office/drawing/2014/main" id="{1890095E-F9FB-48AE-B868-C3C30359EC07}"/>
                    </a:ext>
                  </a:extLst>
                </p:cNvPr>
                <p:cNvSpPr/>
                <p:nvPr/>
              </p:nvSpPr>
              <p:spPr bwMode="gray">
                <a:xfrm flipH="1">
                  <a:off x="5526500" y="4082496"/>
                  <a:ext cx="299197" cy="654373"/>
                </a:xfrm>
                <a:custGeom>
                  <a:avLst/>
                  <a:gdLst>
                    <a:gd name="connsiteX0" fmla="*/ 0 w 495300"/>
                    <a:gd name="connsiteY0" fmla="*/ 0 h 238125"/>
                    <a:gd name="connsiteX1" fmla="*/ 0 w 495300"/>
                    <a:gd name="connsiteY1" fmla="*/ 238125 h 238125"/>
                    <a:gd name="connsiteX2" fmla="*/ 495300 w 495300"/>
                    <a:gd name="connsiteY2" fmla="*/ 238125 h 238125"/>
                  </a:gdLst>
                  <a:ahLst/>
                  <a:cxnLst>
                    <a:cxn ang="0">
                      <a:pos x="connsiteX0" y="connsiteY0"/>
                    </a:cxn>
                    <a:cxn ang="0">
                      <a:pos x="connsiteX1" y="connsiteY1"/>
                    </a:cxn>
                    <a:cxn ang="0">
                      <a:pos x="connsiteX2" y="connsiteY2"/>
                    </a:cxn>
                  </a:cxnLst>
                  <a:rect l="l" t="t" r="r" b="b"/>
                  <a:pathLst>
                    <a:path w="495300" h="238125">
                      <a:moveTo>
                        <a:pt x="0" y="0"/>
                      </a:moveTo>
                      <a:lnTo>
                        <a:pt x="0" y="238125"/>
                      </a:lnTo>
                      <a:lnTo>
                        <a:pt x="495300" y="238125"/>
                      </a:lnTo>
                    </a:path>
                  </a:pathLst>
                </a:custGeom>
                <a:noFill/>
                <a:ln w="6350" cap="sq">
                  <a:solidFill>
                    <a:srgbClr val="B3B3B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grpSp>
          <p:grpSp>
            <p:nvGrpSpPr>
              <p:cNvPr id="46" name="Group 45">
                <a:extLst>
                  <a:ext uri="{FF2B5EF4-FFF2-40B4-BE49-F238E27FC236}">
                    <a16:creationId xmlns:a16="http://schemas.microsoft.com/office/drawing/2014/main" id="{8C093F96-E959-446B-AF09-4D463C68D097}"/>
                  </a:ext>
                </a:extLst>
              </p:cNvPr>
              <p:cNvGrpSpPr/>
              <p:nvPr/>
            </p:nvGrpSpPr>
            <p:grpSpPr bwMode="gray">
              <a:xfrm>
                <a:off x="3776515" y="3950591"/>
                <a:ext cx="623814" cy="740919"/>
                <a:chOff x="5167086" y="4031454"/>
                <a:chExt cx="726883" cy="863338"/>
              </a:xfrm>
            </p:grpSpPr>
            <p:sp>
              <p:nvSpPr>
                <p:cNvPr id="53" name="Rectangle 52">
                  <a:extLst>
                    <a:ext uri="{FF2B5EF4-FFF2-40B4-BE49-F238E27FC236}">
                      <a16:creationId xmlns:a16="http://schemas.microsoft.com/office/drawing/2014/main" id="{5CC11C76-EC6A-447F-9AA4-9DEC0E98AA29}"/>
                    </a:ext>
                  </a:extLst>
                </p:cNvPr>
                <p:cNvSpPr>
                  <a:spLocks noChangeArrowheads="1"/>
                </p:cNvSpPr>
                <p:nvPr/>
              </p:nvSpPr>
              <p:spPr bwMode="gray">
                <a:xfrm>
                  <a:off x="5167086" y="4787070"/>
                  <a:ext cx="325410"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Orchard</a:t>
                  </a:r>
                  <a:endParaRPr kumimoji="0" lang="en-US" altLang="en-US" sz="600" b="0" i="0" u="none" strike="noStrike" cap="none" normalizeH="0" baseline="0" dirty="0">
                    <a:ln>
                      <a:noFill/>
                    </a:ln>
                    <a:solidFill>
                      <a:srgbClr val="000000"/>
                    </a:solidFill>
                    <a:effectLst/>
                  </a:endParaRPr>
                </a:p>
              </p:txBody>
            </p:sp>
            <p:sp>
              <p:nvSpPr>
                <p:cNvPr id="54" name="Freeform: Shape 53">
                  <a:extLst>
                    <a:ext uri="{FF2B5EF4-FFF2-40B4-BE49-F238E27FC236}">
                      <a16:creationId xmlns:a16="http://schemas.microsoft.com/office/drawing/2014/main" id="{DAC5DBDE-A5AB-4F8E-81EC-B6573594958A}"/>
                    </a:ext>
                  </a:extLst>
                </p:cNvPr>
                <p:cNvSpPr/>
                <p:nvPr/>
              </p:nvSpPr>
              <p:spPr bwMode="gray">
                <a:xfrm flipH="1">
                  <a:off x="5526499" y="4031454"/>
                  <a:ext cx="367470" cy="800185"/>
                </a:xfrm>
                <a:custGeom>
                  <a:avLst/>
                  <a:gdLst>
                    <a:gd name="connsiteX0" fmla="*/ 0 w 495300"/>
                    <a:gd name="connsiteY0" fmla="*/ 0 h 238125"/>
                    <a:gd name="connsiteX1" fmla="*/ 0 w 495300"/>
                    <a:gd name="connsiteY1" fmla="*/ 238125 h 238125"/>
                    <a:gd name="connsiteX2" fmla="*/ 495300 w 495300"/>
                    <a:gd name="connsiteY2" fmla="*/ 238125 h 238125"/>
                  </a:gdLst>
                  <a:ahLst/>
                  <a:cxnLst>
                    <a:cxn ang="0">
                      <a:pos x="connsiteX0" y="connsiteY0"/>
                    </a:cxn>
                    <a:cxn ang="0">
                      <a:pos x="connsiteX1" y="connsiteY1"/>
                    </a:cxn>
                    <a:cxn ang="0">
                      <a:pos x="connsiteX2" y="connsiteY2"/>
                    </a:cxn>
                  </a:cxnLst>
                  <a:rect l="l" t="t" r="r" b="b"/>
                  <a:pathLst>
                    <a:path w="495300" h="238125">
                      <a:moveTo>
                        <a:pt x="0" y="0"/>
                      </a:moveTo>
                      <a:lnTo>
                        <a:pt x="0" y="238125"/>
                      </a:lnTo>
                      <a:lnTo>
                        <a:pt x="495300" y="238125"/>
                      </a:lnTo>
                    </a:path>
                  </a:pathLst>
                </a:custGeom>
                <a:noFill/>
                <a:ln w="6350" cap="sq">
                  <a:solidFill>
                    <a:srgbClr val="B3B3B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grpSp>
          <p:grpSp>
            <p:nvGrpSpPr>
              <p:cNvPr id="47" name="Group 46">
                <a:extLst>
                  <a:ext uri="{FF2B5EF4-FFF2-40B4-BE49-F238E27FC236}">
                    <a16:creationId xmlns:a16="http://schemas.microsoft.com/office/drawing/2014/main" id="{E568031F-13B6-470B-ABCE-275642E41604}"/>
                  </a:ext>
                </a:extLst>
              </p:cNvPr>
              <p:cNvGrpSpPr/>
              <p:nvPr/>
            </p:nvGrpSpPr>
            <p:grpSpPr bwMode="gray">
              <a:xfrm>
                <a:off x="3792889" y="3878440"/>
                <a:ext cx="656961" cy="879873"/>
                <a:chOff x="5186166" y="3947382"/>
                <a:chExt cx="765507" cy="1025250"/>
              </a:xfrm>
            </p:grpSpPr>
            <p:sp>
              <p:nvSpPr>
                <p:cNvPr id="51" name="Rectangle 50">
                  <a:extLst>
                    <a:ext uri="{FF2B5EF4-FFF2-40B4-BE49-F238E27FC236}">
                      <a16:creationId xmlns:a16="http://schemas.microsoft.com/office/drawing/2014/main" id="{AA0BC851-03C8-4EC5-A555-1B2CE65328B5}"/>
                    </a:ext>
                  </a:extLst>
                </p:cNvPr>
                <p:cNvSpPr>
                  <a:spLocks noChangeArrowheads="1"/>
                </p:cNvSpPr>
                <p:nvPr/>
              </p:nvSpPr>
              <p:spPr bwMode="gray">
                <a:xfrm>
                  <a:off x="5186166" y="4865043"/>
                  <a:ext cx="306329" cy="107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Newton</a:t>
                  </a:r>
                  <a:endParaRPr kumimoji="0" lang="en-US" altLang="en-US" sz="600" b="0" i="0" u="none" strike="noStrike" cap="none" normalizeH="0" baseline="0" dirty="0">
                    <a:ln>
                      <a:noFill/>
                    </a:ln>
                    <a:solidFill>
                      <a:srgbClr val="000000"/>
                    </a:solidFill>
                    <a:effectLst/>
                  </a:endParaRPr>
                </a:p>
              </p:txBody>
            </p:sp>
            <p:sp>
              <p:nvSpPr>
                <p:cNvPr id="52" name="Freeform: Shape 51">
                  <a:extLst>
                    <a:ext uri="{FF2B5EF4-FFF2-40B4-BE49-F238E27FC236}">
                      <a16:creationId xmlns:a16="http://schemas.microsoft.com/office/drawing/2014/main" id="{6A91A304-8C14-4808-9F7E-D70BBCADF51B}"/>
                    </a:ext>
                  </a:extLst>
                </p:cNvPr>
                <p:cNvSpPr/>
                <p:nvPr/>
              </p:nvSpPr>
              <p:spPr bwMode="gray">
                <a:xfrm flipH="1">
                  <a:off x="5526498" y="3947382"/>
                  <a:ext cx="425175" cy="971614"/>
                </a:xfrm>
                <a:custGeom>
                  <a:avLst/>
                  <a:gdLst>
                    <a:gd name="connsiteX0" fmla="*/ 0 w 495300"/>
                    <a:gd name="connsiteY0" fmla="*/ 0 h 238125"/>
                    <a:gd name="connsiteX1" fmla="*/ 0 w 495300"/>
                    <a:gd name="connsiteY1" fmla="*/ 238125 h 238125"/>
                    <a:gd name="connsiteX2" fmla="*/ 495300 w 495300"/>
                    <a:gd name="connsiteY2" fmla="*/ 238125 h 238125"/>
                  </a:gdLst>
                  <a:ahLst/>
                  <a:cxnLst>
                    <a:cxn ang="0">
                      <a:pos x="connsiteX0" y="connsiteY0"/>
                    </a:cxn>
                    <a:cxn ang="0">
                      <a:pos x="connsiteX1" y="connsiteY1"/>
                    </a:cxn>
                    <a:cxn ang="0">
                      <a:pos x="connsiteX2" y="connsiteY2"/>
                    </a:cxn>
                  </a:cxnLst>
                  <a:rect l="l" t="t" r="r" b="b"/>
                  <a:pathLst>
                    <a:path w="495300" h="238125">
                      <a:moveTo>
                        <a:pt x="0" y="0"/>
                      </a:moveTo>
                      <a:lnTo>
                        <a:pt x="0" y="238125"/>
                      </a:lnTo>
                      <a:lnTo>
                        <a:pt x="495300" y="238125"/>
                      </a:lnTo>
                    </a:path>
                  </a:pathLst>
                </a:custGeom>
                <a:noFill/>
                <a:ln w="6350" cap="sq">
                  <a:solidFill>
                    <a:srgbClr val="B3B3B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0000"/>
                    </a:solidFill>
                  </a:endParaRPr>
                </a:p>
              </p:txBody>
            </p:sp>
          </p:grpSp>
          <p:grpSp>
            <p:nvGrpSpPr>
              <p:cNvPr id="48" name="Group 47">
                <a:extLst>
                  <a:ext uri="{FF2B5EF4-FFF2-40B4-BE49-F238E27FC236}">
                    <a16:creationId xmlns:a16="http://schemas.microsoft.com/office/drawing/2014/main" id="{E7D6B193-E11E-4688-A701-DED691220D8D}"/>
                  </a:ext>
                </a:extLst>
              </p:cNvPr>
              <p:cNvGrpSpPr/>
              <p:nvPr/>
            </p:nvGrpSpPr>
            <p:grpSpPr>
              <a:xfrm>
                <a:off x="4638675" y="2196263"/>
                <a:ext cx="641030" cy="92333"/>
                <a:chOff x="4638675" y="2196263"/>
                <a:chExt cx="641030" cy="92333"/>
              </a:xfrm>
            </p:grpSpPr>
            <p:sp>
              <p:nvSpPr>
                <p:cNvPr id="49" name="Rectangle 48">
                  <a:extLst>
                    <a:ext uri="{FF2B5EF4-FFF2-40B4-BE49-F238E27FC236}">
                      <a16:creationId xmlns:a16="http://schemas.microsoft.com/office/drawing/2014/main" id="{FA87243C-E877-485C-9B2F-2199B4A72D87}"/>
                    </a:ext>
                  </a:extLst>
                </p:cNvPr>
                <p:cNvSpPr>
                  <a:spLocks noChangeArrowheads="1"/>
                </p:cNvSpPr>
                <p:nvPr/>
              </p:nvSpPr>
              <p:spPr bwMode="gray">
                <a:xfrm>
                  <a:off x="4973531" y="2196263"/>
                  <a:ext cx="306174" cy="9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000000"/>
                      </a:solidFill>
                      <a:effectLst/>
                      <a:latin typeface="Arial Unicode MS" panose="020B0604020202020204" pitchFamily="34" charset="-128"/>
                    </a:rPr>
                    <a:t>Simpang</a:t>
                  </a:r>
                  <a:endParaRPr kumimoji="0" lang="en-US" altLang="en-US" sz="600" b="0" i="0" u="none" strike="noStrike" cap="none" normalizeH="0" baseline="0" dirty="0">
                    <a:ln>
                      <a:noFill/>
                    </a:ln>
                    <a:solidFill>
                      <a:srgbClr val="000000"/>
                    </a:solidFill>
                    <a:effectLst/>
                  </a:endParaRPr>
                </a:p>
              </p:txBody>
            </p:sp>
            <p:sp>
              <p:nvSpPr>
                <p:cNvPr id="50" name="Freeform: Shape 49">
                  <a:extLst>
                    <a:ext uri="{FF2B5EF4-FFF2-40B4-BE49-F238E27FC236}">
                      <a16:creationId xmlns:a16="http://schemas.microsoft.com/office/drawing/2014/main" id="{94276378-27DB-4729-8FFE-A19D9E0C2A4A}"/>
                    </a:ext>
                  </a:extLst>
                </p:cNvPr>
                <p:cNvSpPr/>
                <p:nvPr/>
              </p:nvSpPr>
              <p:spPr>
                <a:xfrm>
                  <a:off x="4638675" y="2244725"/>
                  <a:ext cx="304800" cy="0"/>
                </a:xfrm>
                <a:custGeom>
                  <a:avLst/>
                  <a:gdLst>
                    <a:gd name="connsiteX0" fmla="*/ 0 w 304800"/>
                    <a:gd name="connsiteY0" fmla="*/ 0 h 0"/>
                    <a:gd name="connsiteX1" fmla="*/ 304800 w 304800"/>
                    <a:gd name="connsiteY1" fmla="*/ 0 h 0"/>
                  </a:gdLst>
                  <a:ahLst/>
                  <a:cxnLst>
                    <a:cxn ang="0">
                      <a:pos x="connsiteX0" y="connsiteY0"/>
                    </a:cxn>
                    <a:cxn ang="0">
                      <a:pos x="connsiteX1" y="connsiteY1"/>
                    </a:cxn>
                  </a:cxnLst>
                  <a:rect l="l" t="t" r="r" b="b"/>
                  <a:pathLst>
                    <a:path w="304800">
                      <a:moveTo>
                        <a:pt x="0" y="0"/>
                      </a:moveTo>
                      <a:lnTo>
                        <a:pt x="304800" y="0"/>
                      </a:lnTo>
                    </a:path>
                  </a:pathLst>
                </a:custGeom>
                <a:noFill/>
                <a:ln w="9525">
                  <a:solidFill>
                    <a:srgbClr val="B3B3B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sp>
        <p:nvSpPr>
          <p:cNvPr id="12" name="Rectangle 11">
            <a:extLst>
              <a:ext uri="{FF2B5EF4-FFF2-40B4-BE49-F238E27FC236}">
                <a16:creationId xmlns:a16="http://schemas.microsoft.com/office/drawing/2014/main" id="{B1761C13-1190-4398-829C-AB8E1BD23C5B}"/>
              </a:ext>
            </a:extLst>
          </p:cNvPr>
          <p:cNvSpPr/>
          <p:nvPr/>
        </p:nvSpPr>
        <p:spPr>
          <a:xfrm>
            <a:off x="7329264" y="2047294"/>
            <a:ext cx="360040" cy="175127"/>
          </a:xfrm>
          <a:prstGeom prst="rect">
            <a:avLst/>
          </a:prstGeom>
          <a:solidFill>
            <a:schemeClr val="accent6">
              <a:lumMod val="20000"/>
              <a:lumOff val="80000"/>
            </a:schemeClr>
          </a:solidFill>
        </p:spPr>
        <p:txBody>
          <a:bodyPr wrap="square" rtlCol="0" anchor="ctr">
            <a:noAutofit/>
          </a:bodyPr>
          <a:lstStyle/>
          <a:p>
            <a:pPr marL="0" algn="ctr" fontAlgn="ctr">
              <a:lnSpc>
                <a:spcPct val="114000"/>
              </a:lnSpc>
              <a:spcAft>
                <a:spcPts val="400"/>
              </a:spcAft>
            </a:pPr>
            <a:endParaRPr kumimoji="1" lang="en-US" sz="1200" dirty="0"/>
          </a:p>
        </p:txBody>
      </p:sp>
      <p:sp>
        <p:nvSpPr>
          <p:cNvPr id="175" name="Rectangle 174">
            <a:extLst>
              <a:ext uri="{FF2B5EF4-FFF2-40B4-BE49-F238E27FC236}">
                <a16:creationId xmlns:a16="http://schemas.microsoft.com/office/drawing/2014/main" id="{0DFAECF7-0150-4E7A-ADE9-0131E1AB0ACB}"/>
              </a:ext>
            </a:extLst>
          </p:cNvPr>
          <p:cNvSpPr/>
          <p:nvPr/>
        </p:nvSpPr>
        <p:spPr>
          <a:xfrm>
            <a:off x="7329264" y="2291453"/>
            <a:ext cx="360040" cy="175127"/>
          </a:xfrm>
          <a:prstGeom prst="rect">
            <a:avLst/>
          </a:prstGeom>
          <a:solidFill>
            <a:schemeClr val="accent6">
              <a:lumMod val="40000"/>
              <a:lumOff val="60000"/>
            </a:schemeClr>
          </a:solidFill>
        </p:spPr>
        <p:txBody>
          <a:bodyPr wrap="square" rtlCol="0" anchor="ctr">
            <a:noAutofit/>
          </a:bodyPr>
          <a:lstStyle/>
          <a:p>
            <a:pPr marL="0" algn="ctr" fontAlgn="ctr">
              <a:lnSpc>
                <a:spcPct val="114000"/>
              </a:lnSpc>
              <a:spcAft>
                <a:spcPts val="400"/>
              </a:spcAft>
            </a:pPr>
            <a:endParaRPr kumimoji="1" lang="en-US" sz="1200" dirty="0"/>
          </a:p>
        </p:txBody>
      </p:sp>
      <p:sp>
        <p:nvSpPr>
          <p:cNvPr id="13" name="TextBox 12">
            <a:extLst>
              <a:ext uri="{FF2B5EF4-FFF2-40B4-BE49-F238E27FC236}">
                <a16:creationId xmlns:a16="http://schemas.microsoft.com/office/drawing/2014/main" id="{1DA266BD-AFE4-4BEF-BE65-996AFBB230FD}"/>
              </a:ext>
            </a:extLst>
          </p:cNvPr>
          <p:cNvSpPr txBox="1"/>
          <p:nvPr/>
        </p:nvSpPr>
        <p:spPr>
          <a:xfrm>
            <a:off x="7697242" y="2024278"/>
            <a:ext cx="15762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000" dirty="0"/>
              <a:t>居住者の多い地区トップ</a:t>
            </a:r>
            <a:r>
              <a:rPr lang="en-US" altLang="ja-JP" sz="1000" dirty="0"/>
              <a:t>5</a:t>
            </a:r>
            <a:endParaRPr lang="en-US" sz="1000" dirty="0"/>
          </a:p>
        </p:txBody>
      </p:sp>
      <p:sp>
        <p:nvSpPr>
          <p:cNvPr id="176" name="TextBox 175">
            <a:extLst>
              <a:ext uri="{FF2B5EF4-FFF2-40B4-BE49-F238E27FC236}">
                <a16:creationId xmlns:a16="http://schemas.microsoft.com/office/drawing/2014/main" id="{36A9D9D9-DCF0-43A2-929E-C9DAF2BCCA19}"/>
              </a:ext>
            </a:extLst>
          </p:cNvPr>
          <p:cNvSpPr txBox="1"/>
          <p:nvPr/>
        </p:nvSpPr>
        <p:spPr>
          <a:xfrm>
            <a:off x="7697242" y="2240384"/>
            <a:ext cx="1576238" cy="246221"/>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000" dirty="0"/>
              <a:t>勤務先地区トップ３</a:t>
            </a:r>
            <a:endParaRPr lang="en-US" sz="1000" dirty="0"/>
          </a:p>
        </p:txBody>
      </p:sp>
    </p:spTree>
    <p:extLst>
      <p:ext uri="{BB962C8B-B14F-4D97-AF65-F5344CB8AC3E}">
        <p14:creationId xmlns:p14="http://schemas.microsoft.com/office/powerpoint/2010/main" val="317396410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0" name="think-cell Slide" r:id="rId4" imgW="499" imgH="499" progId="TCLayout.ActiveDocument.1">
                  <p:embed/>
                </p:oleObj>
              </mc:Choice>
              <mc:Fallback>
                <p:oleObj name="think-cell Slide" r:id="rId4" imgW="499" imgH="499"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ケニア／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AMED</a:t>
            </a:r>
            <a:r>
              <a:rPr lang="ja-JP" altLang="en-US" dirty="0"/>
              <a:t>の主な関連事業</a:t>
            </a:r>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a:t>
            </a:r>
            <a:endParaRPr lang="en-US" altLang="ja-JP" sz="800" dirty="0"/>
          </a:p>
        </p:txBody>
      </p:sp>
      <p:graphicFrame>
        <p:nvGraphicFramePr>
          <p:cNvPr id="11" name="表 10"/>
          <p:cNvGraphicFramePr>
            <a:graphicFrameLocks noGrp="1"/>
          </p:cNvGraphicFramePr>
          <p:nvPr/>
        </p:nvGraphicFramePr>
        <p:xfrm>
          <a:off x="200472" y="1052736"/>
          <a:ext cx="9504000" cy="1223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249059">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2022</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ーズ開発・研究基盤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んに対する</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iggyBac</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遺伝子導入新規キメラ抗原受容体</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AR)-T</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細胞療法開発に関する国際共同研究</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大学法人信州大学</a:t>
                      </a:r>
                      <a:endPar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度は</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現在日本側が有する</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iggyBac(PB)</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遺伝子導入技術を用いた</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AR-T</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細胞培養法について、シンガポール側研究施設への技術移転を行う。また、共同で</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AR-</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γδT</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細胞作製の遺伝子導入条件検討し、最適な遺伝子導入条件を決定した後、</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B</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法による</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AR-</a:t>
                      </a:r>
                      <a:r>
                        <a:rPr kumimoji="1" lang="en-US" altLang="ja-JP"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γδT</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細胞を作製し、</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n vitro</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での抗腫瘍効果活性を評価する。</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4203542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CEAFF9D-1C42-4F48-BFC0-A2EFC1370AD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4"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2CEAFF9D-1C42-4F48-BFC0-A2EFC1370A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シンガポール／</a:t>
            </a:r>
            <a:r>
              <a:rPr lang="ja-JP" altLang="en-US" dirty="0"/>
              <a:t>日本との関わり</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ETRO</a:t>
            </a:r>
            <a:r>
              <a:rPr lang="ja-JP" altLang="en-US" dirty="0"/>
              <a:t>の主な医療国際化関連事業</a:t>
            </a:r>
          </a:p>
        </p:txBody>
      </p:sp>
      <p:sp>
        <p:nvSpPr>
          <p:cNvPr id="4" name="テキスト ボックス 3"/>
          <p:cNvSpPr txBox="1"/>
          <p:nvPr/>
        </p:nvSpPr>
        <p:spPr>
          <a:xfrm>
            <a:off x="200472" y="1124744"/>
            <a:ext cx="9505056" cy="22166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下記のほか</a:t>
            </a:r>
            <a:r>
              <a:rPr lang="ja-JP" altLang="en-US" sz="1400" b="0" i="0" dirty="0">
                <a:solidFill>
                  <a:srgbClr val="000000"/>
                </a:solidFill>
                <a:effectLst/>
                <a:latin typeface="ヒラギノ角ゴ Pro W3"/>
              </a:rPr>
              <a:t>輸出入や海外進出の実務の相談を無料で行うことが可能（</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kumimoji="1" lang="zh-TW" altLang="en-US" sz="1400" dirty="0">
                <a:latin typeface="Arial" panose="020B0604020202020204" pitchFamily="34" charset="0"/>
                <a:ea typeface="ＭＳ Ｐゴシック" panose="020B0600070205080204" pitchFamily="50" charset="-128"/>
                <a:cs typeface="Arial" panose="020B0604020202020204" pitchFamily="34" charset="0"/>
              </a:rPr>
              <a:t>貿易投資相談</a:t>
            </a:r>
            <a:r>
              <a:rPr lang="ja-JP" altLang="en-US" sz="1400" b="0" i="0" dirty="0">
                <a:solidFill>
                  <a:srgbClr val="000000"/>
                </a:solidFill>
                <a:effectLst/>
                <a:latin typeface="ヒラギノ角ゴ Pro W3"/>
              </a:rPr>
              <a:t>）</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正方形/長方形 9"/>
          <p:cNvSpPr/>
          <p:nvPr/>
        </p:nvSpPr>
        <p:spPr>
          <a:xfrm>
            <a:off x="5248786" y="2348880"/>
            <a:ext cx="4168709" cy="3746538"/>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b="0" i="0" dirty="0">
                <a:solidFill>
                  <a:srgbClr val="000000"/>
                </a:solidFill>
                <a:effectLst/>
                <a:latin typeface="ヒラギノ角ゴ Pro W3"/>
              </a:rPr>
              <a:t>「</a:t>
            </a:r>
            <a:r>
              <a:rPr lang="en-US" altLang="ja-JP" sz="1400" b="0" i="0" dirty="0">
                <a:solidFill>
                  <a:srgbClr val="000000"/>
                </a:solidFill>
                <a:effectLst/>
                <a:latin typeface="ヒラギノ角ゴ Pro W3"/>
              </a:rPr>
              <a:t>ASEAN</a:t>
            </a:r>
            <a:r>
              <a:rPr lang="ja-JP" altLang="en-US" sz="1400" b="0" i="0" dirty="0">
                <a:solidFill>
                  <a:srgbClr val="000000"/>
                </a:solidFill>
                <a:effectLst/>
                <a:latin typeface="ヒラギノ角ゴ Pro W3"/>
              </a:rPr>
              <a:t>医療機器指令の概要と各国の対応状況向調査」</a:t>
            </a:r>
            <a:r>
              <a:rPr lang="en-US" altLang="ja-JP" sz="1400" b="0" i="0" dirty="0">
                <a:solidFill>
                  <a:srgbClr val="000000"/>
                </a:solidFill>
                <a:effectLst/>
                <a:latin typeface="ヒラギノ角ゴ Pro W3"/>
              </a:rPr>
              <a:t>-</a:t>
            </a:r>
            <a:r>
              <a:rPr lang="ja-JP" altLang="en-US" sz="1400" b="0" i="0" dirty="0">
                <a:solidFill>
                  <a:srgbClr val="000000"/>
                </a:solidFill>
                <a:effectLst/>
                <a:latin typeface="ヒラギノ角ゴ Pro W3"/>
              </a:rPr>
              <a:t>（</a:t>
            </a:r>
            <a:r>
              <a:rPr lang="en-US" altLang="ja-JP" sz="1400" b="0" i="0" dirty="0">
                <a:solidFill>
                  <a:srgbClr val="000000"/>
                </a:solidFill>
                <a:effectLst/>
                <a:latin typeface="ヒラギノ角ゴ Pro W3"/>
              </a:rPr>
              <a:t>2022</a:t>
            </a:r>
            <a:r>
              <a:rPr lang="ja-JP" altLang="en-US" sz="1400" b="0" i="0" dirty="0">
                <a:solidFill>
                  <a:srgbClr val="000000"/>
                </a:solidFill>
                <a:effectLst/>
                <a:latin typeface="ヒラギノ角ゴ Pro W3"/>
              </a:rPr>
              <a:t>年）</a:t>
            </a:r>
            <a:endParaRPr lang="en-US" altLang="ja-JP" sz="1400" b="0" i="0" dirty="0">
              <a:solidFill>
                <a:srgbClr val="000000"/>
              </a:solidFill>
              <a:effectLst/>
              <a:latin typeface="ヒラギノ角ゴ Pro W3"/>
            </a:endParaRPr>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b="0" i="0" dirty="0">
                <a:solidFill>
                  <a:srgbClr val="000000"/>
                </a:solidFill>
                <a:effectLst/>
                <a:latin typeface="ヒラギノ角ゴ Pro W3"/>
              </a:rPr>
              <a:t>「多国籍企業によるシンガポールを拠点としたオープンイノベーション </a:t>
            </a:r>
            <a:r>
              <a:rPr lang="en-US" altLang="ja-JP" sz="1400" b="0" i="0" dirty="0">
                <a:solidFill>
                  <a:srgbClr val="000000"/>
                </a:solidFill>
                <a:effectLst/>
                <a:latin typeface="ヒラギノ角ゴ Pro W3"/>
              </a:rPr>
              <a:t>―</a:t>
            </a:r>
            <a:r>
              <a:rPr lang="ja-JP" altLang="en-US" sz="1400" b="0" i="0" dirty="0">
                <a:solidFill>
                  <a:srgbClr val="000000"/>
                </a:solidFill>
                <a:effectLst/>
                <a:latin typeface="ヒラギノ角ゴ Pro W3"/>
              </a:rPr>
              <a:t>スタートアップとの協業、ベンチャー創出活動のケーススタディ</a:t>
            </a:r>
            <a:r>
              <a:rPr lang="en-US" altLang="ja-JP" sz="1400" b="0" i="0" dirty="0">
                <a:solidFill>
                  <a:srgbClr val="000000"/>
                </a:solidFill>
                <a:effectLst/>
                <a:latin typeface="ヒラギノ角ゴ Pro W3"/>
              </a:rPr>
              <a:t>―</a:t>
            </a:r>
            <a:r>
              <a:rPr lang="ja-JP" altLang="en-US" sz="1400" b="0" i="0" dirty="0">
                <a:solidFill>
                  <a:srgbClr val="000000"/>
                </a:solidFill>
                <a:effectLst/>
                <a:latin typeface="ヒラギノ角ゴ Pro W3"/>
              </a:rPr>
              <a:t>」</a:t>
            </a:r>
            <a:r>
              <a:rPr lang="en-US" altLang="ja-JP" sz="1400" b="0" i="0" dirty="0">
                <a:solidFill>
                  <a:srgbClr val="000000"/>
                </a:solidFill>
                <a:effectLst/>
                <a:latin typeface="ヒラギノ角ゴ Pro W3"/>
              </a:rPr>
              <a:t>-</a:t>
            </a:r>
            <a:r>
              <a:rPr lang="ja-JP" altLang="en-US" sz="1400" b="0" i="0" dirty="0">
                <a:solidFill>
                  <a:srgbClr val="000000"/>
                </a:solidFill>
                <a:effectLst/>
                <a:latin typeface="ヒラギノ角ゴ Pro W3"/>
              </a:rPr>
              <a:t>（</a:t>
            </a:r>
            <a:r>
              <a:rPr lang="en-US" altLang="ja-JP" sz="1400" b="0" i="0" dirty="0">
                <a:solidFill>
                  <a:srgbClr val="000000"/>
                </a:solidFill>
                <a:effectLst/>
                <a:latin typeface="ヒラギノ角ゴ Pro W3"/>
              </a:rPr>
              <a:t>2022</a:t>
            </a:r>
            <a:r>
              <a:rPr lang="ja-JP" altLang="en-US" sz="1400" b="0" i="0" dirty="0">
                <a:solidFill>
                  <a:srgbClr val="000000"/>
                </a:solidFill>
                <a:effectLst/>
                <a:latin typeface="ヒラギノ角ゴ Pro W3"/>
              </a:rPr>
              <a:t>年）</a:t>
            </a:r>
            <a:endParaRPr lang="en-US" altLang="ja-JP" sz="1400" b="0" i="0" dirty="0">
              <a:solidFill>
                <a:srgbClr val="000000"/>
              </a:solidFill>
              <a:effectLst/>
              <a:latin typeface="ヒラギノ角ゴ Pro W3"/>
            </a:endParaRPr>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b="0" i="0" dirty="0">
                <a:solidFill>
                  <a:srgbClr val="000000"/>
                </a:solidFill>
                <a:effectLst/>
                <a:latin typeface="ヒラギノ角ゴ Pro W3"/>
              </a:rPr>
              <a:t>「シンガポール概況と日系企業の進出動向」</a:t>
            </a:r>
            <a:r>
              <a:rPr lang="en-US" altLang="ja-JP" sz="1400" b="0" i="0" dirty="0">
                <a:solidFill>
                  <a:srgbClr val="000000"/>
                </a:solidFill>
                <a:effectLst/>
                <a:latin typeface="ヒラギノ角ゴ Pro W3"/>
              </a:rPr>
              <a:t>-</a:t>
            </a:r>
            <a:r>
              <a:rPr lang="ja-JP" altLang="en-US" sz="1400" b="0" i="0" dirty="0">
                <a:solidFill>
                  <a:srgbClr val="000000"/>
                </a:solidFill>
                <a:effectLst/>
                <a:latin typeface="ヒラギノ角ゴ Pro W3"/>
              </a:rPr>
              <a:t>（</a:t>
            </a:r>
            <a:r>
              <a:rPr lang="en-US" altLang="ja-JP" sz="1400" b="0" i="0" dirty="0">
                <a:solidFill>
                  <a:srgbClr val="000000"/>
                </a:solidFill>
                <a:effectLst/>
                <a:latin typeface="ヒラギノ角ゴ Pro W3"/>
              </a:rPr>
              <a:t>2021</a:t>
            </a:r>
            <a:r>
              <a:rPr lang="ja-JP" altLang="en-US" sz="1400" b="0" i="0" dirty="0">
                <a:solidFill>
                  <a:srgbClr val="000000"/>
                </a:solidFill>
                <a:effectLst/>
                <a:latin typeface="ヒラギノ角ゴ Pro W3"/>
              </a:rPr>
              <a:t>年）</a:t>
            </a:r>
            <a:endParaRPr lang="en-US" altLang="ja-JP" sz="1400" b="0" i="0" dirty="0">
              <a:solidFill>
                <a:srgbClr val="000000"/>
              </a:solidFill>
              <a:effectLst/>
              <a:latin typeface="ヒラギノ角ゴ Pro W3"/>
            </a:endParaRPr>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solidFill>
                  <a:srgbClr val="000000"/>
                </a:solidFill>
                <a:latin typeface="ヒラギノ角ゴ Pro W3"/>
                <a:ea typeface="ＭＳ Ｐゴシック" panose="020B0600070205080204" pitchFamily="50" charset="-128"/>
                <a:cs typeface="Arial" panose="020B0604020202020204" pitchFamily="34" charset="0"/>
              </a:rPr>
              <a:t>「</a:t>
            </a:r>
            <a:r>
              <a:rPr lang="ja-JP" altLang="en-US" sz="1400" b="0" i="0" dirty="0">
                <a:solidFill>
                  <a:srgbClr val="000000"/>
                </a:solidFill>
                <a:effectLst/>
                <a:latin typeface="ヒラギノ角ゴ Pro W3"/>
              </a:rPr>
              <a:t>アジア新興国における競争力強化に資するスタートアップ投資調査報告書</a:t>
            </a:r>
            <a:r>
              <a:rPr lang="ja-JP" altLang="en-US" sz="1400" dirty="0">
                <a:solidFill>
                  <a:srgbClr val="000000"/>
                </a:solidFill>
                <a:latin typeface="ヒラギノ角ゴ Pro W3"/>
                <a:ea typeface="ＭＳ Ｐゴシック" panose="020B0600070205080204" pitchFamily="50" charset="-128"/>
                <a:cs typeface="Arial" panose="020B0604020202020204" pitchFamily="34" charset="0"/>
              </a:rPr>
              <a:t>」</a:t>
            </a:r>
            <a:r>
              <a:rPr lang="en-US" altLang="ja-JP" sz="1400" dirty="0">
                <a:solidFill>
                  <a:srgbClr val="000000"/>
                </a:solidFill>
                <a:latin typeface="ヒラギノ角ゴ Pro W3"/>
                <a:ea typeface="ＭＳ Ｐゴシック" panose="020B0600070205080204" pitchFamily="50" charset="-128"/>
                <a:cs typeface="Arial" panose="020B0604020202020204" pitchFamily="34" charset="0"/>
              </a:rPr>
              <a:t>-</a:t>
            </a:r>
            <a:r>
              <a:rPr lang="ja-JP" altLang="en-US" sz="1400" dirty="0">
                <a:solidFill>
                  <a:srgbClr val="000000"/>
                </a:solidFill>
                <a:latin typeface="ヒラギノ角ゴ Pro W3"/>
                <a:ea typeface="ＭＳ Ｐゴシック" panose="020B0600070205080204" pitchFamily="50" charset="-128"/>
                <a:cs typeface="Arial" panose="020B0604020202020204" pitchFamily="34" charset="0"/>
              </a:rPr>
              <a:t>（</a:t>
            </a:r>
            <a:r>
              <a:rPr lang="en-US" altLang="ja-JP" sz="1400" dirty="0">
                <a:solidFill>
                  <a:srgbClr val="000000"/>
                </a:solidFill>
                <a:latin typeface="ヒラギノ角ゴ Pro W3"/>
                <a:ea typeface="ＭＳ Ｐゴシック" panose="020B0600070205080204" pitchFamily="50" charset="-128"/>
                <a:cs typeface="Arial" panose="020B0604020202020204" pitchFamily="34" charset="0"/>
              </a:rPr>
              <a:t>2021</a:t>
            </a:r>
            <a:r>
              <a:rPr lang="ja-JP" altLang="en-US" sz="1400" dirty="0">
                <a:solidFill>
                  <a:srgbClr val="000000"/>
                </a:solidFill>
                <a:latin typeface="ヒラギノ角ゴ Pro W3"/>
                <a:ea typeface="ＭＳ Ｐゴシック" panose="020B0600070205080204" pitchFamily="50" charset="-128"/>
                <a:cs typeface="Arial" panose="020B0604020202020204" pitchFamily="34" charset="0"/>
              </a:rPr>
              <a:t>年）</a:t>
            </a:r>
            <a:endParaRPr lang="en-US" altLang="ja-JP" sz="1400" dirty="0">
              <a:solidFill>
                <a:srgbClr val="000000"/>
              </a:solidFill>
              <a:latin typeface="ヒラギノ角ゴ Pro W3"/>
              <a:ea typeface="ＭＳ Ｐゴシック" panose="020B0600070205080204" pitchFamily="50" charset="-128"/>
              <a:cs typeface="Arial" panose="020B0604020202020204" pitchFamily="34" charset="0"/>
            </a:endParaRPr>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solidFill>
                  <a:srgbClr val="000000"/>
                </a:solidFill>
                <a:latin typeface="ヒラギノ角ゴ Pro W3"/>
                <a:ea typeface="ＭＳ Ｐゴシック" panose="020B0600070205080204" pitchFamily="50" charset="-128"/>
                <a:cs typeface="Arial" panose="020B0604020202020204" pitchFamily="34" charset="0"/>
              </a:rPr>
              <a:t>「ヘルスケア・ビジネスの</a:t>
            </a:r>
            <a:r>
              <a:rPr lang="en-US" altLang="ja-JP" sz="1400" dirty="0">
                <a:solidFill>
                  <a:srgbClr val="000000"/>
                </a:solidFill>
                <a:latin typeface="ヒラギノ角ゴ Pro W3"/>
                <a:ea typeface="ＭＳ Ｐゴシック" panose="020B0600070205080204" pitchFamily="50" charset="-128"/>
                <a:cs typeface="Arial" panose="020B0604020202020204" pitchFamily="34" charset="0"/>
              </a:rPr>
              <a:t>ASEAN</a:t>
            </a:r>
            <a:r>
              <a:rPr lang="ja-JP" altLang="en-US" sz="1400" dirty="0">
                <a:solidFill>
                  <a:srgbClr val="000000"/>
                </a:solidFill>
                <a:latin typeface="ヒラギノ角ゴ Pro W3"/>
                <a:ea typeface="ＭＳ Ｐゴシック" panose="020B0600070205080204" pitchFamily="50" charset="-128"/>
                <a:cs typeface="Arial" panose="020B0604020202020204" pitchFamily="34" charset="0"/>
              </a:rPr>
              <a:t>展開」</a:t>
            </a:r>
            <a:r>
              <a:rPr lang="en-US" altLang="ja-JP" sz="1400" dirty="0">
                <a:solidFill>
                  <a:srgbClr val="000000"/>
                </a:solidFill>
                <a:latin typeface="ヒラギノ角ゴ Pro W3"/>
                <a:ea typeface="ＭＳ Ｐゴシック" panose="020B0600070205080204" pitchFamily="50" charset="-128"/>
                <a:cs typeface="Arial" panose="020B0604020202020204" pitchFamily="34" charset="0"/>
              </a:rPr>
              <a:t>-</a:t>
            </a:r>
            <a:r>
              <a:rPr lang="ja-JP" altLang="en-US" sz="1400" dirty="0">
                <a:solidFill>
                  <a:srgbClr val="000000"/>
                </a:solidFill>
                <a:latin typeface="ヒラギノ角ゴ Pro W3"/>
                <a:ea typeface="ＭＳ Ｐゴシック" panose="020B0600070205080204" pitchFamily="50" charset="-128"/>
                <a:cs typeface="Arial" panose="020B0604020202020204" pitchFamily="34" charset="0"/>
              </a:rPr>
              <a:t>（</a:t>
            </a:r>
            <a:r>
              <a:rPr lang="en-US" altLang="ja-JP" sz="1400" dirty="0">
                <a:solidFill>
                  <a:srgbClr val="000000"/>
                </a:solidFill>
                <a:latin typeface="ヒラギノ角ゴ Pro W3"/>
                <a:ea typeface="ＭＳ Ｐゴシック" panose="020B0600070205080204" pitchFamily="50" charset="-128"/>
                <a:cs typeface="Arial" panose="020B0604020202020204" pitchFamily="34" charset="0"/>
              </a:rPr>
              <a:t>2018</a:t>
            </a:r>
            <a:r>
              <a:rPr lang="ja-JP" altLang="en-US" sz="1400" dirty="0">
                <a:solidFill>
                  <a:srgbClr val="000000"/>
                </a:solidFill>
                <a:latin typeface="ヒラギノ角ゴ Pro W3"/>
                <a:ea typeface="ＭＳ Ｐゴシック" panose="020B0600070205080204" pitchFamily="50" charset="-128"/>
                <a:cs typeface="Arial" panose="020B0604020202020204" pitchFamily="34" charset="0"/>
              </a:rPr>
              <a:t>年）</a:t>
            </a:r>
            <a:endParaRPr lang="en-US" altLang="ja-JP" sz="1400" dirty="0">
              <a:solidFill>
                <a:srgbClr val="000000"/>
              </a:solidFill>
              <a:latin typeface="ヒラギノ角ゴ Pro W3"/>
              <a:ea typeface="ＭＳ Ｐゴシック" panose="020B0600070205080204" pitchFamily="50" charset="-128"/>
              <a:cs typeface="Arial" panose="020B0604020202020204" pitchFamily="34" charset="0"/>
            </a:endParaRPr>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b="0" i="0" dirty="0">
                <a:solidFill>
                  <a:srgbClr val="000000"/>
                </a:solidFill>
                <a:effectLst/>
                <a:latin typeface="ヒラギノ角ゴ Pro W3"/>
              </a:rPr>
              <a:t>「シンガポールにおける医療機器法規制とシステム」</a:t>
            </a:r>
            <a:r>
              <a:rPr lang="en-US" altLang="ja-JP" sz="1400" b="0" i="0" dirty="0">
                <a:solidFill>
                  <a:srgbClr val="000000"/>
                </a:solidFill>
                <a:effectLst/>
                <a:latin typeface="ヒラギノ角ゴ Pro W3"/>
              </a:rPr>
              <a:t>-</a:t>
            </a:r>
            <a:r>
              <a:rPr lang="ja-JP" altLang="en-US" sz="1400" b="0" i="0" dirty="0">
                <a:solidFill>
                  <a:srgbClr val="000000"/>
                </a:solidFill>
                <a:effectLst/>
                <a:latin typeface="ヒラギノ角ゴ Pro W3"/>
              </a:rPr>
              <a:t>（</a:t>
            </a:r>
            <a:r>
              <a:rPr lang="en-US" altLang="ja-JP" sz="1400" b="0" i="0" dirty="0">
                <a:solidFill>
                  <a:srgbClr val="000000"/>
                </a:solidFill>
                <a:effectLst/>
                <a:latin typeface="ヒラギノ角ゴ Pro W3"/>
              </a:rPr>
              <a:t>2010</a:t>
            </a:r>
            <a:r>
              <a:rPr lang="ja-JP" altLang="en-US" sz="1400" b="0" i="0" dirty="0">
                <a:solidFill>
                  <a:srgbClr val="000000"/>
                </a:solidFill>
                <a:effectLst/>
                <a:latin typeface="ヒラギノ角ゴ Pro W3"/>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fontAlgn="ctr">
              <a:lnSpc>
                <a:spcPct val="114000"/>
              </a:lnSpc>
              <a:spcBef>
                <a:spcPts val="600"/>
              </a:spcBef>
              <a:buClr>
                <a:srgbClr val="5F8AC3"/>
              </a:buClr>
              <a:buSzPct val="90000"/>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7"/>
          <p:cNvGrpSpPr/>
          <p:nvPr/>
        </p:nvGrpSpPr>
        <p:grpSpPr>
          <a:xfrm>
            <a:off x="5241032" y="1916832"/>
            <a:ext cx="4176465" cy="288032"/>
            <a:chOff x="4803500" y="2113806"/>
            <a:chExt cx="2954133" cy="288032"/>
          </a:xfrm>
        </p:grpSpPr>
        <p:cxnSp>
          <p:nvCxnSpPr>
            <p:cNvPr id="12" name="直線コネクタ 1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セミナー・レポートの公開（以下例示）</a:t>
              </a:r>
              <a:endParaRPr lang="zh-TW" altLang="en-US" sz="1400" dirty="0">
                <a:solidFill>
                  <a:srgbClr val="000000"/>
                </a:solidFill>
                <a:latin typeface="Arial Black" pitchFamily="34" charset="0"/>
                <a:ea typeface="HGP創英角ｺﾞｼｯｸUB" pitchFamily="50" charset="-128"/>
              </a:endParaRPr>
            </a:p>
          </p:txBody>
        </p:sp>
      </p:grpSp>
      <p:sp>
        <p:nvSpPr>
          <p:cNvPr id="18" name="テキスト ボックス 1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p>
        </p:txBody>
      </p:sp>
      <p:sp>
        <p:nvSpPr>
          <p:cNvPr id="20" name="正方形/長方形 13">
            <a:extLst>
              <a:ext uri="{FF2B5EF4-FFF2-40B4-BE49-F238E27FC236}">
                <a16:creationId xmlns:a16="http://schemas.microsoft.com/office/drawing/2014/main" id="{ACB729A5-4000-408C-8543-695E05605EBD}"/>
              </a:ext>
            </a:extLst>
          </p:cNvPr>
          <p:cNvSpPr/>
          <p:nvPr/>
        </p:nvSpPr>
        <p:spPr>
          <a:xfrm>
            <a:off x="768783" y="3861048"/>
            <a:ext cx="3888432" cy="2625078"/>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solidFill>
                  <a:srgbClr val="000000"/>
                </a:solidFill>
                <a:latin typeface="ヒラギノ角ゴ Pro W3"/>
              </a:rPr>
              <a:t>日・</a:t>
            </a:r>
            <a:r>
              <a:rPr lang="en-US" altLang="ja-JP" sz="1400" dirty="0">
                <a:solidFill>
                  <a:srgbClr val="000000"/>
                </a:solidFill>
                <a:latin typeface="ヒラギノ角ゴ Pro W3"/>
              </a:rPr>
              <a:t>ASEAN</a:t>
            </a:r>
            <a:r>
              <a:rPr lang="ja-JP" altLang="en-US" sz="1400" dirty="0">
                <a:solidFill>
                  <a:srgbClr val="000000"/>
                </a:solidFill>
                <a:latin typeface="ヒラギノ角ゴ Pro W3"/>
              </a:rPr>
              <a:t>のサプライチェーン強靱化のため、</a:t>
            </a:r>
            <a:r>
              <a:rPr lang="en-US" altLang="ja-JP" sz="1400" dirty="0">
                <a:solidFill>
                  <a:srgbClr val="000000"/>
                </a:solidFill>
                <a:latin typeface="ヒラギノ角ゴ Pro W3"/>
              </a:rPr>
              <a:t>ASEAN</a:t>
            </a:r>
            <a:r>
              <a:rPr lang="ja-JP" altLang="en-US" sz="1400" dirty="0">
                <a:solidFill>
                  <a:srgbClr val="000000"/>
                </a:solidFill>
                <a:latin typeface="ヒラギノ角ゴ Pro W3"/>
              </a:rPr>
              <a:t>等の地域において、サプライチェーン多元化を⽬的とした設備導⼊や、設備導入のための</a:t>
            </a:r>
            <a:r>
              <a:rPr lang="en-US" altLang="ja-JP" sz="1400" dirty="0">
                <a:solidFill>
                  <a:srgbClr val="000000"/>
                </a:solidFill>
                <a:latin typeface="ヒラギノ角ゴ Pro W3"/>
              </a:rPr>
              <a:t>FS</a:t>
            </a:r>
            <a:r>
              <a:rPr lang="ja-JP" altLang="en-US" sz="1400" dirty="0">
                <a:solidFill>
                  <a:srgbClr val="000000"/>
                </a:solidFill>
                <a:latin typeface="ヒラギノ角ゴ Pro W3"/>
              </a:rPr>
              <a:t>調査、実証事業等にかかる経費の一部を補助</a:t>
            </a:r>
            <a:endParaRPr lang="en-US" altLang="ja-JP" sz="1400" dirty="0">
              <a:solidFill>
                <a:srgbClr val="000000"/>
              </a:solidFill>
              <a:latin typeface="ヒラギノ角ゴ Pro W3"/>
            </a:endParaRPr>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solidFill>
                  <a:srgbClr val="000000"/>
                </a:solidFill>
                <a:latin typeface="ヒラギノ角ゴ Pro W3"/>
              </a:rPr>
              <a:t>具体的には</a:t>
            </a:r>
            <a:r>
              <a:rPr lang="en-US" altLang="ja-JP" sz="1400" dirty="0">
                <a:solidFill>
                  <a:srgbClr val="000000"/>
                </a:solidFill>
                <a:latin typeface="ヒラギノ角ゴ Pro W3"/>
              </a:rPr>
              <a:t>ⅰ</a:t>
            </a:r>
            <a:r>
              <a:rPr lang="ja-JP" altLang="en-US" sz="1400" dirty="0">
                <a:solidFill>
                  <a:srgbClr val="000000"/>
                </a:solidFill>
                <a:latin typeface="ヒラギノ角ゴ Pro W3"/>
              </a:rPr>
              <a:t>）海外サプライチェーン多元化等に資する設備導入補助事業 </a:t>
            </a:r>
            <a:r>
              <a:rPr lang="en-US" altLang="ja-JP" sz="1400" dirty="0">
                <a:solidFill>
                  <a:srgbClr val="000000"/>
                </a:solidFill>
                <a:latin typeface="ヒラギノ角ゴ Pro W3"/>
              </a:rPr>
              <a:t>ⅱ</a:t>
            </a:r>
            <a:r>
              <a:rPr lang="ja-JP" altLang="en-US" sz="1400" dirty="0">
                <a:solidFill>
                  <a:srgbClr val="000000"/>
                </a:solidFill>
                <a:latin typeface="ヒラギノ角ゴ Pro W3"/>
              </a:rPr>
              <a:t>）海外サプライチェーン多元化等に資する実証事業 </a:t>
            </a:r>
            <a:r>
              <a:rPr lang="en-US" altLang="ja-JP" sz="1400" dirty="0">
                <a:solidFill>
                  <a:srgbClr val="000000"/>
                </a:solidFill>
                <a:latin typeface="ヒラギノ角ゴ Pro W3"/>
              </a:rPr>
              <a:t>ⅲ</a:t>
            </a:r>
            <a:r>
              <a:rPr lang="ja-JP" altLang="en-US" sz="1400" dirty="0">
                <a:solidFill>
                  <a:srgbClr val="000000"/>
                </a:solidFill>
                <a:latin typeface="ヒラギノ角ゴ Pro W3"/>
              </a:rPr>
              <a:t>）海外サプライチェーン多元化等に資する実現可能性調査の</a:t>
            </a:r>
            <a:r>
              <a:rPr lang="en-US" altLang="ja-JP" sz="1400" dirty="0">
                <a:solidFill>
                  <a:srgbClr val="000000"/>
                </a:solidFill>
                <a:latin typeface="ヒラギノ角ゴ Pro W3"/>
              </a:rPr>
              <a:t>3</a:t>
            </a:r>
            <a:r>
              <a:rPr lang="ja-JP" altLang="en-US" sz="1400" dirty="0">
                <a:solidFill>
                  <a:srgbClr val="000000"/>
                </a:solidFill>
                <a:latin typeface="ヒラギノ角ゴ Pro W3"/>
              </a:rPr>
              <a:t>つの事業を実施</a:t>
            </a:r>
          </a:p>
        </p:txBody>
      </p:sp>
      <p:grpSp>
        <p:nvGrpSpPr>
          <p:cNvPr id="21" name="グループ化 7">
            <a:extLst>
              <a:ext uri="{FF2B5EF4-FFF2-40B4-BE49-F238E27FC236}">
                <a16:creationId xmlns:a16="http://schemas.microsoft.com/office/drawing/2014/main" id="{E96AB536-1280-4CAE-B13D-94F0F7BE8592}"/>
              </a:ext>
            </a:extLst>
          </p:cNvPr>
          <p:cNvGrpSpPr/>
          <p:nvPr/>
        </p:nvGrpSpPr>
        <p:grpSpPr>
          <a:xfrm>
            <a:off x="624767" y="3573016"/>
            <a:ext cx="4176465" cy="288032"/>
            <a:chOff x="4803500" y="2113806"/>
            <a:chExt cx="2954133" cy="288032"/>
          </a:xfrm>
        </p:grpSpPr>
        <p:cxnSp>
          <p:nvCxnSpPr>
            <p:cNvPr id="22" name="直線コネクタ 15">
              <a:extLst>
                <a:ext uri="{FF2B5EF4-FFF2-40B4-BE49-F238E27FC236}">
                  <a16:creationId xmlns:a16="http://schemas.microsoft.com/office/drawing/2014/main" id="{CDD7F5B4-FAA0-4F3D-B523-F5C55C2EA5B9}"/>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9647BA19-DAA8-4946-B154-8543B85DA2CD}"/>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サプライチェーン多元化等支援事業」</a:t>
              </a:r>
              <a:endParaRPr lang="zh-TW" altLang="en-US" sz="1400" dirty="0">
                <a:solidFill>
                  <a:srgbClr val="000000"/>
                </a:solidFill>
                <a:latin typeface="Arial Black" pitchFamily="34" charset="0"/>
                <a:ea typeface="HGP創英角ｺﾞｼｯｸUB" pitchFamily="50" charset="-128"/>
              </a:endParaRPr>
            </a:p>
          </p:txBody>
        </p:sp>
      </p:grpSp>
      <p:sp>
        <p:nvSpPr>
          <p:cNvPr id="26" name="TextBox 25">
            <a:extLst>
              <a:ext uri="{FF2B5EF4-FFF2-40B4-BE49-F238E27FC236}">
                <a16:creationId xmlns:a16="http://schemas.microsoft.com/office/drawing/2014/main" id="{9CA0BDD5-157A-4A0C-9953-4463B9BE8F0C}"/>
              </a:ext>
            </a:extLst>
          </p:cNvPr>
          <p:cNvSpPr txBox="1">
            <a:spLocks/>
          </p:cNvSpPr>
          <p:nvPr/>
        </p:nvSpPr>
        <p:spPr>
          <a:xfrm>
            <a:off x="768783" y="2132856"/>
            <a:ext cx="3888432" cy="1320233"/>
          </a:xfrm>
          <a:prstGeom prst="rect">
            <a:avLst/>
          </a:prstGeom>
          <a:noFill/>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en-US" altLang="ja-JP" sz="1400" dirty="0"/>
              <a:t>2022</a:t>
            </a:r>
            <a:r>
              <a:rPr lang="ja-JP" altLang="en-US" sz="1400" dirty="0"/>
              <a:t>年度は、</a:t>
            </a:r>
            <a:r>
              <a:rPr lang="en-US" altLang="ja-JP" sz="1400" dirty="0"/>
              <a:t>ASEAN</a:t>
            </a:r>
            <a:r>
              <a:rPr lang="ja-JP" altLang="en-US" sz="1400" dirty="0"/>
              <a:t>（インドネシア、カンボジア、シンガポール、タイ、フィリピン、ベトナム、マレーシア、ラオス）、中国、韓国、南西アジア（インド、スリランカ、パキスタン、バングラデシュ）からバイヤーが参加予定</a:t>
            </a:r>
            <a:endParaRPr lang="en-US" sz="1400" dirty="0"/>
          </a:p>
        </p:txBody>
      </p:sp>
      <p:grpSp>
        <p:nvGrpSpPr>
          <p:cNvPr id="30" name="グループ化 7">
            <a:extLst>
              <a:ext uri="{FF2B5EF4-FFF2-40B4-BE49-F238E27FC236}">
                <a16:creationId xmlns:a16="http://schemas.microsoft.com/office/drawing/2014/main" id="{FCFC66AE-E394-4634-86CD-39E311B33338}"/>
              </a:ext>
            </a:extLst>
          </p:cNvPr>
          <p:cNvGrpSpPr/>
          <p:nvPr/>
        </p:nvGrpSpPr>
        <p:grpSpPr>
          <a:xfrm>
            <a:off x="624767" y="1866878"/>
            <a:ext cx="4176465" cy="288032"/>
            <a:chOff x="4803500" y="2113806"/>
            <a:chExt cx="2954133" cy="288032"/>
          </a:xfrm>
        </p:grpSpPr>
        <p:cxnSp>
          <p:nvCxnSpPr>
            <p:cNvPr id="31" name="直線コネクタ 15">
              <a:extLst>
                <a:ext uri="{FF2B5EF4-FFF2-40B4-BE49-F238E27FC236}">
                  <a16:creationId xmlns:a16="http://schemas.microsoft.com/office/drawing/2014/main" id="{3DA12030-4988-41F5-83AD-EB412FFD81D0}"/>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a:extLst>
                <a:ext uri="{FF2B5EF4-FFF2-40B4-BE49-F238E27FC236}">
                  <a16:creationId xmlns:a16="http://schemas.microsoft.com/office/drawing/2014/main" id="{FDB42E81-6014-48C5-874E-17CDFE9F48AF}"/>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solidFill>
                    <a:srgbClr val="000000"/>
                  </a:solidFill>
                  <a:latin typeface="Arial Black" pitchFamily="34" charset="0"/>
                  <a:ea typeface="HGP創英角ｺﾞｼｯｸUB" pitchFamily="50" charset="-128"/>
                </a:rPr>
                <a:t>医療機器オンライン商談会（アジア地域）</a:t>
              </a:r>
              <a:endParaRPr lang="en-US" altLang="ja-JP"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28578651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6041148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67" imgW="360" imgH="360" progId="TCLayout.ActiveDocument.1">
                  <p:embed/>
                </p:oleObj>
              </mc:Choice>
              <mc:Fallback>
                <p:oleObj name="think-cell Slide" r:id="rId67" imgW="360" imgH="360" progId="TCLayout.ActiveDocument.1">
                  <p:embed/>
                  <p:pic>
                    <p:nvPicPr>
                      <p:cNvPr id="8" name="Object 7" hidden="1"/>
                      <p:cNvPicPr>
                        <a:picLocks noChangeAspect="1" noChangeArrowheads="1"/>
                      </p:cNvPicPr>
                      <p:nvPr/>
                    </p:nvPicPr>
                    <p:blipFill>
                      <a:blip r:embed="rId6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44" name="フリーフォーム 43"/>
          <p:cNvSpPr/>
          <p:nvPr/>
        </p:nvSpPr>
        <p:spPr>
          <a:xfrm>
            <a:off x="7870655"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7833321"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sp>
        <p:nvSpPr>
          <p:cNvPr id="49" name="テキスト ボックス 48"/>
          <p:cNvSpPr txBox="1"/>
          <p:nvPr/>
        </p:nvSpPr>
        <p:spPr>
          <a:xfrm>
            <a:off x="8265368"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0" name="片側の 2 つの角を丸めた四角形 49"/>
          <p:cNvSpPr/>
          <p:nvPr/>
        </p:nvSpPr>
        <p:spPr>
          <a:xfrm>
            <a:off x="8265368"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447.2</a:t>
            </a:r>
            <a:endParaRPr lang="ja-JP" altLang="en-US" sz="2000"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18660"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3" name="片側の 2 つの角を丸めた四角形 52"/>
          <p:cNvSpPr/>
          <p:nvPr/>
        </p:nvSpPr>
        <p:spPr>
          <a:xfrm>
            <a:off x="8218660"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84,50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名目</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および実質</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成長率</a:t>
              </a:r>
            </a:p>
          </p:txBody>
        </p:sp>
      </p:grpSp>
      <p:grpSp>
        <p:nvGrpSpPr>
          <p:cNvPr id="57" name="グループ化 7"/>
          <p:cNvGrpSpPr/>
          <p:nvPr/>
        </p:nvGrpSpPr>
        <p:grpSpPr>
          <a:xfrm>
            <a:off x="632520" y="4149080"/>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一人</a:t>
              </a:r>
              <a:r>
                <a:rPr lang="ja-JP" altLang="en-US" sz="1400" dirty="0">
                  <a:solidFill>
                    <a:srgbClr val="000000"/>
                  </a:solidFill>
                  <a:latin typeface="Arial Black" pitchFamily="34" charset="0"/>
                  <a:ea typeface="HGP創英角ｺﾞｼｯｸUB" pitchFamily="50" charset="-128"/>
                </a:rPr>
                <a:t>当たり名目</a:t>
              </a:r>
              <a:r>
                <a:rPr lang="en-US" altLang="zh-TW" sz="1400" dirty="0">
                  <a:solidFill>
                    <a:srgbClr val="000000"/>
                  </a:solidFill>
                  <a:latin typeface="Arial Black" pitchFamily="34" charset="0"/>
                  <a:ea typeface="HGP創英角ｺﾞｼｯｸUB" pitchFamily="50" charset="-128"/>
                </a:rPr>
                <a:t>GDP</a:t>
              </a:r>
            </a:p>
          </p:txBody>
        </p:sp>
      </p:grpSp>
      <p:sp>
        <p:nvSpPr>
          <p:cNvPr id="60" name="テキスト ボックス 59"/>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は経済規模は小さいもの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現在アジアで最も１人当た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D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高い。</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世界経済環境の弱含みの影響は受けるものの、渡航制限の緩和を受けて経済全体は回復・成長方向にある。</a:t>
            </a:r>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inistry of Trade And Industry Singapore</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29" name="Chart 128">
            <a:extLst>
              <a:ext uri="{FF2B5EF4-FFF2-40B4-BE49-F238E27FC236}">
                <a16:creationId xmlns:a16="http://schemas.microsoft.com/office/drawing/2014/main" id="{C5B0D529-6FB5-44F0-89EA-3E89EA695A07}"/>
              </a:ext>
            </a:extLst>
          </p:cNvPr>
          <p:cNvGraphicFramePr/>
          <p:nvPr>
            <p:custDataLst>
              <p:tags r:id="rId4"/>
            </p:custDataLst>
            <p:extLst>
              <p:ext uri="{D42A27DB-BD31-4B8C-83A1-F6EECF244321}">
                <p14:modId xmlns:p14="http://schemas.microsoft.com/office/powerpoint/2010/main" val="2522143294"/>
              </p:ext>
            </p:extLst>
          </p:nvPr>
        </p:nvGraphicFramePr>
        <p:xfrm>
          <a:off x="338138" y="2116138"/>
          <a:ext cx="7959725" cy="1868487"/>
        </p:xfrm>
        <a:graphic>
          <a:graphicData uri="http://schemas.openxmlformats.org/drawingml/2006/chart">
            <c:chart xmlns:c="http://schemas.openxmlformats.org/drawingml/2006/chart" xmlns:r="http://schemas.openxmlformats.org/officeDocument/2006/relationships" r:id="rId69"/>
          </a:graphicData>
        </a:graphic>
      </p:graphicFrame>
      <p:cxnSp>
        <p:nvCxnSpPr>
          <p:cNvPr id="47" name="Straight Connector 46">
            <a:extLst>
              <a:ext uri="{FF2B5EF4-FFF2-40B4-BE49-F238E27FC236}">
                <a16:creationId xmlns:a16="http://schemas.microsoft.com/office/drawing/2014/main" id="{25EA0EE3-40CB-420C-89DD-761CD4880F92}"/>
              </a:ext>
            </a:extLst>
          </p:cNvPr>
          <p:cNvCxnSpPr/>
          <p:nvPr>
            <p:custDataLst>
              <p:tags r:id="rId5"/>
            </p:custDataLst>
          </p:nvPr>
        </p:nvCxnSpPr>
        <p:spPr bwMode="auto">
          <a:xfrm>
            <a:off x="1249363" y="3336925"/>
            <a:ext cx="0" cy="319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2" name="Text Placeholder 12"/>
          <p:cNvSpPr>
            <a:spLocks noGrp="1"/>
          </p:cNvSpPr>
          <p:nvPr>
            <p:custDataLst>
              <p:tags r:id="rId6"/>
            </p:custDataLst>
          </p:nvPr>
        </p:nvSpPr>
        <p:spPr bwMode="auto">
          <a:xfrm>
            <a:off x="7951788"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30" name="Text Placeholder 12"/>
          <p:cNvSpPr>
            <a:spLocks noGrp="1"/>
          </p:cNvSpPr>
          <p:nvPr>
            <p:custDataLst>
              <p:tags r:id="rId7"/>
            </p:custDataLst>
          </p:nvPr>
        </p:nvSpPr>
        <p:spPr bwMode="auto">
          <a:xfrm>
            <a:off x="21351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8122F03-87E9-44A4-B61D-AEDDE6B397BA}" type="datetime'''''''''''''0''''''''''''''''''''4'''''''''''''''''''''''">
              <a:rPr lang="ja-JP" altLang="en-US" sz="1000" b="0"/>
              <a:pPr algn="ctr">
                <a:spcBef>
                  <a:spcPct val="0"/>
                </a:spcBef>
                <a:spcAft>
                  <a:spcPct val="0"/>
                </a:spcAft>
              </a:pPr>
              <a:t>04</a:t>
            </a:fld>
            <a:endParaRPr kumimoji="0" lang="ja-JP" altLang="en-US" sz="1000" b="0" dirty="0">
              <a:sym typeface="+mn-lt"/>
            </a:endParaRPr>
          </a:p>
        </p:txBody>
      </p:sp>
      <p:sp>
        <p:nvSpPr>
          <p:cNvPr id="29" name="Text Placeholder 12"/>
          <p:cNvSpPr>
            <a:spLocks noGrp="1"/>
          </p:cNvSpPr>
          <p:nvPr>
            <p:custDataLst>
              <p:tags r:id="rId8"/>
            </p:custDataLst>
          </p:nvPr>
        </p:nvSpPr>
        <p:spPr bwMode="auto">
          <a:xfrm>
            <a:off x="18145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6CB8413-86EA-4E18-80CF-C4773EDFB8BE}" type="datetime'''''0''''''3'''''''''">
              <a:rPr lang="ja-JP" altLang="en-US" sz="1000" b="0"/>
              <a:pPr algn="ctr">
                <a:spcBef>
                  <a:spcPct val="0"/>
                </a:spcBef>
                <a:spcAft>
                  <a:spcPct val="0"/>
                </a:spcAft>
              </a:pPr>
              <a:t>03</a:t>
            </a:fld>
            <a:endParaRPr kumimoji="0" lang="ja-JP" altLang="en-US" sz="1000" b="0" dirty="0">
              <a:sym typeface="+mn-lt"/>
            </a:endParaRPr>
          </a:p>
        </p:txBody>
      </p:sp>
      <p:sp>
        <p:nvSpPr>
          <p:cNvPr id="39" name="Text Placeholder 12"/>
          <p:cNvSpPr>
            <a:spLocks noGrp="1"/>
          </p:cNvSpPr>
          <p:nvPr>
            <p:custDataLst>
              <p:tags r:id="rId9"/>
            </p:custDataLst>
          </p:nvPr>
        </p:nvSpPr>
        <p:spPr bwMode="auto">
          <a:xfrm>
            <a:off x="50260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150507E-391E-4C64-B6F9-FF72E9BB0259}" type="datetime'''''1''''''''''''''''''''''3'''''''''''''''''">
              <a:rPr lang="ja-JP" altLang="en-US" sz="1000" b="0"/>
              <a:pPr algn="ctr">
                <a:spcBef>
                  <a:spcPct val="0"/>
                </a:spcBef>
                <a:spcAft>
                  <a:spcPct val="0"/>
                </a:spcAft>
              </a:pPr>
              <a:t>13</a:t>
            </a:fld>
            <a:endParaRPr kumimoji="0" lang="ja-JP" altLang="en-US" sz="1000" b="0" dirty="0">
              <a:sym typeface="+mn-lt"/>
            </a:endParaRPr>
          </a:p>
        </p:txBody>
      </p:sp>
      <p:sp>
        <p:nvSpPr>
          <p:cNvPr id="28" name="Text Placeholder 12"/>
          <p:cNvSpPr>
            <a:spLocks noGrp="1"/>
          </p:cNvSpPr>
          <p:nvPr>
            <p:custDataLst>
              <p:tags r:id="rId10"/>
            </p:custDataLst>
          </p:nvPr>
        </p:nvSpPr>
        <p:spPr bwMode="auto">
          <a:xfrm>
            <a:off x="14938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0F8B8B-DC28-4481-BC44-0B8329098133}" type="datetime'''''''''''''''''''0''''''''''''''''''''''''''''''''''2'''">
              <a:rPr lang="ja-JP" altLang="en-US" sz="1000" b="0"/>
              <a:pPr algn="ctr">
                <a:spcBef>
                  <a:spcPct val="0"/>
                </a:spcBef>
                <a:spcAft>
                  <a:spcPct val="0"/>
                </a:spcAft>
              </a:pPr>
              <a:t>02</a:t>
            </a:fld>
            <a:endParaRPr kumimoji="0" lang="ja-JP" altLang="en-US" sz="1000" b="0" dirty="0">
              <a:sym typeface="+mn-lt"/>
            </a:endParaRPr>
          </a:p>
        </p:txBody>
      </p:sp>
      <p:sp>
        <p:nvSpPr>
          <p:cNvPr id="40" name="Text Placeholder 12"/>
          <p:cNvSpPr>
            <a:spLocks noGrp="1"/>
          </p:cNvSpPr>
          <p:nvPr>
            <p:custDataLst>
              <p:tags r:id="rId11"/>
            </p:custDataLst>
          </p:nvPr>
        </p:nvSpPr>
        <p:spPr bwMode="auto">
          <a:xfrm>
            <a:off x="53467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4380FE1-1935-4611-8C66-E103BB7984F9}" type="datetime'''''1''''''''''''''''''''''''''''4'''''''''''''">
              <a:rPr lang="ja-JP" altLang="en-US" sz="1000" b="0"/>
              <a:pPr algn="ctr">
                <a:spcBef>
                  <a:spcPct val="0"/>
                </a:spcBef>
                <a:spcAft>
                  <a:spcPct val="0"/>
                </a:spcAft>
              </a:pPr>
              <a:t>14</a:t>
            </a:fld>
            <a:endParaRPr kumimoji="0" lang="ja-JP" altLang="en-US" sz="1000" b="0" dirty="0">
              <a:sym typeface="+mn-lt"/>
            </a:endParaRPr>
          </a:p>
        </p:txBody>
      </p:sp>
      <p:sp>
        <p:nvSpPr>
          <p:cNvPr id="26" name="Text Placeholder 12"/>
          <p:cNvSpPr>
            <a:spLocks noGrp="1"/>
          </p:cNvSpPr>
          <p:nvPr>
            <p:custDataLst>
              <p:tags r:id="rId12"/>
            </p:custDataLst>
          </p:nvPr>
        </p:nvSpPr>
        <p:spPr bwMode="auto">
          <a:xfrm>
            <a:off x="781050"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57D1FAB-6CD7-49A3-B6E4-072E6475572F}" type="datetime'''''''2''''''''''''''''00''''0'''''''''''''''''">
              <a:rPr lang="ja-JP" altLang="en-US" sz="1000" b="0"/>
              <a:pPr algn="ctr">
                <a:spcBef>
                  <a:spcPct val="0"/>
                </a:spcBef>
                <a:spcAft>
                  <a:spcPct val="0"/>
                </a:spcAft>
              </a:pPr>
              <a:t>2000</a:t>
            </a:fld>
            <a:endParaRPr kumimoji="0" lang="ja-JP" altLang="en-US" sz="1000" b="0" dirty="0">
              <a:sym typeface="+mn-lt"/>
            </a:endParaRPr>
          </a:p>
        </p:txBody>
      </p:sp>
      <p:sp>
        <p:nvSpPr>
          <p:cNvPr id="27" name="Text Placeholder 12"/>
          <p:cNvSpPr>
            <a:spLocks noGrp="1"/>
          </p:cNvSpPr>
          <p:nvPr>
            <p:custDataLst>
              <p:tags r:id="rId13"/>
            </p:custDataLst>
          </p:nvPr>
        </p:nvSpPr>
        <p:spPr bwMode="auto">
          <a:xfrm>
            <a:off x="11731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E59A78-71EE-444C-BA1B-1071F6327E9D}" type="datetime'''''''0''''''''''''''''''''''''''''''''1'''''">
              <a:rPr lang="ja-JP" altLang="en-US" sz="1000" b="0"/>
              <a:pPr algn="ctr">
                <a:spcBef>
                  <a:spcPct val="0"/>
                </a:spcBef>
                <a:spcAft>
                  <a:spcPct val="0"/>
                </a:spcAft>
              </a:pPr>
              <a:t>01</a:t>
            </a:fld>
            <a:endParaRPr kumimoji="0" lang="ja-JP" altLang="en-US" sz="1000" b="0" dirty="0">
              <a:sym typeface="+mn-lt"/>
            </a:endParaRPr>
          </a:p>
        </p:txBody>
      </p:sp>
      <p:sp>
        <p:nvSpPr>
          <p:cNvPr id="32" name="Text Placeholder 12"/>
          <p:cNvSpPr>
            <a:spLocks noGrp="1"/>
          </p:cNvSpPr>
          <p:nvPr>
            <p:custDataLst>
              <p:tags r:id="rId14"/>
            </p:custDataLst>
          </p:nvPr>
        </p:nvSpPr>
        <p:spPr bwMode="auto">
          <a:xfrm>
            <a:off x="27781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AF145C9-0490-42F9-A25F-225595C1ED6A}" type="datetime'''''''''''0''''''''''''''''''6'''''">
              <a:rPr lang="ja-JP" altLang="en-US" sz="1000" b="0"/>
              <a:pPr algn="ctr">
                <a:spcBef>
                  <a:spcPct val="0"/>
                </a:spcBef>
                <a:spcAft>
                  <a:spcPct val="0"/>
                </a:spcAft>
              </a:pPr>
              <a:t>06</a:t>
            </a:fld>
            <a:endParaRPr kumimoji="0" lang="ja-JP" altLang="en-US" sz="1000" b="0" dirty="0">
              <a:sym typeface="+mn-lt"/>
            </a:endParaRPr>
          </a:p>
        </p:txBody>
      </p:sp>
      <p:sp>
        <p:nvSpPr>
          <p:cNvPr id="106" name="Text Placeholder 12">
            <a:extLst>
              <a:ext uri="{FF2B5EF4-FFF2-40B4-BE49-F238E27FC236}">
                <a16:creationId xmlns:a16="http://schemas.microsoft.com/office/drawing/2014/main" id="{0A3CE905-5073-41D1-91F6-1B57B4BD8200}"/>
              </a:ext>
            </a:extLst>
          </p:cNvPr>
          <p:cNvSpPr>
            <a:spLocks noGrp="1"/>
          </p:cNvSpPr>
          <p:nvPr>
            <p:custDataLst>
              <p:tags r:id="rId15"/>
            </p:custDataLst>
          </p:nvPr>
        </p:nvSpPr>
        <p:spPr bwMode="auto">
          <a:xfrm>
            <a:off x="72739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47B10BE-1B9E-4C9E-8731-5A5D97D229C2}" type="datetime'''''''''''''''''''''''''''2''''''''0'''''''">
              <a:rPr kumimoji="0" lang="en-US" altLang="en-US" sz="1000" b="0" smtClean="0"/>
              <a:pPr/>
              <a:t>20</a:t>
            </a:fld>
            <a:endParaRPr kumimoji="0" lang="ja-JP" altLang="en-US" sz="1000" b="0" dirty="0">
              <a:sym typeface="+mn-lt"/>
            </a:endParaRPr>
          </a:p>
        </p:txBody>
      </p:sp>
      <p:sp>
        <p:nvSpPr>
          <p:cNvPr id="33" name="Text Placeholder 12"/>
          <p:cNvSpPr>
            <a:spLocks noGrp="1"/>
          </p:cNvSpPr>
          <p:nvPr>
            <p:custDataLst>
              <p:tags r:id="rId16"/>
            </p:custDataLst>
          </p:nvPr>
        </p:nvSpPr>
        <p:spPr bwMode="auto">
          <a:xfrm>
            <a:off x="30988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0F25E8D-F34D-408F-845A-B834E399DFA4}" type="datetime'''''''''''''''''0''''''''''''''''''''''''''7'''''''''''''''">
              <a:rPr lang="ja-JP" altLang="en-US" sz="1000" b="0"/>
              <a:pPr algn="ctr">
                <a:spcBef>
                  <a:spcPct val="0"/>
                </a:spcBef>
                <a:spcAft>
                  <a:spcPct val="0"/>
                </a:spcAft>
              </a:pPr>
              <a:t>07</a:t>
            </a:fld>
            <a:endParaRPr kumimoji="0" lang="ja-JP" altLang="en-US" sz="1000" b="0" dirty="0">
              <a:sym typeface="+mn-lt"/>
            </a:endParaRPr>
          </a:p>
        </p:txBody>
      </p:sp>
      <p:sp>
        <p:nvSpPr>
          <p:cNvPr id="34" name="Text Placeholder 12"/>
          <p:cNvSpPr>
            <a:spLocks noGrp="1"/>
          </p:cNvSpPr>
          <p:nvPr>
            <p:custDataLst>
              <p:tags r:id="rId17"/>
            </p:custDataLst>
          </p:nvPr>
        </p:nvSpPr>
        <p:spPr bwMode="auto">
          <a:xfrm>
            <a:off x="34194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0F95C94-8CF6-4824-A77B-97D531979910}" type="datetime'0''''''''''''''''''''''''''''''''''''8'''''''''''''''">
              <a:rPr lang="ja-JP" altLang="en-US" sz="1000" b="0"/>
              <a:pPr algn="ctr">
                <a:spcBef>
                  <a:spcPct val="0"/>
                </a:spcBef>
                <a:spcAft>
                  <a:spcPct val="0"/>
                </a:spcAft>
              </a:pPr>
              <a:t>08</a:t>
            </a:fld>
            <a:endParaRPr kumimoji="0" lang="ja-JP" altLang="en-US" sz="1000" b="0" dirty="0">
              <a:sym typeface="+mn-lt"/>
            </a:endParaRPr>
          </a:p>
        </p:txBody>
      </p:sp>
      <p:sp useBgFill="1">
        <p:nvSpPr>
          <p:cNvPr id="121" name="テキスト プレースホルダ 9">
            <a:extLst>
              <a:ext uri="{FF2B5EF4-FFF2-40B4-BE49-F238E27FC236}">
                <a16:creationId xmlns:a16="http://schemas.microsoft.com/office/drawing/2014/main" id="{7A5F8745-6B1A-40C7-BAD0-E913D6901B40}"/>
              </a:ext>
            </a:extLst>
          </p:cNvPr>
          <p:cNvSpPr>
            <a:spLocks noGrp="1"/>
          </p:cNvSpPr>
          <p:nvPr>
            <p:custDataLst>
              <p:tags r:id="rId18"/>
            </p:custDataLst>
          </p:nvPr>
        </p:nvSpPr>
        <p:spPr bwMode="gray">
          <a:xfrm>
            <a:off x="3713163" y="324485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ADDF86C-8646-4500-8BA0-2DF62FC8DDDD}" type="datetime'''''0''''''''''''''''''''''''''''''''''.''''1'''''''''''''''">
              <a:rPr lang="en-US" altLang="en-US" sz="1000" smtClean="0">
                <a:effectLst/>
              </a:rPr>
              <a:pPr/>
              <a:t>0.1</a:t>
            </a:fld>
            <a:endParaRPr lang="ja-JP" altLang="en-US" sz="1000" dirty="0">
              <a:sym typeface="+mn-lt"/>
            </a:endParaRPr>
          </a:p>
        </p:txBody>
      </p:sp>
      <p:sp>
        <p:nvSpPr>
          <p:cNvPr id="35" name="Text Placeholder 12"/>
          <p:cNvSpPr>
            <a:spLocks noGrp="1"/>
          </p:cNvSpPr>
          <p:nvPr>
            <p:custDataLst>
              <p:tags r:id="rId19"/>
            </p:custDataLst>
          </p:nvPr>
        </p:nvSpPr>
        <p:spPr bwMode="auto">
          <a:xfrm>
            <a:off x="37417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A61B9E3-2CE9-4E6A-95AA-A64E3F97018E}" type="datetime'''''''0''''''9'''''''''''''''''''''''''''''''''''''''''''''">
              <a:rPr lang="ja-JP" altLang="en-US" sz="1000" b="0"/>
              <a:pPr algn="ctr">
                <a:spcBef>
                  <a:spcPct val="0"/>
                </a:spcBef>
                <a:spcAft>
                  <a:spcPct val="0"/>
                </a:spcAft>
              </a:pPr>
              <a:t>09</a:t>
            </a:fld>
            <a:endParaRPr kumimoji="0" lang="ja-JP" altLang="en-US" sz="1000" b="0" dirty="0">
              <a:sym typeface="+mn-lt"/>
            </a:endParaRPr>
          </a:p>
        </p:txBody>
      </p:sp>
      <p:sp>
        <p:nvSpPr>
          <p:cNvPr id="24" name="Text Placeholder 12"/>
          <p:cNvSpPr>
            <a:spLocks noGrp="1"/>
          </p:cNvSpPr>
          <p:nvPr>
            <p:custDataLst>
              <p:tags r:id="rId20"/>
            </p:custDataLst>
          </p:nvPr>
        </p:nvSpPr>
        <p:spPr bwMode="auto">
          <a:xfrm>
            <a:off x="430213" y="2090738"/>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10</a:t>
            </a:r>
            <a:r>
              <a:rPr kumimoji="0" lang="ja-JP" altLang="en-US" sz="1000" b="0" dirty="0">
                <a:sym typeface="+mn-lt"/>
              </a:rPr>
              <a:t>億</a:t>
            </a:r>
            <a:r>
              <a:rPr kumimoji="0" lang="en-US" altLang="ja-JP" sz="1000" b="0" dirty="0">
                <a:sym typeface="+mn-lt"/>
              </a:rPr>
              <a:t>US$</a:t>
            </a:r>
            <a:r>
              <a:rPr kumimoji="0" lang="ja-JP" altLang="en-US" sz="1000" b="0" dirty="0">
                <a:sym typeface="+mn-lt"/>
              </a:rPr>
              <a:t>）</a:t>
            </a:r>
          </a:p>
        </p:txBody>
      </p:sp>
      <p:sp>
        <p:nvSpPr>
          <p:cNvPr id="37" name="Text Placeholder 12"/>
          <p:cNvSpPr>
            <a:spLocks noGrp="1"/>
          </p:cNvSpPr>
          <p:nvPr>
            <p:custDataLst>
              <p:tags r:id="rId21"/>
            </p:custDataLst>
          </p:nvPr>
        </p:nvSpPr>
        <p:spPr bwMode="auto">
          <a:xfrm>
            <a:off x="43830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18DD295-7783-4CD0-B68F-BEBEBB340394}" type="datetime'''''''''1''''''1'''''''''''''''''">
              <a:rPr lang="ja-JP" altLang="en-US" sz="1000" b="0"/>
              <a:pPr algn="ctr">
                <a:spcBef>
                  <a:spcPct val="0"/>
                </a:spcBef>
                <a:spcAft>
                  <a:spcPct val="0"/>
                </a:spcAft>
              </a:pPr>
              <a:t>11</a:t>
            </a:fld>
            <a:endParaRPr kumimoji="0" lang="ja-JP" altLang="en-US" sz="1000" b="0" dirty="0">
              <a:sym typeface="+mn-lt"/>
            </a:endParaRPr>
          </a:p>
        </p:txBody>
      </p:sp>
      <p:sp>
        <p:nvSpPr>
          <p:cNvPr id="41" name="Text Placeholder 12"/>
          <p:cNvSpPr>
            <a:spLocks noGrp="1"/>
          </p:cNvSpPr>
          <p:nvPr>
            <p:custDataLst>
              <p:tags r:id="rId22"/>
            </p:custDataLst>
          </p:nvPr>
        </p:nvSpPr>
        <p:spPr bwMode="auto">
          <a:xfrm>
            <a:off x="56673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B9B59EC-1DF0-45A2-B6ED-E52C9F111144}" type="datetime'1''''''''''''''''''''''''''''''''''''''''5'''''''''''''">
              <a:rPr lang="ja-JP" altLang="en-US" sz="1000" b="0"/>
              <a:pPr algn="ctr">
                <a:spcBef>
                  <a:spcPct val="0"/>
                </a:spcBef>
                <a:spcAft>
                  <a:spcPct val="0"/>
                </a:spcAft>
              </a:pPr>
              <a:t>15</a:t>
            </a:fld>
            <a:endParaRPr kumimoji="0" lang="ja-JP" altLang="en-US" sz="1000" b="0" dirty="0">
              <a:sym typeface="+mn-lt"/>
            </a:endParaRPr>
          </a:p>
        </p:txBody>
      </p:sp>
      <p:sp>
        <p:nvSpPr>
          <p:cNvPr id="38" name="Text Placeholder 12"/>
          <p:cNvSpPr>
            <a:spLocks noGrp="1"/>
          </p:cNvSpPr>
          <p:nvPr>
            <p:custDataLst>
              <p:tags r:id="rId23"/>
            </p:custDataLst>
          </p:nvPr>
        </p:nvSpPr>
        <p:spPr bwMode="auto">
          <a:xfrm>
            <a:off x="47053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8D2A3B0-2CCC-4E7B-AB3E-EAF745271A9F}" type="datetime'''''''''''''''''1''''''''''2'''''''''''''''''''''''''''">
              <a:rPr lang="ja-JP" altLang="en-US" sz="1000" b="0"/>
              <a:pPr algn="ctr">
                <a:spcBef>
                  <a:spcPct val="0"/>
                </a:spcBef>
                <a:spcAft>
                  <a:spcPct val="0"/>
                </a:spcAft>
              </a:pPr>
              <a:t>12</a:t>
            </a:fld>
            <a:endParaRPr kumimoji="0" lang="ja-JP" altLang="en-US" sz="1000" b="0" dirty="0">
              <a:sym typeface="+mn-lt"/>
            </a:endParaRPr>
          </a:p>
        </p:txBody>
      </p:sp>
      <p:sp>
        <p:nvSpPr>
          <p:cNvPr id="80" name="Text Placeholder 12"/>
          <p:cNvSpPr>
            <a:spLocks noGrp="1"/>
          </p:cNvSpPr>
          <p:nvPr>
            <p:custDataLst>
              <p:tags r:id="rId24"/>
            </p:custDataLst>
          </p:nvPr>
        </p:nvSpPr>
        <p:spPr bwMode="auto">
          <a:xfrm>
            <a:off x="59896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F8246BA-6AE9-41B6-8302-875B89AA43A0}" type="datetime'''''''''1''''''''''''''''''''''''''6'''''''''''''''''''''''">
              <a:rPr lang="ja-JP" altLang="en-US" sz="1000" b="0" smtClean="0"/>
              <a:pPr algn="ctr">
                <a:spcBef>
                  <a:spcPct val="0"/>
                </a:spcBef>
                <a:spcAft>
                  <a:spcPct val="0"/>
                </a:spcAft>
              </a:pPr>
              <a:t>16</a:t>
            </a:fld>
            <a:endParaRPr kumimoji="0" lang="ja-JP" altLang="en-US" sz="1000" b="0" dirty="0">
              <a:sym typeface="+mn-lt"/>
            </a:endParaRPr>
          </a:p>
        </p:txBody>
      </p:sp>
      <p:sp>
        <p:nvSpPr>
          <p:cNvPr id="83" name="Text Placeholder 12"/>
          <p:cNvSpPr>
            <a:spLocks noGrp="1"/>
          </p:cNvSpPr>
          <p:nvPr>
            <p:custDataLst>
              <p:tags r:id="rId25"/>
            </p:custDataLst>
          </p:nvPr>
        </p:nvSpPr>
        <p:spPr bwMode="auto">
          <a:xfrm>
            <a:off x="63103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0152B8-EBD8-4B73-BB55-A0D26378150C}" type="datetime'1''''''''7'''''''''''''''''''''''''''''''''''''''''''''''''''">
              <a:rPr lang="en-US" altLang="en-US" sz="1000" b="0" smtClean="0"/>
              <a:pPr algn="ctr">
                <a:spcBef>
                  <a:spcPct val="0"/>
                </a:spcBef>
                <a:spcAft>
                  <a:spcPct val="0"/>
                </a:spcAft>
              </a:pPr>
              <a:t>17</a:t>
            </a:fld>
            <a:endParaRPr kumimoji="0" lang="ja-JP" altLang="en-US" sz="1000" b="0" dirty="0">
              <a:sym typeface="+mn-lt"/>
            </a:endParaRPr>
          </a:p>
        </p:txBody>
      </p:sp>
      <p:sp>
        <p:nvSpPr>
          <p:cNvPr id="102" name="Text Placeholder 12">
            <a:extLst>
              <a:ext uri="{FF2B5EF4-FFF2-40B4-BE49-F238E27FC236}">
                <a16:creationId xmlns:a16="http://schemas.microsoft.com/office/drawing/2014/main" id="{A37369EE-5863-478A-A406-9859E7A15C4F}"/>
              </a:ext>
            </a:extLst>
          </p:cNvPr>
          <p:cNvSpPr>
            <a:spLocks noGrp="1"/>
          </p:cNvSpPr>
          <p:nvPr>
            <p:custDataLst>
              <p:tags r:id="rId26"/>
            </p:custDataLst>
          </p:nvPr>
        </p:nvSpPr>
        <p:spPr bwMode="auto">
          <a:xfrm>
            <a:off x="66309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BF9202-85C1-497C-8D30-E4B71FC76F49}" type="datetime'''1''''''''''''''''''''''''''''8'''''''''''''''''''''''''">
              <a:rPr kumimoji="0" lang="en-US" altLang="en-US" sz="1000" b="0" smtClean="0"/>
              <a:pPr/>
              <a:t>18</a:t>
            </a:fld>
            <a:endParaRPr kumimoji="0" lang="ja-JP" altLang="en-US" sz="1000" b="0" dirty="0">
              <a:sym typeface="+mn-lt"/>
            </a:endParaRPr>
          </a:p>
        </p:txBody>
      </p:sp>
      <p:sp>
        <p:nvSpPr>
          <p:cNvPr id="104" name="Text Placeholder 12">
            <a:extLst>
              <a:ext uri="{FF2B5EF4-FFF2-40B4-BE49-F238E27FC236}">
                <a16:creationId xmlns:a16="http://schemas.microsoft.com/office/drawing/2014/main" id="{CDD6BB76-D5D7-4195-A02B-AEEA5F4C6AD5}"/>
              </a:ext>
            </a:extLst>
          </p:cNvPr>
          <p:cNvSpPr>
            <a:spLocks noGrp="1"/>
          </p:cNvSpPr>
          <p:nvPr>
            <p:custDataLst>
              <p:tags r:id="rId27"/>
            </p:custDataLst>
          </p:nvPr>
        </p:nvSpPr>
        <p:spPr bwMode="auto">
          <a:xfrm>
            <a:off x="69516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7A7578-FACE-4CB3-9133-D20A8E7FA107}" type="datetime'''''''''''''''''''''''1''''''''''''''''9'''">
              <a:rPr kumimoji="0" lang="en-US" altLang="en-US" sz="1000" b="0" smtClean="0"/>
              <a:pPr/>
              <a:t>19</a:t>
            </a:fld>
            <a:endParaRPr kumimoji="0" lang="ja-JP" altLang="en-US" sz="1000" b="0" dirty="0">
              <a:sym typeface="+mn-lt"/>
            </a:endParaRPr>
          </a:p>
        </p:txBody>
      </p:sp>
      <p:sp useBgFill="1">
        <p:nvSpPr>
          <p:cNvPr id="122" name="テキスト プレースホルダ 9">
            <a:extLst>
              <a:ext uri="{FF2B5EF4-FFF2-40B4-BE49-F238E27FC236}">
                <a16:creationId xmlns:a16="http://schemas.microsoft.com/office/drawing/2014/main" id="{415AF3A0-18DE-4C7C-92D4-90435F032A8F}"/>
              </a:ext>
            </a:extLst>
          </p:cNvPr>
          <p:cNvSpPr>
            <a:spLocks noGrp="1"/>
          </p:cNvSpPr>
          <p:nvPr>
            <p:custDataLst>
              <p:tags r:id="rId28"/>
            </p:custDataLst>
          </p:nvPr>
        </p:nvSpPr>
        <p:spPr bwMode="gray">
          <a:xfrm>
            <a:off x="7224713" y="3573463"/>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36B2D15-31EF-4866-84D6-BF25386C454C}" type="datetime'''-''''''''''4''''''''''''''''''.''''''''''1'''''">
              <a:rPr lang="en-US" altLang="en-US" sz="1000" smtClean="0">
                <a:effectLst/>
              </a:rPr>
              <a:pPr/>
              <a:t>-4.1</a:t>
            </a:fld>
            <a:endParaRPr lang="ja-JP" altLang="en-US" sz="1000" dirty="0">
              <a:sym typeface="+mn-lt"/>
            </a:endParaRPr>
          </a:p>
        </p:txBody>
      </p:sp>
      <p:sp>
        <p:nvSpPr>
          <p:cNvPr id="109" name="Text Placeholder 12">
            <a:extLst>
              <a:ext uri="{FF2B5EF4-FFF2-40B4-BE49-F238E27FC236}">
                <a16:creationId xmlns:a16="http://schemas.microsoft.com/office/drawing/2014/main" id="{BA7375C9-218B-4C04-9D17-E9A95FD0684B}"/>
              </a:ext>
            </a:extLst>
          </p:cNvPr>
          <p:cNvSpPr>
            <a:spLocks noGrp="1"/>
          </p:cNvSpPr>
          <p:nvPr>
            <p:custDataLst>
              <p:tags r:id="rId29"/>
            </p:custDataLst>
          </p:nvPr>
        </p:nvSpPr>
        <p:spPr bwMode="auto">
          <a:xfrm>
            <a:off x="7524750"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CEC5CFF-E2A9-49AF-80A7-FD30C88FA601}" type="datetime'''2''''''''''0''''''2''''''''''''''''''''''''''''1'''''''''''">
              <a:rPr kumimoji="0" lang="en-US" altLang="en-US" sz="1000" b="0" smtClean="0"/>
              <a:pPr/>
              <a:t>2021</a:t>
            </a:fld>
            <a:endParaRPr kumimoji="0" lang="ja-JP" altLang="en-US" sz="1000" b="0" dirty="0">
              <a:sym typeface="+mn-lt"/>
            </a:endParaRPr>
          </a:p>
        </p:txBody>
      </p:sp>
      <p:sp useBgFill="1">
        <p:nvSpPr>
          <p:cNvPr id="89" name="テキスト プレースホルダ 9">
            <a:extLst>
              <a:ext uri="{FF2B5EF4-FFF2-40B4-BE49-F238E27FC236}">
                <a16:creationId xmlns:a16="http://schemas.microsoft.com/office/drawing/2014/main" id="{78E76880-0EDB-4925-8719-9EA974415694}"/>
              </a:ext>
            </a:extLst>
          </p:cNvPr>
          <p:cNvSpPr>
            <a:spLocks noGrp="1"/>
          </p:cNvSpPr>
          <p:nvPr>
            <p:custDataLst>
              <p:tags r:id="rId30"/>
            </p:custDataLst>
          </p:nvPr>
        </p:nvSpPr>
        <p:spPr bwMode="gray">
          <a:xfrm>
            <a:off x="1123950" y="3336925"/>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29EA272-CCF2-4A14-A9AA-C848A6EC9ED2}" type="datetime'''''''-''''''''''1''''''''''.''''''''''''''''''1'''''''''''">
              <a:rPr lang="en-US" altLang="en-US" sz="1000" smtClean="0">
                <a:effectLst/>
                <a:sym typeface="+mn-lt"/>
              </a:rPr>
              <a:pPr marL="0" indent="0" algn="ctr">
                <a:spcBef>
                  <a:spcPct val="0"/>
                </a:spcBef>
                <a:buNone/>
              </a:pPr>
              <a:t>-1.1</a:t>
            </a:fld>
            <a:endParaRPr lang="ja-JP" altLang="en-US" sz="1000" dirty="0">
              <a:sym typeface="+mn-lt"/>
            </a:endParaRPr>
          </a:p>
        </p:txBody>
      </p:sp>
      <p:sp useBgFill="1">
        <p:nvSpPr>
          <p:cNvPr id="90" name="テキスト プレースホルダ 9">
            <a:extLst>
              <a:ext uri="{FF2B5EF4-FFF2-40B4-BE49-F238E27FC236}">
                <a16:creationId xmlns:a16="http://schemas.microsoft.com/office/drawing/2014/main" id="{5B8F7277-92CE-432A-9728-B61A2FDB1E20}"/>
              </a:ext>
            </a:extLst>
          </p:cNvPr>
          <p:cNvSpPr>
            <a:spLocks noGrp="1"/>
          </p:cNvSpPr>
          <p:nvPr>
            <p:custDataLst>
              <p:tags r:id="rId31"/>
            </p:custDataLst>
          </p:nvPr>
        </p:nvSpPr>
        <p:spPr bwMode="gray">
          <a:xfrm>
            <a:off x="1787525" y="290512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7BA35D-41B2-42BB-A74F-2B464001C8A2}" type="datetime'''''''''''''''''4''''''''''''''.''''''''5'''''''''">
              <a:rPr lang="en-US" altLang="en-US" sz="1000" smtClean="0">
                <a:effectLst/>
                <a:sym typeface="+mn-lt"/>
              </a:rPr>
              <a:pPr marL="0" indent="0" algn="ctr">
                <a:spcBef>
                  <a:spcPct val="0"/>
                </a:spcBef>
                <a:buNone/>
              </a:pPr>
              <a:t>4.5</a:t>
            </a:fld>
            <a:endParaRPr lang="ja-JP" altLang="en-US" sz="1000" dirty="0">
              <a:sym typeface="+mn-lt"/>
            </a:endParaRPr>
          </a:p>
        </p:txBody>
      </p:sp>
      <p:sp useBgFill="1">
        <p:nvSpPr>
          <p:cNvPr id="91" name="テキスト プレースホルダ 9">
            <a:extLst>
              <a:ext uri="{FF2B5EF4-FFF2-40B4-BE49-F238E27FC236}">
                <a16:creationId xmlns:a16="http://schemas.microsoft.com/office/drawing/2014/main" id="{D657E904-4EFF-4276-9232-4C1A15ACC2C5}"/>
              </a:ext>
            </a:extLst>
          </p:cNvPr>
          <p:cNvSpPr>
            <a:spLocks noGrp="1"/>
          </p:cNvSpPr>
          <p:nvPr>
            <p:custDataLst>
              <p:tags r:id="rId32"/>
            </p:custDataLst>
          </p:nvPr>
        </p:nvSpPr>
        <p:spPr bwMode="gray">
          <a:xfrm>
            <a:off x="3392488" y="311150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A4B2B40-2BF6-410B-BE31-E36D7DB07A8D}" type="datetime'''''''''''''''1''''.''''''''''''''9'''''''''''''''''''''''''''">
              <a:rPr lang="en-US" altLang="en-US" sz="1000" smtClean="0">
                <a:effectLst/>
                <a:sym typeface="+mn-lt"/>
              </a:rPr>
              <a:pPr marL="0" indent="0" algn="ctr">
                <a:spcBef>
                  <a:spcPct val="0"/>
                </a:spcBef>
                <a:buNone/>
              </a:pPr>
              <a:t>1.9</a:t>
            </a:fld>
            <a:endParaRPr lang="ja-JP" altLang="en-US" sz="1000" dirty="0">
              <a:sym typeface="+mn-lt"/>
            </a:endParaRPr>
          </a:p>
        </p:txBody>
      </p:sp>
      <p:sp useBgFill="1">
        <p:nvSpPr>
          <p:cNvPr id="92" name="テキスト プレースホルダ 9">
            <a:extLst>
              <a:ext uri="{FF2B5EF4-FFF2-40B4-BE49-F238E27FC236}">
                <a16:creationId xmlns:a16="http://schemas.microsoft.com/office/drawing/2014/main" id="{4E934D13-1CBE-44D6-B8DF-A35BFCD62D78}"/>
              </a:ext>
            </a:extLst>
          </p:cNvPr>
          <p:cNvSpPr>
            <a:spLocks noGrp="1"/>
          </p:cNvSpPr>
          <p:nvPr>
            <p:custDataLst>
              <p:tags r:id="rId33"/>
            </p:custDataLst>
          </p:nvPr>
        </p:nvSpPr>
        <p:spPr bwMode="gray">
          <a:xfrm>
            <a:off x="3695700" y="3044825"/>
            <a:ext cx="244475"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6794EA1-737F-4793-A9FE-40EB46804525}" type="datetime'''''''''''''''1''''''''''''''''''9''''''''''4'''''">
              <a:rPr lang="en-US" altLang="en-US" sz="1000" smtClean="0">
                <a:effectLst/>
                <a:sym typeface="+mn-lt"/>
              </a:rPr>
              <a:pPr marL="0" indent="0" algn="ctr">
                <a:spcBef>
                  <a:spcPct val="0"/>
                </a:spcBef>
                <a:buNone/>
              </a:pPr>
              <a:t>194</a:t>
            </a:fld>
            <a:endParaRPr lang="ja-JP" altLang="en-US" sz="1000" dirty="0">
              <a:sym typeface="+mn-lt"/>
            </a:endParaRPr>
          </a:p>
        </p:txBody>
      </p:sp>
      <p:sp useBgFill="1">
        <p:nvSpPr>
          <p:cNvPr id="93" name="テキスト プレースホルダ 9">
            <a:extLst>
              <a:ext uri="{FF2B5EF4-FFF2-40B4-BE49-F238E27FC236}">
                <a16:creationId xmlns:a16="http://schemas.microsoft.com/office/drawing/2014/main" id="{6FEF6012-71F6-4A45-9522-7B4013821BBA}"/>
              </a:ext>
            </a:extLst>
          </p:cNvPr>
          <p:cNvSpPr>
            <a:spLocks noGrp="1"/>
          </p:cNvSpPr>
          <p:nvPr>
            <p:custDataLst>
              <p:tags r:id="rId34"/>
            </p:custDataLst>
          </p:nvPr>
        </p:nvSpPr>
        <p:spPr bwMode="gray">
          <a:xfrm>
            <a:off x="4356100" y="2776538"/>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39D8B50-9FEC-4A90-92EE-B920BB2D39F7}" type="datetime'''6''''''.''2'''">
              <a:rPr lang="en-US" altLang="en-US" sz="1000" smtClean="0">
                <a:effectLst/>
                <a:sym typeface="+mn-lt"/>
              </a:rPr>
              <a:pPr marL="0" indent="0" algn="ctr">
                <a:spcBef>
                  <a:spcPct val="0"/>
                </a:spcBef>
                <a:buNone/>
              </a:pPr>
              <a:t>6.2</a:t>
            </a:fld>
            <a:endParaRPr lang="ja-JP" altLang="en-US" sz="1000" dirty="0">
              <a:sym typeface="+mn-lt"/>
            </a:endParaRPr>
          </a:p>
        </p:txBody>
      </p:sp>
      <p:sp>
        <p:nvSpPr>
          <p:cNvPr id="31" name="Text Placeholder 12"/>
          <p:cNvSpPr>
            <a:spLocks noGrp="1"/>
          </p:cNvSpPr>
          <p:nvPr>
            <p:custDataLst>
              <p:tags r:id="rId35"/>
            </p:custDataLst>
          </p:nvPr>
        </p:nvSpPr>
        <p:spPr bwMode="auto">
          <a:xfrm>
            <a:off x="24574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EE42F83-4A3C-4C33-949C-8C95AFFC46F0}" type="datetime'''''''''''0''''5'''''''''''''''''">
              <a:rPr lang="ja-JP" altLang="en-US" sz="1000" b="0"/>
              <a:pPr algn="ctr">
                <a:spcBef>
                  <a:spcPct val="0"/>
                </a:spcBef>
                <a:spcAft>
                  <a:spcPct val="0"/>
                </a:spcAft>
              </a:pPr>
              <a:t>05</a:t>
            </a:fld>
            <a:endParaRPr kumimoji="0" lang="ja-JP" altLang="en-US" sz="1000" b="0" dirty="0">
              <a:sym typeface="+mn-lt"/>
            </a:endParaRPr>
          </a:p>
        </p:txBody>
      </p:sp>
      <p:sp>
        <p:nvSpPr>
          <p:cNvPr id="36" name="Text Placeholder 12"/>
          <p:cNvSpPr>
            <a:spLocks noGrp="1"/>
          </p:cNvSpPr>
          <p:nvPr>
            <p:custDataLst>
              <p:tags r:id="rId36"/>
            </p:custDataLst>
          </p:nvPr>
        </p:nvSpPr>
        <p:spPr bwMode="auto">
          <a:xfrm>
            <a:off x="40624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FEEC1AE-3CBC-4472-A01A-1DEF9888DE26}" type="datetime'''''''''''''1''''''''''0'''''''''">
              <a:rPr lang="ja-JP" altLang="en-US" sz="1000" b="0"/>
              <a:pPr algn="ctr">
                <a:spcBef>
                  <a:spcPct val="0"/>
                </a:spcBef>
                <a:spcAft>
                  <a:spcPct val="0"/>
                </a:spcAft>
              </a:pPr>
              <a:t>10</a:t>
            </a:fld>
            <a:endParaRPr kumimoji="0" lang="ja-JP" altLang="en-US" sz="1000" b="0" dirty="0">
              <a:sym typeface="+mn-lt"/>
            </a:endParaRPr>
          </a:p>
        </p:txBody>
      </p:sp>
      <p:graphicFrame>
        <p:nvGraphicFramePr>
          <p:cNvPr id="132" name="Chart 131">
            <a:extLst>
              <a:ext uri="{FF2B5EF4-FFF2-40B4-BE49-F238E27FC236}">
                <a16:creationId xmlns:a16="http://schemas.microsoft.com/office/drawing/2014/main" id="{4E896E14-0146-43B9-B669-1EB569FB995D}"/>
              </a:ext>
            </a:extLst>
          </p:cNvPr>
          <p:cNvGraphicFramePr/>
          <p:nvPr>
            <p:custDataLst>
              <p:tags r:id="rId37"/>
            </p:custDataLst>
            <p:extLst>
              <p:ext uri="{D42A27DB-BD31-4B8C-83A1-F6EECF244321}">
                <p14:modId xmlns:p14="http://schemas.microsoft.com/office/powerpoint/2010/main" val="4206823873"/>
              </p:ext>
            </p:extLst>
          </p:nvPr>
        </p:nvGraphicFramePr>
        <p:xfrm>
          <a:off x="130175" y="4695825"/>
          <a:ext cx="7823200" cy="1784350"/>
        </p:xfrm>
        <a:graphic>
          <a:graphicData uri="http://schemas.openxmlformats.org/drawingml/2006/chart">
            <c:chart xmlns:c="http://schemas.openxmlformats.org/drawingml/2006/chart" xmlns:r="http://schemas.openxmlformats.org/officeDocument/2006/relationships" r:id="rId70"/>
          </a:graphicData>
        </a:graphic>
      </p:graphicFrame>
      <p:sp>
        <p:nvSpPr>
          <p:cNvPr id="76" name="Text Placeholder 12"/>
          <p:cNvSpPr>
            <a:spLocks noGrp="1"/>
          </p:cNvSpPr>
          <p:nvPr>
            <p:custDataLst>
              <p:tags r:id="rId38"/>
            </p:custDataLst>
          </p:nvPr>
        </p:nvSpPr>
        <p:spPr bwMode="auto">
          <a:xfrm>
            <a:off x="47132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E62BFF4-ED1C-4C50-9387-F46F0A7DE98A}" type="datetime'''''''''''''''''''''''''''''''''''1''''''''''2'''''''''''''''">
              <a:rPr lang="ja-JP" altLang="en-US" sz="1000" b="0"/>
              <a:pPr algn="ctr">
                <a:spcBef>
                  <a:spcPct val="0"/>
                </a:spcBef>
                <a:spcAft>
                  <a:spcPct val="0"/>
                </a:spcAft>
              </a:pPr>
              <a:t>12</a:t>
            </a:fld>
            <a:endParaRPr kumimoji="0" lang="ja-JP" altLang="en-US" sz="1000" b="0" dirty="0">
              <a:sym typeface="+mn-lt"/>
            </a:endParaRPr>
          </a:p>
        </p:txBody>
      </p:sp>
      <p:sp>
        <p:nvSpPr>
          <p:cNvPr id="73" name="Text Placeholder 12"/>
          <p:cNvSpPr>
            <a:spLocks noGrp="1"/>
          </p:cNvSpPr>
          <p:nvPr>
            <p:custDataLst>
              <p:tags r:id="rId39"/>
            </p:custDataLst>
          </p:nvPr>
        </p:nvSpPr>
        <p:spPr bwMode="auto">
          <a:xfrm>
            <a:off x="374015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8001A92-9F3B-4E1A-AE6B-609B86E40DBC}" type="datetime'''''''''''''''''''''''''''''''''''''''0''9'''''''''''''''''''">
              <a:rPr lang="ja-JP" altLang="en-US" sz="1000" b="0"/>
              <a:pPr algn="ctr">
                <a:spcBef>
                  <a:spcPct val="0"/>
                </a:spcBef>
                <a:spcAft>
                  <a:spcPct val="0"/>
                </a:spcAft>
              </a:pPr>
              <a:t>09</a:t>
            </a:fld>
            <a:endParaRPr kumimoji="0" lang="ja-JP" altLang="en-US" sz="1000" b="0" dirty="0">
              <a:sym typeface="+mn-lt"/>
            </a:endParaRPr>
          </a:p>
        </p:txBody>
      </p:sp>
      <p:sp>
        <p:nvSpPr>
          <p:cNvPr id="69" name="Text Placeholder 12"/>
          <p:cNvSpPr>
            <a:spLocks noGrp="1"/>
          </p:cNvSpPr>
          <p:nvPr>
            <p:custDataLst>
              <p:tags r:id="rId40"/>
            </p:custDataLst>
          </p:nvPr>
        </p:nvSpPr>
        <p:spPr bwMode="auto">
          <a:xfrm>
            <a:off x="24431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5B8B526-E51C-4EE1-B859-B784D83B34AE}" type="datetime'''''''''''''''''''''''''''''''''''''05'''''''''''''''">
              <a:rPr lang="ja-JP" altLang="en-US" sz="1000" b="0"/>
              <a:pPr algn="ctr">
                <a:spcBef>
                  <a:spcPct val="0"/>
                </a:spcBef>
                <a:spcAft>
                  <a:spcPct val="0"/>
                </a:spcAft>
              </a:pPr>
              <a:t>05</a:t>
            </a:fld>
            <a:endParaRPr kumimoji="0" lang="ja-JP" altLang="en-US" sz="1000" b="0" dirty="0">
              <a:sym typeface="+mn-lt"/>
            </a:endParaRPr>
          </a:p>
        </p:txBody>
      </p:sp>
      <p:sp>
        <p:nvSpPr>
          <p:cNvPr id="63" name="Text Placeholder 12"/>
          <p:cNvSpPr>
            <a:spLocks noGrp="1"/>
          </p:cNvSpPr>
          <p:nvPr>
            <p:custDataLst>
              <p:tags r:id="rId41"/>
            </p:custDataLst>
          </p:nvPr>
        </p:nvSpPr>
        <p:spPr bwMode="auto">
          <a:xfrm>
            <a:off x="222250" y="446405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US$</a:t>
            </a:r>
            <a:r>
              <a:rPr kumimoji="0" lang="ja-JP" altLang="en-US" sz="1000" b="0" dirty="0">
                <a:sym typeface="+mn-lt"/>
              </a:rPr>
              <a:t>）</a:t>
            </a:r>
          </a:p>
        </p:txBody>
      </p:sp>
      <p:sp>
        <p:nvSpPr>
          <p:cNvPr id="64" name="Text Placeholder 12"/>
          <p:cNvSpPr>
            <a:spLocks noGrp="1"/>
          </p:cNvSpPr>
          <p:nvPr>
            <p:custDataLst>
              <p:tags r:id="rId42"/>
            </p:custDataLst>
          </p:nvPr>
        </p:nvSpPr>
        <p:spPr bwMode="auto">
          <a:xfrm>
            <a:off x="750888"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84B9863-92CB-4E7F-A5CC-D490F8CA5D59}" type="datetime'''2''''''''''''''''0''''0''''''''''''''''''''''''''''''''0'''">
              <a:rPr lang="ja-JP" altLang="en-US" sz="1000" b="0"/>
              <a:pPr algn="ctr">
                <a:spcBef>
                  <a:spcPct val="0"/>
                </a:spcBef>
                <a:spcAft>
                  <a:spcPct val="0"/>
                </a:spcAft>
              </a:pPr>
              <a:t>2000</a:t>
            </a:fld>
            <a:endParaRPr kumimoji="0" lang="ja-JP" altLang="en-US" sz="1000" b="0" dirty="0">
              <a:sym typeface="+mn-lt"/>
            </a:endParaRPr>
          </a:p>
        </p:txBody>
      </p:sp>
      <p:sp>
        <p:nvSpPr>
          <p:cNvPr id="70" name="Text Placeholder 12"/>
          <p:cNvSpPr>
            <a:spLocks noGrp="1"/>
          </p:cNvSpPr>
          <p:nvPr>
            <p:custDataLst>
              <p:tags r:id="rId43"/>
            </p:custDataLst>
          </p:nvPr>
        </p:nvSpPr>
        <p:spPr bwMode="auto">
          <a:xfrm>
            <a:off x="27670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1D352DD-DF2E-4B25-A5C8-C1F15C9270BB}" type="datetime'''''''''''''''''''''''''''''''''''''''''''''0''''6'">
              <a:rPr lang="ja-JP" altLang="en-US" sz="1000" b="0"/>
              <a:pPr algn="ctr">
                <a:spcBef>
                  <a:spcPct val="0"/>
                </a:spcBef>
                <a:spcAft>
                  <a:spcPct val="0"/>
                </a:spcAft>
              </a:pPr>
              <a:t>06</a:t>
            </a:fld>
            <a:endParaRPr kumimoji="0" lang="ja-JP" altLang="en-US" sz="1000" b="0" dirty="0">
              <a:sym typeface="+mn-lt"/>
            </a:endParaRPr>
          </a:p>
        </p:txBody>
      </p:sp>
      <p:sp>
        <p:nvSpPr>
          <p:cNvPr id="65" name="Text Placeholder 12"/>
          <p:cNvSpPr>
            <a:spLocks noGrp="1"/>
          </p:cNvSpPr>
          <p:nvPr>
            <p:custDataLst>
              <p:tags r:id="rId44"/>
            </p:custDataLst>
          </p:nvPr>
        </p:nvSpPr>
        <p:spPr bwMode="auto">
          <a:xfrm>
            <a:off x="11445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37389C2-5F5A-480F-8913-6D0F7E15B479}" type="datetime'''''''''''''''''''''''''''''''''''''''''0''''''1'">
              <a:rPr lang="ja-JP" altLang="en-US" sz="1000" b="0"/>
              <a:pPr algn="ctr">
                <a:spcBef>
                  <a:spcPct val="0"/>
                </a:spcBef>
                <a:spcAft>
                  <a:spcPct val="0"/>
                </a:spcAft>
              </a:pPr>
              <a:t>01</a:t>
            </a:fld>
            <a:endParaRPr kumimoji="0" lang="ja-JP" altLang="en-US" sz="1000" b="0" dirty="0">
              <a:sym typeface="+mn-lt"/>
            </a:endParaRPr>
          </a:p>
        </p:txBody>
      </p:sp>
      <p:sp>
        <p:nvSpPr>
          <p:cNvPr id="67" name="Text Placeholder 12"/>
          <p:cNvSpPr>
            <a:spLocks noGrp="1"/>
          </p:cNvSpPr>
          <p:nvPr>
            <p:custDataLst>
              <p:tags r:id="rId45"/>
            </p:custDataLst>
          </p:nvPr>
        </p:nvSpPr>
        <p:spPr bwMode="auto">
          <a:xfrm>
            <a:off x="179387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26D4C44-3323-4E9C-9EC3-0820FD7CBD22}" type="datetime'''''''0''''''''''3'''''''''''''''''''''''''''''''''''''">
              <a:rPr lang="ja-JP" altLang="en-US" sz="1000" b="0"/>
              <a:pPr algn="ctr">
                <a:spcBef>
                  <a:spcPct val="0"/>
                </a:spcBef>
                <a:spcAft>
                  <a:spcPct val="0"/>
                </a:spcAft>
              </a:pPr>
              <a:t>03</a:t>
            </a:fld>
            <a:endParaRPr kumimoji="0" lang="ja-JP" altLang="en-US" sz="1000" b="0" dirty="0">
              <a:sym typeface="+mn-lt"/>
            </a:endParaRPr>
          </a:p>
        </p:txBody>
      </p:sp>
      <p:sp>
        <p:nvSpPr>
          <p:cNvPr id="66" name="Text Placeholder 12"/>
          <p:cNvSpPr>
            <a:spLocks noGrp="1"/>
          </p:cNvSpPr>
          <p:nvPr>
            <p:custDataLst>
              <p:tags r:id="rId46"/>
            </p:custDataLst>
          </p:nvPr>
        </p:nvSpPr>
        <p:spPr bwMode="auto">
          <a:xfrm>
            <a:off x="14700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6774A7E-EE78-42F3-A63C-8FED0DAE6E00}" type="datetime'''''''''''''''''0''''''''''''''''''''''''''''''''''''2'''">
              <a:rPr lang="ja-JP" altLang="en-US" sz="1000" b="0"/>
              <a:pPr algn="ctr">
                <a:spcBef>
                  <a:spcPct val="0"/>
                </a:spcBef>
                <a:spcAft>
                  <a:spcPct val="0"/>
                </a:spcAft>
              </a:pPr>
              <a:t>02</a:t>
            </a:fld>
            <a:endParaRPr kumimoji="0" lang="ja-JP" altLang="en-US" sz="1000" b="0" dirty="0">
              <a:sym typeface="+mn-lt"/>
            </a:endParaRPr>
          </a:p>
        </p:txBody>
      </p:sp>
      <p:sp>
        <p:nvSpPr>
          <p:cNvPr id="68" name="Text Placeholder 12"/>
          <p:cNvSpPr>
            <a:spLocks noGrp="1"/>
          </p:cNvSpPr>
          <p:nvPr>
            <p:custDataLst>
              <p:tags r:id="rId47"/>
            </p:custDataLst>
          </p:nvPr>
        </p:nvSpPr>
        <p:spPr bwMode="auto">
          <a:xfrm>
            <a:off x="21177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4061DC8-6FD5-473E-AD3C-5C7FBE78207B}" type="datetime'''''''''''''''0''''''''''4'''''''''''''''">
              <a:rPr lang="ja-JP" altLang="en-US" sz="1000" b="0"/>
              <a:pPr algn="ctr">
                <a:spcBef>
                  <a:spcPct val="0"/>
                </a:spcBef>
                <a:spcAft>
                  <a:spcPct val="0"/>
                </a:spcAft>
              </a:pPr>
              <a:t>04</a:t>
            </a:fld>
            <a:endParaRPr kumimoji="0" lang="ja-JP" altLang="en-US" sz="1000" b="0" dirty="0">
              <a:sym typeface="+mn-lt"/>
            </a:endParaRPr>
          </a:p>
        </p:txBody>
      </p:sp>
      <p:sp>
        <p:nvSpPr>
          <p:cNvPr id="84" name="Text Placeholder 12">
            <a:extLst>
              <a:ext uri="{FF2B5EF4-FFF2-40B4-BE49-F238E27FC236}">
                <a16:creationId xmlns:a16="http://schemas.microsoft.com/office/drawing/2014/main" id="{953C82F3-7428-4735-A5D9-AFEFFEB5EB66}"/>
              </a:ext>
            </a:extLst>
          </p:cNvPr>
          <p:cNvSpPr>
            <a:spLocks noGrp="1"/>
          </p:cNvSpPr>
          <p:nvPr>
            <p:custDataLst>
              <p:tags r:id="rId48"/>
            </p:custDataLst>
          </p:nvPr>
        </p:nvSpPr>
        <p:spPr bwMode="auto">
          <a:xfrm>
            <a:off x="66595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2049D9A-6A22-4A73-A082-7EF724D67CFC}" type="datetime'''''''''1''''''''''''''''''''''''''''''''''8'''''''''''''">
              <a:rPr kumimoji="0" lang="en-US" altLang="en-US" sz="1000" b="0" smtClean="0"/>
              <a:pPr/>
              <a:t>18</a:t>
            </a:fld>
            <a:endParaRPr kumimoji="0" lang="ja-JP" altLang="en-US" sz="1000" b="0" dirty="0">
              <a:sym typeface="+mn-lt"/>
            </a:endParaRPr>
          </a:p>
        </p:txBody>
      </p:sp>
      <p:sp>
        <p:nvSpPr>
          <p:cNvPr id="71" name="Text Placeholder 12"/>
          <p:cNvSpPr>
            <a:spLocks noGrp="1"/>
          </p:cNvSpPr>
          <p:nvPr>
            <p:custDataLst>
              <p:tags r:id="rId49"/>
            </p:custDataLst>
          </p:nvPr>
        </p:nvSpPr>
        <p:spPr bwMode="auto">
          <a:xfrm>
            <a:off x="30908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C78E3E8-7102-42BF-B0BC-FA1E5CB5949D}" type="datetime'''''''''''''''''0''''''''''''''''''''''7'">
              <a:rPr lang="ja-JP" altLang="en-US" sz="1000" b="0"/>
              <a:pPr algn="ctr">
                <a:spcBef>
                  <a:spcPct val="0"/>
                </a:spcBef>
                <a:spcAft>
                  <a:spcPct val="0"/>
                </a:spcAft>
              </a:pPr>
              <a:t>07</a:t>
            </a:fld>
            <a:endParaRPr kumimoji="0" lang="ja-JP" altLang="en-US" sz="1000" b="0" dirty="0">
              <a:sym typeface="+mn-lt"/>
            </a:endParaRPr>
          </a:p>
        </p:txBody>
      </p:sp>
      <p:sp>
        <p:nvSpPr>
          <p:cNvPr id="72" name="Text Placeholder 12"/>
          <p:cNvSpPr>
            <a:spLocks noGrp="1"/>
          </p:cNvSpPr>
          <p:nvPr>
            <p:custDataLst>
              <p:tags r:id="rId50"/>
            </p:custDataLst>
          </p:nvPr>
        </p:nvSpPr>
        <p:spPr bwMode="auto">
          <a:xfrm>
            <a:off x="34163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04DF5EB-60E2-425F-887F-5A7A4E1F7368}" type="datetime'''''''''''''''0''''''''''''8'">
              <a:rPr lang="ja-JP" altLang="en-US" sz="1000" b="0"/>
              <a:pPr algn="ctr">
                <a:spcBef>
                  <a:spcPct val="0"/>
                </a:spcBef>
                <a:spcAft>
                  <a:spcPct val="0"/>
                </a:spcAft>
              </a:pPr>
              <a:t>08</a:t>
            </a:fld>
            <a:endParaRPr kumimoji="0" lang="ja-JP" altLang="en-US" sz="1000" b="0" dirty="0">
              <a:sym typeface="+mn-lt"/>
            </a:endParaRPr>
          </a:p>
        </p:txBody>
      </p:sp>
      <p:sp>
        <p:nvSpPr>
          <p:cNvPr id="74" name="Text Placeholder 12"/>
          <p:cNvSpPr>
            <a:spLocks noGrp="1"/>
          </p:cNvSpPr>
          <p:nvPr>
            <p:custDataLst>
              <p:tags r:id="rId51"/>
            </p:custDataLst>
          </p:nvPr>
        </p:nvSpPr>
        <p:spPr bwMode="auto">
          <a:xfrm>
            <a:off x="40640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2C19DD4-A886-4CD4-A276-45F6AEBA937D}" type="datetime'''''''''''''1''''''''''''''''0'''''''''''">
              <a:rPr lang="ja-JP" altLang="en-US" sz="1000" b="0"/>
              <a:pPr algn="ctr">
                <a:spcBef>
                  <a:spcPct val="0"/>
                </a:spcBef>
                <a:spcAft>
                  <a:spcPct val="0"/>
                </a:spcAft>
              </a:pPr>
              <a:t>10</a:t>
            </a:fld>
            <a:endParaRPr kumimoji="0" lang="ja-JP" altLang="en-US" sz="1000" b="0" dirty="0">
              <a:sym typeface="+mn-lt"/>
            </a:endParaRPr>
          </a:p>
        </p:txBody>
      </p:sp>
      <p:sp>
        <p:nvSpPr>
          <p:cNvPr id="75" name="Text Placeholder 12"/>
          <p:cNvSpPr>
            <a:spLocks noGrp="1"/>
          </p:cNvSpPr>
          <p:nvPr>
            <p:custDataLst>
              <p:tags r:id="rId52"/>
            </p:custDataLst>
          </p:nvPr>
        </p:nvSpPr>
        <p:spPr bwMode="auto">
          <a:xfrm>
            <a:off x="438943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7FD87E4-8858-4291-9F63-BBB50041C8D7}" type="datetime'''''''''''''''''''''''''''1''1'''''">
              <a:rPr lang="ja-JP" altLang="en-US" sz="1000" b="0"/>
              <a:pPr algn="ctr">
                <a:spcBef>
                  <a:spcPct val="0"/>
                </a:spcBef>
                <a:spcAft>
                  <a:spcPct val="0"/>
                </a:spcAft>
              </a:pPr>
              <a:t>11</a:t>
            </a:fld>
            <a:endParaRPr kumimoji="0" lang="ja-JP" altLang="en-US" sz="1000" b="0" dirty="0">
              <a:sym typeface="+mn-lt"/>
            </a:endParaRPr>
          </a:p>
        </p:txBody>
      </p:sp>
      <p:sp>
        <p:nvSpPr>
          <p:cNvPr id="77" name="Text Placeholder 12"/>
          <p:cNvSpPr>
            <a:spLocks noGrp="1"/>
          </p:cNvSpPr>
          <p:nvPr>
            <p:custDataLst>
              <p:tags r:id="rId53"/>
            </p:custDataLst>
          </p:nvPr>
        </p:nvSpPr>
        <p:spPr bwMode="auto">
          <a:xfrm>
            <a:off x="503713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732CAEE-A5DE-4841-94E9-D13FB4264FF9}" type="datetime'''''''''''''1''''''''''''3'''''''''">
              <a:rPr lang="ja-JP" altLang="en-US" sz="1000" b="0"/>
              <a:pPr algn="ctr">
                <a:spcBef>
                  <a:spcPct val="0"/>
                </a:spcBef>
                <a:spcAft>
                  <a:spcPct val="0"/>
                </a:spcAft>
              </a:pPr>
              <a:t>13</a:t>
            </a:fld>
            <a:endParaRPr kumimoji="0" lang="ja-JP" altLang="en-US" sz="1000" b="0" dirty="0">
              <a:sym typeface="+mn-lt"/>
            </a:endParaRPr>
          </a:p>
        </p:txBody>
      </p:sp>
      <p:sp>
        <p:nvSpPr>
          <p:cNvPr id="78" name="Text Placeholder 12"/>
          <p:cNvSpPr>
            <a:spLocks noGrp="1"/>
          </p:cNvSpPr>
          <p:nvPr>
            <p:custDataLst>
              <p:tags r:id="rId54"/>
            </p:custDataLst>
          </p:nvPr>
        </p:nvSpPr>
        <p:spPr bwMode="auto">
          <a:xfrm>
            <a:off x="53609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49559D3-009A-411B-8485-FD47EC7EA168}" type="datetime'''''''''''''''''''''''1''''''''''''4'''''''''''">
              <a:rPr lang="ja-JP" altLang="en-US" sz="1000" b="0"/>
              <a:pPr algn="ctr">
                <a:spcBef>
                  <a:spcPct val="0"/>
                </a:spcBef>
                <a:spcAft>
                  <a:spcPct val="0"/>
                </a:spcAft>
              </a:pPr>
              <a:t>14</a:t>
            </a:fld>
            <a:endParaRPr kumimoji="0" lang="ja-JP" altLang="en-US" sz="1000" b="0" dirty="0">
              <a:sym typeface="+mn-lt"/>
            </a:endParaRPr>
          </a:p>
        </p:txBody>
      </p:sp>
      <p:sp>
        <p:nvSpPr>
          <p:cNvPr id="79" name="Text Placeholder 12"/>
          <p:cNvSpPr>
            <a:spLocks noGrp="1"/>
          </p:cNvSpPr>
          <p:nvPr>
            <p:custDataLst>
              <p:tags r:id="rId55"/>
            </p:custDataLst>
          </p:nvPr>
        </p:nvSpPr>
        <p:spPr bwMode="auto">
          <a:xfrm>
            <a:off x="56864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D2C0248-983B-4CE5-9787-91F38EED57D3}" type="datetime'''''''''''1''''''''''''''''''''''''''5'''''''''''''">
              <a:rPr lang="ja-JP" altLang="en-US" sz="1000" b="0"/>
              <a:pPr algn="ctr">
                <a:spcBef>
                  <a:spcPct val="0"/>
                </a:spcBef>
                <a:spcAft>
                  <a:spcPct val="0"/>
                </a:spcAft>
              </a:pPr>
              <a:t>15</a:t>
            </a:fld>
            <a:endParaRPr kumimoji="0" lang="ja-JP" altLang="en-US" sz="1000" b="0" dirty="0">
              <a:sym typeface="+mn-lt"/>
            </a:endParaRPr>
          </a:p>
        </p:txBody>
      </p:sp>
      <p:sp>
        <p:nvSpPr>
          <p:cNvPr id="112" name="Text Placeholder 12"/>
          <p:cNvSpPr>
            <a:spLocks noGrp="1"/>
          </p:cNvSpPr>
          <p:nvPr>
            <p:custDataLst>
              <p:tags r:id="rId56"/>
            </p:custDataLst>
          </p:nvPr>
        </p:nvSpPr>
        <p:spPr bwMode="auto">
          <a:xfrm>
            <a:off x="601027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FAC1101-2511-4BA8-9D4D-7A8F3C6FC7F4}" type="datetime'''1''6'''''''''''''''''''''''''''''''''''''''''''''''''''''">
              <a:rPr lang="ja-JP" altLang="en-US" sz="1000" b="0" smtClean="0"/>
              <a:pPr algn="ctr">
                <a:spcBef>
                  <a:spcPct val="0"/>
                </a:spcBef>
                <a:spcAft>
                  <a:spcPct val="0"/>
                </a:spcAft>
              </a:pPr>
              <a:t>16</a:t>
            </a:fld>
            <a:endParaRPr kumimoji="0" lang="ja-JP" altLang="en-US" sz="1000" b="0" dirty="0">
              <a:sym typeface="+mn-lt"/>
            </a:endParaRPr>
          </a:p>
        </p:txBody>
      </p:sp>
      <p:sp>
        <p:nvSpPr>
          <p:cNvPr id="86" name="Text Placeholder 12"/>
          <p:cNvSpPr>
            <a:spLocks noGrp="1"/>
          </p:cNvSpPr>
          <p:nvPr>
            <p:custDataLst>
              <p:tags r:id="rId57"/>
            </p:custDataLst>
          </p:nvPr>
        </p:nvSpPr>
        <p:spPr bwMode="auto">
          <a:xfrm>
            <a:off x="63341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81FBC31-52FC-485A-9C4C-89BEF09D51B8}" type="datetime'''''1''''7'''''''''''''''''''''">
              <a:rPr lang="en-US" altLang="en-US" sz="1000" b="0" smtClean="0"/>
              <a:pPr algn="ctr">
                <a:spcBef>
                  <a:spcPct val="0"/>
                </a:spcBef>
                <a:spcAft>
                  <a:spcPct val="0"/>
                </a:spcAft>
              </a:pPr>
              <a:t>17</a:t>
            </a:fld>
            <a:endParaRPr kumimoji="0" lang="ja-JP" altLang="en-US" sz="1000" b="0" dirty="0">
              <a:sym typeface="+mn-lt"/>
            </a:endParaRPr>
          </a:p>
        </p:txBody>
      </p:sp>
      <p:sp>
        <p:nvSpPr>
          <p:cNvPr id="87" name="Text Placeholder 12">
            <a:extLst>
              <a:ext uri="{FF2B5EF4-FFF2-40B4-BE49-F238E27FC236}">
                <a16:creationId xmlns:a16="http://schemas.microsoft.com/office/drawing/2014/main" id="{F444EC47-6C4E-4954-86B6-A8E72503AE54}"/>
              </a:ext>
            </a:extLst>
          </p:cNvPr>
          <p:cNvSpPr>
            <a:spLocks noGrp="1"/>
          </p:cNvSpPr>
          <p:nvPr>
            <p:custDataLst>
              <p:tags r:id="rId58"/>
            </p:custDataLst>
          </p:nvPr>
        </p:nvSpPr>
        <p:spPr bwMode="auto">
          <a:xfrm>
            <a:off x="69834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72B748C-EE66-45D8-8DF7-1A080960C48D}" type="datetime'''''''''1''''''''''''''''''''9'''''''''''''''''''''''''''''">
              <a:rPr kumimoji="0" lang="en-US" altLang="en-US" sz="1000" b="0" smtClean="0"/>
              <a:pPr/>
              <a:t>19</a:t>
            </a:fld>
            <a:endParaRPr kumimoji="0" lang="ja-JP" altLang="en-US" sz="1000" b="0" dirty="0">
              <a:sym typeface="+mn-lt"/>
            </a:endParaRPr>
          </a:p>
        </p:txBody>
      </p:sp>
      <p:sp>
        <p:nvSpPr>
          <p:cNvPr id="88" name="Text Placeholder 12">
            <a:extLst>
              <a:ext uri="{FF2B5EF4-FFF2-40B4-BE49-F238E27FC236}">
                <a16:creationId xmlns:a16="http://schemas.microsoft.com/office/drawing/2014/main" id="{2B64225D-573D-4645-B7AF-1A02ECA16C3D}"/>
              </a:ext>
            </a:extLst>
          </p:cNvPr>
          <p:cNvSpPr>
            <a:spLocks noGrp="1"/>
          </p:cNvSpPr>
          <p:nvPr>
            <p:custDataLst>
              <p:tags r:id="rId59"/>
            </p:custDataLst>
          </p:nvPr>
        </p:nvSpPr>
        <p:spPr bwMode="auto">
          <a:xfrm>
            <a:off x="73072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3815770-0CD2-45C6-B72B-746BC0D0A00B}" type="datetime'''''''''''''''''''''''''''2''''''''''0'''''''''''''''''">
              <a:rPr kumimoji="0" lang="en-US" altLang="en-US" sz="1000" b="0" smtClean="0"/>
              <a:pPr/>
              <a:t>20</a:t>
            </a:fld>
            <a:endParaRPr kumimoji="0" lang="ja-JP" altLang="en-US" sz="1000" b="0" dirty="0">
              <a:sym typeface="+mn-lt"/>
            </a:endParaRPr>
          </a:p>
        </p:txBody>
      </p:sp>
      <p:sp>
        <p:nvSpPr>
          <p:cNvPr id="95" name="Text Placeholder 12">
            <a:extLst>
              <a:ext uri="{FF2B5EF4-FFF2-40B4-BE49-F238E27FC236}">
                <a16:creationId xmlns:a16="http://schemas.microsoft.com/office/drawing/2014/main" id="{A59BD8F7-0CC8-4502-9B5B-6CEA46B28068}"/>
              </a:ext>
            </a:extLst>
          </p:cNvPr>
          <p:cNvSpPr>
            <a:spLocks noGrp="1"/>
          </p:cNvSpPr>
          <p:nvPr>
            <p:custDataLst>
              <p:tags r:id="rId60"/>
            </p:custDataLst>
          </p:nvPr>
        </p:nvSpPr>
        <p:spPr bwMode="auto">
          <a:xfrm>
            <a:off x="7562850"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B962D43-AC7E-4C5B-AA7C-556E3CFEBA6E}" type="datetime'''''''''''2''''''''''''''''0''21'''''''''''''''''''''''">
              <a:rPr kumimoji="0" lang="en-US" altLang="en-US" sz="1000" b="0" smtClean="0"/>
              <a:pPr/>
              <a:t>2021</a:t>
            </a:fld>
            <a:endParaRPr kumimoji="0" lang="ja-JP" altLang="en-US" sz="1000" b="0" dirty="0">
              <a:sym typeface="+mn-lt"/>
            </a:endParaRPr>
          </a:p>
        </p:txBody>
      </p:sp>
      <p:sp>
        <p:nvSpPr>
          <p:cNvPr id="3" name="Rectangle 2"/>
          <p:cNvSpPr/>
          <p:nvPr>
            <p:custDataLst>
              <p:tags r:id="rId61"/>
            </p:custDataLst>
          </p:nvPr>
        </p:nvSpPr>
        <p:spPr bwMode="gray">
          <a:xfrm>
            <a:off x="8315325" y="3484563"/>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4" name="Straight Connector 3"/>
          <p:cNvCxnSpPr/>
          <p:nvPr>
            <p:custDataLst>
              <p:tags r:id="rId62"/>
            </p:custDataLst>
          </p:nvPr>
        </p:nvCxnSpPr>
        <p:spPr bwMode="gray">
          <a:xfrm>
            <a:off x="8234362" y="3754438"/>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63"/>
            </p:custDataLst>
          </p:nvPr>
        </p:nvSpPr>
        <p:spPr bwMode="gray">
          <a:xfrm>
            <a:off x="8323263" y="3716338"/>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82" name="テキスト プレースホルダ 9"/>
          <p:cNvSpPr>
            <a:spLocks noGrp="1"/>
          </p:cNvSpPr>
          <p:nvPr>
            <p:custDataLst>
              <p:tags r:id="rId64"/>
            </p:custDataLst>
          </p:nvPr>
        </p:nvSpPr>
        <p:spPr bwMode="auto">
          <a:xfrm>
            <a:off x="85455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072E489-822F-492E-A948-1E20BDB24D7D}" type="datetime'''名''目G''''''''''''D''''''P''''''（''10''''億''U''''''S$）'''">
              <a:rPr kumimoji="0" lang="ja-JP" altLang="en-US" sz="1000">
                <a:sym typeface="+mn-lt"/>
              </a:rPr>
              <a:pPr marL="0" indent="0">
                <a:spcBef>
                  <a:spcPct val="0"/>
                </a:spcBef>
                <a:buNone/>
              </a:pPr>
              <a:t>名目GDP（10億US$）</a:t>
            </a:fld>
            <a:endParaRPr kumimoji="0" lang="ja-JP" altLang="en-US" sz="1000" dirty="0">
              <a:sym typeface="+mn-lt"/>
            </a:endParaRPr>
          </a:p>
        </p:txBody>
      </p:sp>
      <p:sp>
        <p:nvSpPr>
          <p:cNvPr id="81" name="テキスト プレースホルダ 9"/>
          <p:cNvSpPr>
            <a:spLocks noGrp="1"/>
          </p:cNvSpPr>
          <p:nvPr>
            <p:custDataLst>
              <p:tags r:id="rId65"/>
            </p:custDataLst>
          </p:nvPr>
        </p:nvSpPr>
        <p:spPr bwMode="auto">
          <a:xfrm>
            <a:off x="85455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D2B3C44-C5E4-47BB-BBBE-ED97E2E81B8B}" type="datetime'''''''''''''''''''''実''''''''質''''''''''G''DP成長''''''''率''（％）'">
              <a:rPr kumimoji="0" lang="ja-JP" altLang="en-US" sz="1000">
                <a:sym typeface="+mn-lt"/>
              </a:rPr>
              <a:pPr marL="0" indent="0">
                <a:spcBef>
                  <a:spcPct val="0"/>
                </a:spcBef>
                <a:buNone/>
              </a:pPr>
              <a:t>実質GDP成長率（％）</a:t>
            </a:fld>
            <a:endParaRPr kumimoji="0" lang="ja-JP" altLang="en-US" sz="1000" dirty="0">
              <a:sym typeface="+mn-lt"/>
            </a:endParaRPr>
          </a:p>
        </p:txBody>
      </p:sp>
    </p:spTree>
    <p:extLst>
      <p:ext uri="{BB962C8B-B14F-4D97-AF65-F5344CB8AC3E}">
        <p14:creationId xmlns:p14="http://schemas.microsoft.com/office/powerpoint/2010/main" val="2945964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85" imgW="360" imgH="360" progId="TCLayout.ActiveDocument.1">
                  <p:embed/>
                </p:oleObj>
              </mc:Choice>
              <mc:Fallback>
                <p:oleObj name="think-cell Slide" r:id="rId85" imgW="360" imgH="360" progId="TCLayout.ActiveDocument.1">
                  <p:embed/>
                  <p:pic>
                    <p:nvPicPr>
                      <p:cNvPr id="7" name="Object 6" hidden="1"/>
                      <p:cNvPicPr>
                        <a:picLocks noChangeAspect="1" noChangeArrowheads="1"/>
                      </p:cNvPicPr>
                      <p:nvPr/>
                    </p:nvPicPr>
                    <p:blipFill>
                      <a:blip r:embed="rId8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シンガポール／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90463" y="6606828"/>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 Exchange Rate Archives</a:t>
            </a: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為替</a:t>
              </a:r>
              <a:r>
                <a:rPr lang="ja-JP" altLang="en-US" sz="1400" dirty="0">
                  <a:solidFill>
                    <a:srgbClr val="000000"/>
                  </a:solidFill>
                  <a:latin typeface="Arial Black" pitchFamily="34" charset="0"/>
                  <a:ea typeface="HGP創英角ｺﾞｼｯｸUB" pitchFamily="50" charset="-128"/>
                </a:rPr>
                <a:t>レート</a:t>
              </a:r>
            </a:p>
          </p:txBody>
        </p:sp>
      </p:grpSp>
      <p:sp>
        <p:nvSpPr>
          <p:cNvPr id="33" name="テキスト ボックス 32"/>
          <p:cNvSpPr txBox="1"/>
          <p:nvPr/>
        </p:nvSpPr>
        <p:spPr>
          <a:xfrm>
            <a:off x="182336" y="1052887"/>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ンガポールのインフレ率は比較的低水準で推移している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世界的なインフレ率上昇や国内の労働需給の圧迫による賃金上昇などから、企業による商品価格へのコスト転嫁が進んだとみられる。</a:t>
            </a:r>
          </a:p>
        </p:txBody>
      </p:sp>
      <p:grpSp>
        <p:nvGrpSpPr>
          <p:cNvPr id="40" name="グループ化 39"/>
          <p:cNvGrpSpPr/>
          <p:nvPr/>
        </p:nvGrpSpPr>
        <p:grpSpPr>
          <a:xfrm>
            <a:off x="4002166" y="2370138"/>
            <a:ext cx="1152130" cy="4165679"/>
            <a:chOff x="6342493" y="-215875"/>
            <a:chExt cx="1484517" cy="4196021"/>
          </a:xfrm>
        </p:grpSpPr>
        <p:sp>
          <p:nvSpPr>
            <p:cNvPr id="41" name="フリーフォーム 40"/>
            <p:cNvSpPr/>
            <p:nvPr/>
          </p:nvSpPr>
          <p:spPr>
            <a:xfrm>
              <a:off x="6610985" y="-215875"/>
              <a:ext cx="1216025"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42" name="角丸四角形 41"/>
            <p:cNvSpPr/>
            <p:nvPr/>
          </p:nvSpPr>
          <p:spPr>
            <a:xfrm>
              <a:off x="6342493" y="3773413"/>
              <a:ext cx="1287478"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156" name="Chart 155">
            <a:extLst>
              <a:ext uri="{FF2B5EF4-FFF2-40B4-BE49-F238E27FC236}">
                <a16:creationId xmlns:a16="http://schemas.microsoft.com/office/drawing/2014/main" id="{1C638050-6C4A-4E32-B335-EFD329BBC2F1}"/>
              </a:ext>
            </a:extLst>
          </p:cNvPr>
          <p:cNvGraphicFramePr/>
          <p:nvPr>
            <p:custDataLst>
              <p:tags r:id="rId4"/>
            </p:custDataLst>
          </p:nvPr>
        </p:nvGraphicFramePr>
        <p:xfrm>
          <a:off x="55563" y="2370138"/>
          <a:ext cx="4921250" cy="3771900"/>
        </p:xfrm>
        <a:graphic>
          <a:graphicData uri="http://schemas.openxmlformats.org/drawingml/2006/chart">
            <c:chart xmlns:c="http://schemas.openxmlformats.org/drawingml/2006/chart" xmlns:r="http://schemas.openxmlformats.org/officeDocument/2006/relationships" r:id="rId87"/>
          </a:graphicData>
        </a:graphic>
      </p:graphicFrame>
      <p:sp useBgFill="1">
        <p:nvSpPr>
          <p:cNvPr id="99" name="Text Placeholder 12"/>
          <p:cNvSpPr>
            <a:spLocks noGrp="1"/>
          </p:cNvSpPr>
          <p:nvPr>
            <p:custDataLst>
              <p:tags r:id="rId5"/>
            </p:custDataLst>
          </p:nvPr>
        </p:nvSpPr>
        <p:spPr bwMode="gray">
          <a:xfrm>
            <a:off x="2476500" y="3201988"/>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1B5E30B-D289-4008-9F33-643B73873015}" type="datetime'''''''''4.''6'''''''''''''''''''''''''''''''''''''''''">
              <a:rPr lang="en-US" altLang="en-US" sz="1000" b="0" smtClean="0">
                <a:effectLst/>
              </a:rPr>
              <a:pPr/>
              <a:t>4.6</a:t>
            </a:fld>
            <a:endParaRPr kumimoji="0" lang="ja-JP" altLang="en-US" sz="1000" b="0" dirty="0">
              <a:sym typeface="+mn-lt"/>
            </a:endParaRPr>
          </a:p>
        </p:txBody>
      </p:sp>
      <p:sp useBgFill="1">
        <p:nvSpPr>
          <p:cNvPr id="96" name="Text Placeholder 12"/>
          <p:cNvSpPr>
            <a:spLocks noGrp="1"/>
          </p:cNvSpPr>
          <p:nvPr>
            <p:custDataLst>
              <p:tags r:id="rId6"/>
            </p:custDataLst>
          </p:nvPr>
        </p:nvSpPr>
        <p:spPr bwMode="gray">
          <a:xfrm>
            <a:off x="715963" y="5160963"/>
            <a:ext cx="252413"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4224382-FCFA-438E-815E-FECF7AD6E3B8}" type="datetime'''-''''''''0.''''''''''''''''''''4'''''''''''">
              <a:rPr lang="en-US" altLang="en-US" sz="1000" b="0" smtClean="0">
                <a:effectLst/>
              </a:rPr>
              <a:pPr/>
              <a:t>-0.4</a:t>
            </a:fld>
            <a:endParaRPr kumimoji="0" lang="ja-JP" altLang="en-US" sz="1000" b="0" dirty="0">
              <a:sym typeface="+mn-lt"/>
            </a:endParaRPr>
          </a:p>
        </p:txBody>
      </p:sp>
      <p:sp>
        <p:nvSpPr>
          <p:cNvPr id="75" name="Text Placeholder 12"/>
          <p:cNvSpPr>
            <a:spLocks noGrp="1"/>
          </p:cNvSpPr>
          <p:nvPr>
            <p:custDataLst>
              <p:tags r:id="rId7"/>
            </p:custDataLst>
          </p:nvPr>
        </p:nvSpPr>
        <p:spPr bwMode="auto">
          <a:xfrm>
            <a:off x="19050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73" name="Text Placeholder 12"/>
          <p:cNvSpPr>
            <a:spLocks noGrp="1"/>
          </p:cNvSpPr>
          <p:nvPr>
            <p:custDataLst>
              <p:tags r:id="rId8"/>
            </p:custDataLst>
          </p:nvPr>
        </p:nvSpPr>
        <p:spPr bwMode="auto">
          <a:xfrm>
            <a:off x="38973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7B04DF-318C-4CC7-AF8C-4353CDFA5FA7}" type="datetime'''''''2''''''''''''''''''''''''''''''''''''''0'''''''''''">
              <a:rPr lang="ja-JP" altLang="en-US" sz="1000" b="0"/>
              <a:pPr algn="ctr">
                <a:spcBef>
                  <a:spcPct val="0"/>
                </a:spcBef>
                <a:spcAft>
                  <a:spcPct val="0"/>
                </a:spcAft>
              </a:pPr>
              <a:t>20</a:t>
            </a:fld>
            <a:endParaRPr kumimoji="0" lang="ja-JP" altLang="en-US" sz="1000" b="0" dirty="0">
              <a:sym typeface="+mn-lt"/>
            </a:endParaRPr>
          </a:p>
        </p:txBody>
      </p:sp>
      <p:sp>
        <p:nvSpPr>
          <p:cNvPr id="76" name="Text Placeholder 12"/>
          <p:cNvSpPr>
            <a:spLocks noGrp="1"/>
          </p:cNvSpPr>
          <p:nvPr>
            <p:custDataLst>
              <p:tags r:id="rId9"/>
            </p:custDataLst>
          </p:nvPr>
        </p:nvSpPr>
        <p:spPr bwMode="auto">
          <a:xfrm>
            <a:off x="347663" y="61293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190E23F-08A0-4B2A-A382-7B2682502C80}" type="datetime'''''''''''''''''2''''0''''''''''''''0''''''''''''''''0'''''">
              <a:rPr lang="ja-JP" altLang="en-US" sz="1000" b="0"/>
              <a:pPr algn="ctr">
                <a:spcBef>
                  <a:spcPct val="0"/>
                </a:spcBef>
                <a:spcAft>
                  <a:spcPct val="0"/>
                </a:spcAft>
              </a:pPr>
              <a:t>2000</a:t>
            </a:fld>
            <a:endParaRPr kumimoji="0" lang="ja-JP" altLang="en-US" sz="1000" b="0" dirty="0">
              <a:sym typeface="+mn-lt"/>
            </a:endParaRPr>
          </a:p>
        </p:txBody>
      </p:sp>
      <p:sp useBgFill="1">
        <p:nvSpPr>
          <p:cNvPr id="101" name="テキスト プレースホルダ 9">
            <a:extLst>
              <a:ext uri="{FF2B5EF4-FFF2-40B4-BE49-F238E27FC236}">
                <a16:creationId xmlns:a16="http://schemas.microsoft.com/office/drawing/2014/main" id="{B519D86A-7E50-497E-AA1A-8C3E7D7806C3}"/>
              </a:ext>
            </a:extLst>
          </p:cNvPr>
          <p:cNvSpPr>
            <a:spLocks noGrp="1"/>
          </p:cNvSpPr>
          <p:nvPr>
            <p:custDataLst>
              <p:tags r:id="rId10"/>
            </p:custDataLst>
          </p:nvPr>
        </p:nvSpPr>
        <p:spPr bwMode="gray">
          <a:xfrm>
            <a:off x="2651125" y="407670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908D9FF-466B-4BF3-B647-EB273C41A888}" type="datetime'''''''''''''''''''2''''''''''''''''.''''''''''''4'''''">
              <a:rPr lang="en-US" altLang="en-US" sz="1000" smtClean="0">
                <a:effectLst/>
                <a:sym typeface="+mn-lt"/>
              </a:rPr>
              <a:pPr marL="0" indent="0" algn="ctr">
                <a:spcBef>
                  <a:spcPct val="0"/>
                </a:spcBef>
                <a:buNone/>
              </a:pPr>
              <a:t>2.4</a:t>
            </a:fld>
            <a:endParaRPr lang="ja-JP" altLang="en-US" sz="1000" dirty="0">
              <a:sym typeface="+mn-lt"/>
            </a:endParaRPr>
          </a:p>
        </p:txBody>
      </p:sp>
      <p:sp>
        <p:nvSpPr>
          <p:cNvPr id="77" name="Text Placeholder 12"/>
          <p:cNvSpPr>
            <a:spLocks noGrp="1"/>
          </p:cNvSpPr>
          <p:nvPr>
            <p:custDataLst>
              <p:tags r:id="rId11"/>
            </p:custDataLst>
          </p:nvPr>
        </p:nvSpPr>
        <p:spPr bwMode="auto">
          <a:xfrm>
            <a:off x="5921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B445B01-90A1-4D21-90F5-16AB3567B144}" type="datetime'''''''''''''''''''''''''0''''''1'''''">
              <a:rPr lang="ja-JP" altLang="en-US" sz="1000" b="0"/>
              <a:pPr algn="ctr">
                <a:spcBef>
                  <a:spcPct val="0"/>
                </a:spcBef>
                <a:spcAft>
                  <a:spcPct val="0"/>
                </a:spcAft>
              </a:pPr>
              <a:t>01</a:t>
            </a:fld>
            <a:endParaRPr kumimoji="0" lang="ja-JP" altLang="en-US" sz="1000" b="0" dirty="0">
              <a:sym typeface="+mn-lt"/>
            </a:endParaRPr>
          </a:p>
        </p:txBody>
      </p:sp>
      <p:sp>
        <p:nvSpPr>
          <p:cNvPr id="74" name="Text Placeholder 12"/>
          <p:cNvSpPr>
            <a:spLocks noGrp="1"/>
          </p:cNvSpPr>
          <p:nvPr>
            <p:custDataLst>
              <p:tags r:id="rId12"/>
            </p:custDataLst>
          </p:nvPr>
        </p:nvSpPr>
        <p:spPr bwMode="auto">
          <a:xfrm>
            <a:off x="7651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F98D798-2425-4638-85D4-E4DB0A3657A8}" type="datetime'''''''''0''''''''''''''''''''''2'''''''''''''''''''''''''''''">
              <a:rPr lang="ja-JP" altLang="en-US" sz="1000" b="0"/>
              <a:pPr algn="ctr">
                <a:spcBef>
                  <a:spcPct val="0"/>
                </a:spcBef>
                <a:spcAft>
                  <a:spcPct val="0"/>
                </a:spcAft>
              </a:pPr>
              <a:t>02</a:t>
            </a:fld>
            <a:endParaRPr kumimoji="0" lang="ja-JP" altLang="en-US" sz="1000" b="0" dirty="0">
              <a:sym typeface="+mn-lt"/>
            </a:endParaRPr>
          </a:p>
        </p:txBody>
      </p:sp>
      <p:sp>
        <p:nvSpPr>
          <p:cNvPr id="82" name="Text Placeholder 12"/>
          <p:cNvSpPr>
            <a:spLocks noGrp="1"/>
          </p:cNvSpPr>
          <p:nvPr>
            <p:custDataLst>
              <p:tags r:id="rId13"/>
            </p:custDataLst>
          </p:nvPr>
        </p:nvSpPr>
        <p:spPr bwMode="auto">
          <a:xfrm>
            <a:off x="16351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2FADD05-3C9B-4BE1-BB1B-88E6C0F118D2}" type="datetime'''''''''''0''''''''7'''''''">
              <a:rPr lang="ja-JP" altLang="en-US" sz="1000" b="0"/>
              <a:pPr algn="ctr">
                <a:spcBef>
                  <a:spcPct val="0"/>
                </a:spcBef>
                <a:spcAft>
                  <a:spcPct val="0"/>
                </a:spcAft>
              </a:pPr>
              <a:t>07</a:t>
            </a:fld>
            <a:endParaRPr kumimoji="0" lang="ja-JP" altLang="en-US" sz="1000" b="0" dirty="0">
              <a:sym typeface="+mn-lt"/>
            </a:endParaRPr>
          </a:p>
        </p:txBody>
      </p:sp>
      <p:sp useBgFill="1">
        <p:nvSpPr>
          <p:cNvPr id="94" name="Text Placeholder 12"/>
          <p:cNvSpPr>
            <a:spLocks noGrp="1"/>
          </p:cNvSpPr>
          <p:nvPr>
            <p:custDataLst>
              <p:tags r:id="rId14"/>
            </p:custDataLst>
          </p:nvPr>
        </p:nvSpPr>
        <p:spPr bwMode="gray">
          <a:xfrm>
            <a:off x="911225" y="4814888"/>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0D5DC7E-3E8F-49D2-9D3D-988060349D98}" type="datetime'''''''''''''''''''''''''''''''''''0''''''''''''.''''''''''5'''">
              <a:rPr lang="en-US" altLang="en-US" sz="1000" b="0" smtClean="0">
                <a:effectLst/>
              </a:rPr>
              <a:pPr/>
              <a:t>0.5</a:t>
            </a:fld>
            <a:endParaRPr kumimoji="0" lang="ja-JP" altLang="en-US" sz="1000" b="0" dirty="0">
              <a:sym typeface="+mn-lt"/>
            </a:endParaRPr>
          </a:p>
        </p:txBody>
      </p:sp>
      <p:sp>
        <p:nvSpPr>
          <p:cNvPr id="84" name="Text Placeholder 12"/>
          <p:cNvSpPr>
            <a:spLocks noGrp="1"/>
          </p:cNvSpPr>
          <p:nvPr>
            <p:custDataLst>
              <p:tags r:id="rId15"/>
            </p:custDataLst>
          </p:nvPr>
        </p:nvSpPr>
        <p:spPr bwMode="auto">
          <a:xfrm>
            <a:off x="19827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61AB56C-434C-46A9-96B5-79EF171C26AA}" type="datetime'''''''''''''''''''''09'''''''''''''''''''''''''''''''">
              <a:rPr lang="ja-JP" altLang="en-US" sz="1000" b="0"/>
              <a:pPr algn="ctr">
                <a:spcBef>
                  <a:spcPct val="0"/>
                </a:spcBef>
                <a:spcAft>
                  <a:spcPct val="0"/>
                </a:spcAft>
              </a:pPr>
              <a:t>09</a:t>
            </a:fld>
            <a:endParaRPr kumimoji="0" lang="ja-JP" altLang="en-US" sz="1000" b="0" dirty="0">
              <a:sym typeface="+mn-lt"/>
            </a:endParaRPr>
          </a:p>
        </p:txBody>
      </p:sp>
      <p:sp>
        <p:nvSpPr>
          <p:cNvPr id="83" name="Text Placeholder 12"/>
          <p:cNvSpPr>
            <a:spLocks noGrp="1"/>
          </p:cNvSpPr>
          <p:nvPr>
            <p:custDataLst>
              <p:tags r:id="rId16"/>
            </p:custDataLst>
          </p:nvPr>
        </p:nvSpPr>
        <p:spPr bwMode="auto">
          <a:xfrm>
            <a:off x="18097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22E42F4-4689-4A29-8C42-BAB3F0CC64CC}" type="datetime'''''0''8'">
              <a:rPr lang="ja-JP" altLang="en-US" sz="1000" b="0"/>
              <a:pPr algn="ctr">
                <a:spcBef>
                  <a:spcPct val="0"/>
                </a:spcBef>
                <a:spcAft>
                  <a:spcPct val="0"/>
                </a:spcAft>
              </a:pPr>
              <a:t>08</a:t>
            </a:fld>
            <a:endParaRPr kumimoji="0" lang="ja-JP" altLang="en-US" sz="1000" b="0" dirty="0">
              <a:sym typeface="+mn-lt"/>
            </a:endParaRPr>
          </a:p>
        </p:txBody>
      </p:sp>
      <p:sp>
        <p:nvSpPr>
          <p:cNvPr id="78" name="Text Placeholder 12"/>
          <p:cNvSpPr>
            <a:spLocks noGrp="1"/>
          </p:cNvSpPr>
          <p:nvPr>
            <p:custDataLst>
              <p:tags r:id="rId17"/>
            </p:custDataLst>
          </p:nvPr>
        </p:nvSpPr>
        <p:spPr bwMode="auto">
          <a:xfrm>
            <a:off x="9398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6D9795E-6FBE-4DE3-86F8-95509A1F33E1}" type="datetime'''''''''''0''''''''''''''3'''''''''''''''''''''''''''''''''''">
              <a:rPr lang="ja-JP" altLang="en-US" sz="1000" b="0"/>
              <a:pPr algn="ctr">
                <a:spcBef>
                  <a:spcPct val="0"/>
                </a:spcBef>
                <a:spcAft>
                  <a:spcPct val="0"/>
                </a:spcAft>
              </a:pPr>
              <a:t>03</a:t>
            </a:fld>
            <a:endParaRPr kumimoji="0" lang="ja-JP" altLang="en-US" sz="1000" b="0" dirty="0">
              <a:sym typeface="+mn-lt"/>
            </a:endParaRPr>
          </a:p>
        </p:txBody>
      </p:sp>
      <p:sp>
        <p:nvSpPr>
          <p:cNvPr id="79" name="Text Placeholder 12"/>
          <p:cNvSpPr>
            <a:spLocks noGrp="1"/>
          </p:cNvSpPr>
          <p:nvPr>
            <p:custDataLst>
              <p:tags r:id="rId18"/>
            </p:custDataLst>
          </p:nvPr>
        </p:nvSpPr>
        <p:spPr bwMode="auto">
          <a:xfrm>
            <a:off x="11128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D6AD546-4875-42C6-9DA3-C6400C0892A1}" type="datetime'''''''''''''''''''''''''''''''''''''''0''''''''''''''''4'''">
              <a:rPr lang="ja-JP" altLang="en-US" sz="1000" b="0"/>
              <a:pPr algn="ctr">
                <a:spcBef>
                  <a:spcPct val="0"/>
                </a:spcBef>
                <a:spcAft>
                  <a:spcPct val="0"/>
                </a:spcAft>
              </a:pPr>
              <a:t>04</a:t>
            </a:fld>
            <a:endParaRPr kumimoji="0" lang="ja-JP" altLang="en-US" sz="1000" b="0" dirty="0">
              <a:sym typeface="+mn-lt"/>
            </a:endParaRPr>
          </a:p>
        </p:txBody>
      </p:sp>
      <p:sp useBgFill="1">
        <p:nvSpPr>
          <p:cNvPr id="142" name="テキスト プレースホルダ 9">
            <a:extLst>
              <a:ext uri="{FF2B5EF4-FFF2-40B4-BE49-F238E27FC236}">
                <a16:creationId xmlns:a16="http://schemas.microsoft.com/office/drawing/2014/main" id="{794DA3B5-15B8-4C92-95CA-E7B22A743E09}"/>
              </a:ext>
            </a:extLst>
          </p:cNvPr>
          <p:cNvSpPr>
            <a:spLocks noGrp="1"/>
          </p:cNvSpPr>
          <p:nvPr>
            <p:custDataLst>
              <p:tags r:id="rId19"/>
            </p:custDataLst>
          </p:nvPr>
        </p:nvSpPr>
        <p:spPr bwMode="gray">
          <a:xfrm>
            <a:off x="4043363" y="4097338"/>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9C89897-8680-4B3C-9705-6635D742A75A}" type="datetime'''''''''''''''''''''''''''''''''''''''2''''''''''''''.''''''3'">
              <a:rPr lang="en-US" altLang="en-US" sz="1000" smtClean="0">
                <a:effectLst/>
                <a:sym typeface="+mn-lt"/>
              </a:rPr>
              <a:pPr marL="0" indent="0" algn="ctr">
                <a:spcBef>
                  <a:spcPct val="0"/>
                </a:spcBef>
                <a:buNone/>
              </a:pPr>
              <a:t>2.3</a:t>
            </a:fld>
            <a:endParaRPr lang="ja-JP" altLang="en-US" sz="1000" dirty="0">
              <a:sym typeface="+mn-lt"/>
            </a:endParaRPr>
          </a:p>
        </p:txBody>
      </p:sp>
      <p:sp useBgFill="1">
        <p:nvSpPr>
          <p:cNvPr id="95" name="Text Placeholder 12"/>
          <p:cNvSpPr>
            <a:spLocks noGrp="1"/>
          </p:cNvSpPr>
          <p:nvPr>
            <p:custDataLst>
              <p:tags r:id="rId20"/>
            </p:custDataLst>
          </p:nvPr>
        </p:nvSpPr>
        <p:spPr bwMode="gray">
          <a:xfrm>
            <a:off x="1258888" y="4821238"/>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A75C31B-8B0C-4F60-A5BF-FA3559DE12CB}" type="datetime'0.''''''''''''''''''''''''''''''''''''''''''5'''''''">
              <a:rPr lang="en-US" altLang="en-US" sz="1000" b="0" smtClean="0">
                <a:effectLst/>
              </a:rPr>
              <a:pPr/>
              <a:t>0.5</a:t>
            </a:fld>
            <a:endParaRPr kumimoji="0" lang="ja-JP" altLang="en-US" sz="1000" b="0" dirty="0">
              <a:sym typeface="+mn-lt"/>
            </a:endParaRPr>
          </a:p>
        </p:txBody>
      </p:sp>
      <p:sp>
        <p:nvSpPr>
          <p:cNvPr id="80" name="Text Placeholder 12"/>
          <p:cNvSpPr>
            <a:spLocks noGrp="1"/>
          </p:cNvSpPr>
          <p:nvPr>
            <p:custDataLst>
              <p:tags r:id="rId21"/>
            </p:custDataLst>
          </p:nvPr>
        </p:nvSpPr>
        <p:spPr bwMode="auto">
          <a:xfrm>
            <a:off x="12874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DE23B5B-8892-47D1-BB95-A871D1D9D509}" type="datetime'''''''''''''''''''''''''0''''''''''''''''''''''''5'''''''">
              <a:rPr lang="ja-JP" altLang="en-US" sz="1000" b="0"/>
              <a:pPr algn="ctr">
                <a:spcBef>
                  <a:spcPct val="0"/>
                </a:spcBef>
                <a:spcAft>
                  <a:spcPct val="0"/>
                </a:spcAft>
              </a:pPr>
              <a:t>05</a:t>
            </a:fld>
            <a:endParaRPr kumimoji="0" lang="ja-JP" altLang="en-US" sz="1000" b="0" dirty="0">
              <a:sym typeface="+mn-lt"/>
            </a:endParaRPr>
          </a:p>
        </p:txBody>
      </p:sp>
      <p:sp useBgFill="1">
        <p:nvSpPr>
          <p:cNvPr id="97" name="Text Placeholder 12"/>
          <p:cNvSpPr>
            <a:spLocks noGrp="1"/>
          </p:cNvSpPr>
          <p:nvPr>
            <p:custDataLst>
              <p:tags r:id="rId22"/>
            </p:custDataLst>
          </p:nvPr>
        </p:nvSpPr>
        <p:spPr bwMode="gray">
          <a:xfrm>
            <a:off x="1954213" y="4772025"/>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4731F37-582A-4717-9B0A-02590E2ADE15}" type="datetime'''''''''''''0''''''''''''.''''''''''''6'''">
              <a:rPr lang="en-US" altLang="en-US" sz="1000" b="0" smtClean="0">
                <a:effectLst/>
              </a:rPr>
              <a:pPr/>
              <a:t>0.6</a:t>
            </a:fld>
            <a:endParaRPr kumimoji="0" lang="ja-JP" altLang="en-US" sz="1000" b="0" dirty="0">
              <a:sym typeface="+mn-lt"/>
            </a:endParaRPr>
          </a:p>
        </p:txBody>
      </p:sp>
      <p:sp useBgFill="1">
        <p:nvSpPr>
          <p:cNvPr id="92" name="Text Placeholder 12"/>
          <p:cNvSpPr>
            <a:spLocks noGrp="1"/>
          </p:cNvSpPr>
          <p:nvPr>
            <p:custDataLst>
              <p:tags r:id="rId23"/>
            </p:custDataLst>
          </p:nvPr>
        </p:nvSpPr>
        <p:spPr bwMode="gray">
          <a:xfrm>
            <a:off x="1433513" y="4627563"/>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7829888-F5E6-4943-A2A9-0939A243C5A4}" type="datetime'''''''''''''''1''''''''''''''''''''.''''0'''''''">
              <a:rPr lang="en-US" altLang="en-US" sz="1000" b="0" smtClean="0">
                <a:effectLst/>
              </a:rPr>
              <a:pPr/>
              <a:t>1.0</a:t>
            </a:fld>
            <a:endParaRPr kumimoji="0" lang="ja-JP" altLang="en-US" sz="1000" b="0" dirty="0">
              <a:sym typeface="+mn-lt"/>
            </a:endParaRPr>
          </a:p>
        </p:txBody>
      </p:sp>
      <p:sp>
        <p:nvSpPr>
          <p:cNvPr id="81" name="Text Placeholder 12"/>
          <p:cNvSpPr>
            <a:spLocks noGrp="1"/>
          </p:cNvSpPr>
          <p:nvPr>
            <p:custDataLst>
              <p:tags r:id="rId24"/>
            </p:custDataLst>
          </p:nvPr>
        </p:nvSpPr>
        <p:spPr bwMode="auto">
          <a:xfrm>
            <a:off x="14620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2358B97-4395-4B96-9F11-EB676F30E66C}" type="datetime'''0''''''''''''''''''''''''''''''''6'''''''''''''''''''">
              <a:rPr lang="ja-JP" altLang="en-US" sz="1000" b="0"/>
              <a:pPr algn="ctr">
                <a:spcBef>
                  <a:spcPct val="0"/>
                </a:spcBef>
                <a:spcAft>
                  <a:spcPct val="0"/>
                </a:spcAft>
              </a:pPr>
              <a:t>06</a:t>
            </a:fld>
            <a:endParaRPr kumimoji="0" lang="ja-JP" altLang="en-US" sz="1000" b="0" dirty="0">
              <a:sym typeface="+mn-lt"/>
            </a:endParaRPr>
          </a:p>
        </p:txBody>
      </p:sp>
      <p:sp useBgFill="1">
        <p:nvSpPr>
          <p:cNvPr id="91" name="Text Placeholder 12"/>
          <p:cNvSpPr>
            <a:spLocks noGrp="1"/>
          </p:cNvSpPr>
          <p:nvPr>
            <p:custDataLst>
              <p:tags r:id="rId25"/>
            </p:custDataLst>
          </p:nvPr>
        </p:nvSpPr>
        <p:spPr bwMode="gray">
          <a:xfrm>
            <a:off x="1606550" y="4176713"/>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7DA00A8-B3E9-47F9-8DA5-5E778559F6EE}" type="datetime'''''''''''''''''''''''''''''''''2''''''''''''''''.''''1'">
              <a:rPr lang="en-US" altLang="en-US" sz="1000" b="0" smtClean="0">
                <a:effectLst/>
              </a:rPr>
              <a:pPr/>
              <a:t>2.1</a:t>
            </a:fld>
            <a:endParaRPr kumimoji="0" lang="ja-JP" altLang="en-US" sz="1000" b="0" dirty="0">
              <a:sym typeface="+mn-lt"/>
            </a:endParaRPr>
          </a:p>
        </p:txBody>
      </p:sp>
      <p:sp>
        <p:nvSpPr>
          <p:cNvPr id="69" name="Text Placeholder 12"/>
          <p:cNvSpPr>
            <a:spLocks noGrp="1"/>
          </p:cNvSpPr>
          <p:nvPr>
            <p:custDataLst>
              <p:tags r:id="rId26"/>
            </p:custDataLst>
          </p:nvPr>
        </p:nvSpPr>
        <p:spPr bwMode="auto">
          <a:xfrm>
            <a:off x="32019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593677E-4D4D-43DC-AB74-1A5085C2A61F}" type="datetime'''''''1''''''''''''6'''''''''''''''''''''''''''''''''''''''">
              <a:rPr lang="ja-JP" altLang="en-US" sz="1000" b="0"/>
              <a:pPr algn="ctr">
                <a:spcBef>
                  <a:spcPct val="0"/>
                </a:spcBef>
                <a:spcAft>
                  <a:spcPct val="0"/>
                </a:spcAft>
              </a:pPr>
              <a:t>16</a:t>
            </a:fld>
            <a:endParaRPr kumimoji="0" lang="ja-JP" altLang="en-US" sz="1000" b="0" dirty="0">
              <a:sym typeface="+mn-lt"/>
            </a:endParaRPr>
          </a:p>
        </p:txBody>
      </p:sp>
      <p:sp useBgFill="1">
        <p:nvSpPr>
          <p:cNvPr id="98" name="Text Placeholder 12"/>
          <p:cNvSpPr>
            <a:spLocks noGrp="1"/>
          </p:cNvSpPr>
          <p:nvPr>
            <p:custDataLst>
              <p:tags r:id="rId27"/>
            </p:custDataLst>
          </p:nvPr>
        </p:nvSpPr>
        <p:spPr bwMode="gray">
          <a:xfrm>
            <a:off x="2128838" y="3892550"/>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BBCF037-EE11-4EAB-860B-F1CA80B40B33}" type="datetime'''''''''''2''''''''''.''''''''''8'''''''">
              <a:rPr lang="en-US" altLang="en-US" sz="1000" b="0" smtClean="0">
                <a:effectLst/>
              </a:rPr>
              <a:pPr/>
              <a:t>2.8</a:t>
            </a:fld>
            <a:endParaRPr kumimoji="0" lang="ja-JP" altLang="en-US" sz="1000" b="0" dirty="0">
              <a:sym typeface="+mn-lt"/>
            </a:endParaRPr>
          </a:p>
        </p:txBody>
      </p:sp>
      <p:sp useBgFill="1">
        <p:nvSpPr>
          <p:cNvPr id="104" name="テキスト プレースホルダ 9">
            <a:extLst>
              <a:ext uri="{FF2B5EF4-FFF2-40B4-BE49-F238E27FC236}">
                <a16:creationId xmlns:a16="http://schemas.microsoft.com/office/drawing/2014/main" id="{88F4160C-2CDD-42E7-9CC3-1EDC35BB318F}"/>
              </a:ext>
            </a:extLst>
          </p:cNvPr>
          <p:cNvSpPr>
            <a:spLocks noGrp="1"/>
          </p:cNvSpPr>
          <p:nvPr>
            <p:custDataLst>
              <p:tags r:id="rId28"/>
            </p:custDataLst>
          </p:nvPr>
        </p:nvSpPr>
        <p:spPr bwMode="gray">
          <a:xfrm>
            <a:off x="2824163" y="460216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4C99B73-F75A-404B-BBDE-6A1BC9E68857}" type="datetime'1''''''.''''''0'''''''''''''">
              <a:rPr lang="en-US" altLang="en-US" sz="1000" smtClean="0">
                <a:effectLst/>
                <a:sym typeface="+mn-lt"/>
              </a:rPr>
              <a:pPr marL="0" indent="0" algn="ctr">
                <a:spcBef>
                  <a:spcPct val="0"/>
                </a:spcBef>
                <a:buNone/>
              </a:pPr>
              <a:t>1.0</a:t>
            </a:fld>
            <a:endParaRPr lang="ja-JP" altLang="en-US" sz="1000" dirty="0">
              <a:sym typeface="+mn-lt"/>
            </a:endParaRPr>
          </a:p>
        </p:txBody>
      </p:sp>
      <p:sp>
        <p:nvSpPr>
          <p:cNvPr id="85" name="Text Placeholder 12"/>
          <p:cNvSpPr>
            <a:spLocks noGrp="1"/>
          </p:cNvSpPr>
          <p:nvPr>
            <p:custDataLst>
              <p:tags r:id="rId29"/>
            </p:custDataLst>
          </p:nvPr>
        </p:nvSpPr>
        <p:spPr bwMode="auto">
          <a:xfrm>
            <a:off x="21574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B24CB80-674C-4585-8B34-4264960C9623}" type="datetime'''''''''''''''''''''''''''''1''0'''''''''''''''''''''">
              <a:rPr lang="ja-JP" altLang="en-US" sz="1000" b="0"/>
              <a:pPr algn="ctr">
                <a:spcBef>
                  <a:spcPct val="0"/>
                </a:spcBef>
                <a:spcAft>
                  <a:spcPct val="0"/>
                </a:spcAft>
              </a:pPr>
              <a:t>10</a:t>
            </a:fld>
            <a:endParaRPr kumimoji="0" lang="ja-JP" altLang="en-US" sz="1000" b="0" dirty="0">
              <a:sym typeface="+mn-lt"/>
            </a:endParaRPr>
          </a:p>
        </p:txBody>
      </p:sp>
      <p:sp>
        <p:nvSpPr>
          <p:cNvPr id="86" name="Text Placeholder 12"/>
          <p:cNvSpPr>
            <a:spLocks noGrp="1"/>
          </p:cNvSpPr>
          <p:nvPr>
            <p:custDataLst>
              <p:tags r:id="rId30"/>
            </p:custDataLst>
          </p:nvPr>
        </p:nvSpPr>
        <p:spPr bwMode="auto">
          <a:xfrm>
            <a:off x="23320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221A82D-DE48-481B-A3F8-3523817E9A8A}" type="datetime'''''11'''''''''''''''''''''''''">
              <a:rPr lang="ja-JP" altLang="en-US" sz="1000" b="0"/>
              <a:pPr algn="ctr">
                <a:spcBef>
                  <a:spcPct val="0"/>
                </a:spcBef>
                <a:spcAft>
                  <a:spcPct val="0"/>
                </a:spcAft>
              </a:pPr>
              <a:t>11</a:t>
            </a:fld>
            <a:endParaRPr kumimoji="0" lang="ja-JP" altLang="en-US" sz="1000" b="0" dirty="0">
              <a:sym typeface="+mn-lt"/>
            </a:endParaRPr>
          </a:p>
        </p:txBody>
      </p:sp>
      <p:sp>
        <p:nvSpPr>
          <p:cNvPr id="87" name="Text Placeholder 12"/>
          <p:cNvSpPr>
            <a:spLocks noGrp="1"/>
          </p:cNvSpPr>
          <p:nvPr>
            <p:custDataLst>
              <p:tags r:id="rId31"/>
            </p:custDataLst>
          </p:nvPr>
        </p:nvSpPr>
        <p:spPr bwMode="auto">
          <a:xfrm>
            <a:off x="25050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4154DD6-5AA5-48A9-A36F-4777DB996E92}" type="datetime'''''''''''''''''''''''''''''''''''''''''''''1''''2'">
              <a:rPr lang="ja-JP" altLang="en-US" sz="1000" b="0"/>
              <a:pPr algn="ctr">
                <a:spcBef>
                  <a:spcPct val="0"/>
                </a:spcBef>
                <a:spcAft>
                  <a:spcPct val="0"/>
                </a:spcAft>
              </a:pPr>
              <a:t>12</a:t>
            </a:fld>
            <a:endParaRPr kumimoji="0" lang="ja-JP" altLang="en-US" sz="1000" b="0" dirty="0">
              <a:sym typeface="+mn-lt"/>
            </a:endParaRPr>
          </a:p>
        </p:txBody>
      </p:sp>
      <p:sp>
        <p:nvSpPr>
          <p:cNvPr id="88" name="Text Placeholder 12"/>
          <p:cNvSpPr>
            <a:spLocks noGrp="1"/>
          </p:cNvSpPr>
          <p:nvPr>
            <p:custDataLst>
              <p:tags r:id="rId32"/>
            </p:custDataLst>
          </p:nvPr>
        </p:nvSpPr>
        <p:spPr bwMode="auto">
          <a:xfrm>
            <a:off x="26797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ACEBB06-7BD7-431A-9EFB-BF219AE8059D}" type="datetime'''''''''''''''''''''1''''''''''''''''''''''''''''3'''''''''">
              <a:rPr lang="ja-JP" altLang="en-US" sz="1000" b="0"/>
              <a:pPr algn="ctr">
                <a:spcBef>
                  <a:spcPct val="0"/>
                </a:spcBef>
                <a:spcAft>
                  <a:spcPct val="0"/>
                </a:spcAft>
              </a:pPr>
              <a:t>13</a:t>
            </a:fld>
            <a:endParaRPr kumimoji="0" lang="ja-JP" altLang="en-US" sz="1000" b="0" dirty="0">
              <a:sym typeface="+mn-lt"/>
            </a:endParaRPr>
          </a:p>
        </p:txBody>
      </p:sp>
      <p:sp>
        <p:nvSpPr>
          <p:cNvPr id="70" name="Text Placeholder 12"/>
          <p:cNvSpPr>
            <a:spLocks noGrp="1"/>
          </p:cNvSpPr>
          <p:nvPr>
            <p:custDataLst>
              <p:tags r:id="rId33"/>
            </p:custDataLst>
          </p:nvPr>
        </p:nvSpPr>
        <p:spPr bwMode="auto">
          <a:xfrm>
            <a:off x="33750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954C152-EF2E-483E-B55C-81EBFA499D87}" type="datetime'''''1''''''''''''''''7'''''''''''''''''''''">
              <a:rPr lang="ja-JP" altLang="en-US" sz="1000" b="0"/>
              <a:pPr algn="ctr">
                <a:spcBef>
                  <a:spcPct val="0"/>
                </a:spcBef>
                <a:spcAft>
                  <a:spcPct val="0"/>
                </a:spcAft>
              </a:pPr>
              <a:t>17</a:t>
            </a:fld>
            <a:endParaRPr kumimoji="0" lang="ja-JP" altLang="en-US" sz="1000" b="0" dirty="0">
              <a:sym typeface="+mn-lt"/>
            </a:endParaRPr>
          </a:p>
        </p:txBody>
      </p:sp>
      <p:sp>
        <p:nvSpPr>
          <p:cNvPr id="89" name="Text Placeholder 12"/>
          <p:cNvSpPr>
            <a:spLocks noGrp="1"/>
          </p:cNvSpPr>
          <p:nvPr>
            <p:custDataLst>
              <p:tags r:id="rId34"/>
            </p:custDataLst>
          </p:nvPr>
        </p:nvSpPr>
        <p:spPr bwMode="auto">
          <a:xfrm>
            <a:off x="28527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8D1D3C1-6075-4B2A-9C98-638305A0C5DA}" type="datetime'''''''''''''''1''''''''''''''''''''''4'''''''">
              <a:rPr lang="ja-JP" altLang="en-US" sz="1000" b="0"/>
              <a:pPr algn="ctr">
                <a:spcBef>
                  <a:spcPct val="0"/>
                </a:spcBef>
                <a:spcAft>
                  <a:spcPct val="0"/>
                </a:spcAft>
              </a:pPr>
              <a:t>14</a:t>
            </a:fld>
            <a:endParaRPr kumimoji="0" lang="ja-JP" altLang="en-US" sz="1000" b="0" dirty="0">
              <a:sym typeface="+mn-lt"/>
            </a:endParaRPr>
          </a:p>
        </p:txBody>
      </p:sp>
      <p:sp useBgFill="1">
        <p:nvSpPr>
          <p:cNvPr id="105" name="テキスト プレースホルダ 9">
            <a:extLst>
              <a:ext uri="{FF2B5EF4-FFF2-40B4-BE49-F238E27FC236}">
                <a16:creationId xmlns:a16="http://schemas.microsoft.com/office/drawing/2014/main" id="{36311801-0FCE-4B8A-A0A0-2FB322C946B2}"/>
              </a:ext>
            </a:extLst>
          </p:cNvPr>
          <p:cNvSpPr>
            <a:spLocks noGrp="1"/>
          </p:cNvSpPr>
          <p:nvPr>
            <p:custDataLst>
              <p:tags r:id="rId35"/>
            </p:custDataLst>
          </p:nvPr>
        </p:nvSpPr>
        <p:spPr bwMode="gray">
          <a:xfrm>
            <a:off x="2978150" y="5213350"/>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F18C035-4BC2-43B5-BC51-2F51B3818EFC}" type="datetime'''-''''''''0''''''.5'''''''''''''''''''''">
              <a:rPr lang="en-US" altLang="en-US" sz="1000" smtClean="0">
                <a:effectLst/>
                <a:sym typeface="+mn-lt"/>
              </a:rPr>
              <a:pPr marL="0" indent="0" algn="ctr">
                <a:spcBef>
                  <a:spcPct val="0"/>
                </a:spcBef>
                <a:buNone/>
              </a:pPr>
              <a:t>-0.5</a:t>
            </a:fld>
            <a:endParaRPr lang="ja-JP" altLang="en-US" sz="1000" dirty="0">
              <a:sym typeface="+mn-lt"/>
            </a:endParaRPr>
          </a:p>
        </p:txBody>
      </p:sp>
      <p:sp>
        <p:nvSpPr>
          <p:cNvPr id="90" name="Text Placeholder 12"/>
          <p:cNvSpPr>
            <a:spLocks noGrp="1"/>
          </p:cNvSpPr>
          <p:nvPr>
            <p:custDataLst>
              <p:tags r:id="rId36"/>
            </p:custDataLst>
          </p:nvPr>
        </p:nvSpPr>
        <p:spPr bwMode="auto">
          <a:xfrm>
            <a:off x="30273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EB6BF6D-FAC8-4D50-ACC0-A9B066AB82FA}" type="datetime'''''''''''''1''''''''''''''''''''''''''''''''''5'''">
              <a:rPr lang="ja-JP" altLang="en-US" sz="1000" b="0"/>
              <a:pPr algn="ctr">
                <a:spcBef>
                  <a:spcPct val="0"/>
                </a:spcBef>
                <a:spcAft>
                  <a:spcPct val="0"/>
                </a:spcAft>
              </a:pPr>
              <a:t>15</a:t>
            </a:fld>
            <a:endParaRPr kumimoji="0" lang="ja-JP" altLang="en-US" sz="1000" b="0" dirty="0">
              <a:sym typeface="+mn-lt"/>
            </a:endParaRPr>
          </a:p>
        </p:txBody>
      </p:sp>
      <p:sp useBgFill="1">
        <p:nvSpPr>
          <p:cNvPr id="106" name="テキスト プレースホルダ 9">
            <a:extLst>
              <a:ext uri="{FF2B5EF4-FFF2-40B4-BE49-F238E27FC236}">
                <a16:creationId xmlns:a16="http://schemas.microsoft.com/office/drawing/2014/main" id="{56FD102E-FF26-4435-BF21-AEEBDE945CA8}"/>
              </a:ext>
            </a:extLst>
          </p:cNvPr>
          <p:cNvSpPr>
            <a:spLocks noGrp="1"/>
          </p:cNvSpPr>
          <p:nvPr>
            <p:custDataLst>
              <p:tags r:id="rId37"/>
            </p:custDataLst>
          </p:nvPr>
        </p:nvSpPr>
        <p:spPr bwMode="gray">
          <a:xfrm>
            <a:off x="3152775" y="5216525"/>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99BC851-4F51-4E3B-A6DC-EDAD0A2B1FB9}" type="datetime'''''''''''''''''-''''0''.''5'''''''''''''''''">
              <a:rPr lang="en-US" altLang="en-US" sz="1000" smtClean="0">
                <a:effectLst/>
                <a:sym typeface="+mn-lt"/>
              </a:rPr>
              <a:pPr marL="0" indent="0" algn="ctr">
                <a:spcBef>
                  <a:spcPct val="0"/>
                </a:spcBef>
                <a:buNone/>
              </a:pPr>
              <a:t>-0.5</a:t>
            </a:fld>
            <a:endParaRPr lang="ja-JP" altLang="en-US" sz="1000" dirty="0">
              <a:sym typeface="+mn-lt"/>
            </a:endParaRPr>
          </a:p>
        </p:txBody>
      </p:sp>
      <p:sp>
        <p:nvSpPr>
          <p:cNvPr id="71" name="Text Placeholder 12"/>
          <p:cNvSpPr>
            <a:spLocks noGrp="1"/>
          </p:cNvSpPr>
          <p:nvPr>
            <p:custDataLst>
              <p:tags r:id="rId38"/>
            </p:custDataLst>
          </p:nvPr>
        </p:nvSpPr>
        <p:spPr bwMode="auto">
          <a:xfrm>
            <a:off x="35496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58872A7-EECC-4338-AB66-E4FBC4E65488}" type="datetime'''1''8'''''''''''">
              <a:rPr lang="ja-JP" altLang="en-US" sz="1000" b="0"/>
              <a:pPr algn="ctr">
                <a:spcBef>
                  <a:spcPct val="0"/>
                </a:spcBef>
                <a:spcAft>
                  <a:spcPct val="0"/>
                </a:spcAft>
              </a:pPr>
              <a:t>18</a:t>
            </a:fld>
            <a:endParaRPr kumimoji="0" lang="ja-JP" altLang="en-US" sz="1000" b="0" dirty="0">
              <a:sym typeface="+mn-lt"/>
            </a:endParaRPr>
          </a:p>
        </p:txBody>
      </p:sp>
      <p:sp>
        <p:nvSpPr>
          <p:cNvPr id="72" name="Text Placeholder 12"/>
          <p:cNvSpPr>
            <a:spLocks noGrp="1"/>
          </p:cNvSpPr>
          <p:nvPr>
            <p:custDataLst>
              <p:tags r:id="rId39"/>
            </p:custDataLst>
          </p:nvPr>
        </p:nvSpPr>
        <p:spPr bwMode="auto">
          <a:xfrm>
            <a:off x="37226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D26FC6-1D03-47EF-B147-4547A140B407}" type="datetime'''''1''''''''''''''''''''''''''''''9'''''''''''''''''">
              <a:rPr lang="ja-JP" altLang="en-US" sz="1000" b="0"/>
              <a:pPr algn="ctr">
                <a:spcBef>
                  <a:spcPct val="0"/>
                </a:spcBef>
                <a:spcAft>
                  <a:spcPct val="0"/>
                </a:spcAft>
              </a:pPr>
              <a:t>19</a:t>
            </a:fld>
            <a:endParaRPr kumimoji="0" lang="ja-JP" altLang="en-US" sz="1000" b="0" dirty="0">
              <a:sym typeface="+mn-lt"/>
            </a:endParaRPr>
          </a:p>
        </p:txBody>
      </p:sp>
      <p:sp useBgFill="1">
        <p:nvSpPr>
          <p:cNvPr id="132" name="テキスト プレースホルダ 9">
            <a:extLst>
              <a:ext uri="{FF2B5EF4-FFF2-40B4-BE49-F238E27FC236}">
                <a16:creationId xmlns:a16="http://schemas.microsoft.com/office/drawing/2014/main" id="{5C5C8440-C9B4-42DB-BC58-2B8D19BC4820}"/>
              </a:ext>
            </a:extLst>
          </p:cNvPr>
          <p:cNvSpPr>
            <a:spLocks noGrp="1"/>
          </p:cNvSpPr>
          <p:nvPr>
            <p:custDataLst>
              <p:tags r:id="rId40"/>
            </p:custDataLst>
          </p:nvPr>
        </p:nvSpPr>
        <p:spPr bwMode="gray">
          <a:xfrm>
            <a:off x="3848100" y="5078413"/>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C1CE4E1-45D7-4BDB-A806-6DB8B1CEF0B5}" type="datetime'''''''''''''''''-''0''''''''''.''''2'''''''''''''''">
              <a:rPr lang="en-US" altLang="en-US" sz="1000" smtClean="0">
                <a:effectLst/>
                <a:sym typeface="+mn-lt"/>
              </a:rPr>
              <a:pPr marL="0" indent="0" algn="ctr">
                <a:spcBef>
                  <a:spcPct val="0"/>
                </a:spcBef>
                <a:buNone/>
              </a:pPr>
              <a:t>-0.2</a:t>
            </a:fld>
            <a:endParaRPr lang="ja-JP" altLang="en-US" sz="1000" dirty="0">
              <a:sym typeface="+mn-lt"/>
            </a:endParaRPr>
          </a:p>
        </p:txBody>
      </p:sp>
      <p:sp>
        <p:nvSpPr>
          <p:cNvPr id="133" name="Text Placeholder 12"/>
          <p:cNvSpPr>
            <a:spLocks noGrp="1"/>
          </p:cNvSpPr>
          <p:nvPr>
            <p:custDataLst>
              <p:tags r:id="rId41"/>
            </p:custDataLst>
          </p:nvPr>
        </p:nvSpPr>
        <p:spPr bwMode="auto">
          <a:xfrm>
            <a:off x="40719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79FB3FC-EEC2-4A15-A798-0DB8CF6526D6}" type="datetime'''''''''''''''''''''''''''''''''''''''''''''21'''''''''''''">
              <a:rPr lang="en-US" altLang="en-US" sz="1000" b="0" smtClean="0"/>
              <a:pPr algn="ctr">
                <a:spcBef>
                  <a:spcPct val="0"/>
                </a:spcBef>
                <a:spcAft>
                  <a:spcPct val="0"/>
                </a:spcAft>
              </a:pPr>
              <a:t>21</a:t>
            </a:fld>
            <a:endParaRPr kumimoji="0" lang="ja-JP" altLang="en-US" sz="1000" b="0" dirty="0">
              <a:sym typeface="+mn-lt"/>
            </a:endParaRPr>
          </a:p>
        </p:txBody>
      </p:sp>
      <p:sp>
        <p:nvSpPr>
          <p:cNvPr id="135" name="Text Placeholder 12"/>
          <p:cNvSpPr>
            <a:spLocks noGrp="1"/>
          </p:cNvSpPr>
          <p:nvPr>
            <p:custDataLst>
              <p:tags r:id="rId42"/>
            </p:custDataLst>
          </p:nvPr>
        </p:nvSpPr>
        <p:spPr bwMode="auto">
          <a:xfrm>
            <a:off x="42449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D2CE2DB-DC3F-4EC4-87BA-0A06FE4FFD9F}" type="datetime'''''2''''''''''''''''''''2'''''''''''''''''''''''''''''''''">
              <a:rPr lang="en-US" altLang="en-US" sz="1000" b="0" smtClean="0"/>
              <a:pPr algn="ctr">
                <a:spcBef>
                  <a:spcPct val="0"/>
                </a:spcBef>
                <a:spcAft>
                  <a:spcPct val="0"/>
                </a:spcAft>
              </a:pPr>
              <a:t>22</a:t>
            </a:fld>
            <a:endParaRPr kumimoji="0" lang="ja-JP" altLang="en-US" sz="1000" b="0" dirty="0">
              <a:sym typeface="+mn-lt"/>
            </a:endParaRPr>
          </a:p>
        </p:txBody>
      </p:sp>
      <p:sp useBgFill="1">
        <p:nvSpPr>
          <p:cNvPr id="143" name="テキスト プレースホルダ 9">
            <a:extLst>
              <a:ext uri="{FF2B5EF4-FFF2-40B4-BE49-F238E27FC236}">
                <a16:creationId xmlns:a16="http://schemas.microsoft.com/office/drawing/2014/main" id="{038E5815-A178-4E5A-8B06-ECADA00A50BA}"/>
              </a:ext>
            </a:extLst>
          </p:cNvPr>
          <p:cNvSpPr>
            <a:spLocks noGrp="1"/>
          </p:cNvSpPr>
          <p:nvPr>
            <p:custDataLst>
              <p:tags r:id="rId43"/>
            </p:custDataLst>
          </p:nvPr>
        </p:nvSpPr>
        <p:spPr bwMode="gray">
          <a:xfrm>
            <a:off x="4391025" y="382270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0B377A6-0EC1-4FC0-A62E-BF91D463972A}" type="datetime'''3''''''''''''''''''''''''.''''''''''''''''''0'''''''''''">
              <a:rPr lang="en-US" altLang="en-US" sz="1000" smtClean="0">
                <a:effectLst/>
                <a:sym typeface="+mn-lt"/>
              </a:rPr>
              <a:pPr marL="0" indent="0" algn="ctr">
                <a:spcBef>
                  <a:spcPct val="0"/>
                </a:spcBef>
                <a:buNone/>
              </a:pPr>
              <a:t>3.0</a:t>
            </a:fld>
            <a:endParaRPr lang="ja-JP" altLang="en-US" sz="1000" dirty="0">
              <a:sym typeface="+mn-lt"/>
            </a:endParaRPr>
          </a:p>
        </p:txBody>
      </p:sp>
      <p:sp>
        <p:nvSpPr>
          <p:cNvPr id="137" name="Text Placeholder 12">
            <a:extLst>
              <a:ext uri="{FF2B5EF4-FFF2-40B4-BE49-F238E27FC236}">
                <a16:creationId xmlns:a16="http://schemas.microsoft.com/office/drawing/2014/main" id="{76179EAB-F5E2-4C0C-8F49-A7FBE0D6E2AA}"/>
              </a:ext>
            </a:extLst>
          </p:cNvPr>
          <p:cNvSpPr>
            <a:spLocks noGrp="1"/>
          </p:cNvSpPr>
          <p:nvPr>
            <p:custDataLst>
              <p:tags r:id="rId44"/>
            </p:custDataLst>
          </p:nvPr>
        </p:nvSpPr>
        <p:spPr bwMode="auto">
          <a:xfrm>
            <a:off x="44196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756F22A-B7A6-4CC4-9602-52314B3DD012}" type="datetime'''''''''''2''''''''''''''''''''''''''3'''''''''''''">
              <a:rPr kumimoji="0" lang="en-US" altLang="en-US" sz="1000" b="0" smtClean="0"/>
              <a:pPr/>
              <a:t>23</a:t>
            </a:fld>
            <a:endParaRPr kumimoji="0" lang="ja-JP" altLang="en-US" sz="1000" b="0" dirty="0">
              <a:sym typeface="+mn-lt"/>
            </a:endParaRPr>
          </a:p>
        </p:txBody>
      </p:sp>
      <p:sp useBgFill="1">
        <p:nvSpPr>
          <p:cNvPr id="144" name="テキスト プレースホルダ 9">
            <a:extLst>
              <a:ext uri="{FF2B5EF4-FFF2-40B4-BE49-F238E27FC236}">
                <a16:creationId xmlns:a16="http://schemas.microsoft.com/office/drawing/2014/main" id="{59F3EFEF-DEB8-4329-8363-B09F8A2099D1}"/>
              </a:ext>
            </a:extLst>
          </p:cNvPr>
          <p:cNvSpPr>
            <a:spLocks noGrp="1"/>
          </p:cNvSpPr>
          <p:nvPr>
            <p:custDataLst>
              <p:tags r:id="rId45"/>
            </p:custDataLst>
          </p:nvPr>
        </p:nvSpPr>
        <p:spPr bwMode="gray">
          <a:xfrm>
            <a:off x="4564063" y="421640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03DEDC9-3490-42D9-8B72-C8D8626B520F}" type="datetime'''''''2''.''''''''''''0'''">
              <a:rPr lang="en-US" altLang="en-US" sz="1000" smtClean="0">
                <a:effectLst/>
                <a:sym typeface="+mn-lt"/>
              </a:rPr>
              <a:pPr marL="0" indent="0" algn="ctr">
                <a:spcBef>
                  <a:spcPct val="0"/>
                </a:spcBef>
                <a:buNone/>
              </a:pPr>
              <a:t>2.0</a:t>
            </a:fld>
            <a:endParaRPr lang="ja-JP" altLang="en-US" sz="1000" dirty="0">
              <a:sym typeface="+mn-lt"/>
            </a:endParaRPr>
          </a:p>
        </p:txBody>
      </p:sp>
      <p:sp>
        <p:nvSpPr>
          <p:cNvPr id="138" name="Text Placeholder 12">
            <a:extLst>
              <a:ext uri="{FF2B5EF4-FFF2-40B4-BE49-F238E27FC236}">
                <a16:creationId xmlns:a16="http://schemas.microsoft.com/office/drawing/2014/main" id="{A89606A1-BB6E-4EAD-97F3-A7AD2611DA09}"/>
              </a:ext>
            </a:extLst>
          </p:cNvPr>
          <p:cNvSpPr>
            <a:spLocks noGrp="1"/>
          </p:cNvSpPr>
          <p:nvPr>
            <p:custDataLst>
              <p:tags r:id="rId46"/>
            </p:custDataLst>
          </p:nvPr>
        </p:nvSpPr>
        <p:spPr bwMode="auto">
          <a:xfrm>
            <a:off x="45926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94A9C47-D3F1-49A1-A7B5-F3FBEB49FDFE}" type="datetime'''''2''''4'''''''''''''''''''''''''''''">
              <a:rPr kumimoji="0" lang="en-US" altLang="en-US" sz="1000" b="0" smtClean="0"/>
              <a:pPr/>
              <a:t>24</a:t>
            </a:fld>
            <a:endParaRPr kumimoji="0" lang="ja-JP" altLang="en-US" sz="1000" b="0" dirty="0">
              <a:sym typeface="+mn-lt"/>
            </a:endParaRPr>
          </a:p>
        </p:txBody>
      </p:sp>
      <p:sp>
        <p:nvSpPr>
          <p:cNvPr id="141" name="Text Placeholder 12">
            <a:extLst>
              <a:ext uri="{FF2B5EF4-FFF2-40B4-BE49-F238E27FC236}">
                <a16:creationId xmlns:a16="http://schemas.microsoft.com/office/drawing/2014/main" id="{5B0E4367-7745-4BEB-9978-0E41A5D841ED}"/>
              </a:ext>
            </a:extLst>
          </p:cNvPr>
          <p:cNvSpPr>
            <a:spLocks noGrp="1"/>
          </p:cNvSpPr>
          <p:nvPr>
            <p:custDataLst>
              <p:tags r:id="rId47"/>
            </p:custDataLst>
          </p:nvPr>
        </p:nvSpPr>
        <p:spPr bwMode="auto">
          <a:xfrm>
            <a:off x="47672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AE006E-7BCE-45CD-8986-AB0D72A158D2}" type="datetime'''''''''''''2''''''''''''''''''''5'''''''''''''''''''''''">
              <a:rPr kumimoji="0" lang="en-US" altLang="en-US" sz="1000" b="0" smtClean="0"/>
              <a:pPr/>
              <a:t>25</a:t>
            </a:fld>
            <a:endParaRPr kumimoji="0" lang="ja-JP" altLang="en-US" sz="1000" b="0" dirty="0">
              <a:sym typeface="+mn-lt"/>
            </a:endParaRPr>
          </a:p>
        </p:txBody>
      </p:sp>
      <p:graphicFrame>
        <p:nvGraphicFramePr>
          <p:cNvPr id="166" name="Chart 165">
            <a:extLst>
              <a:ext uri="{FF2B5EF4-FFF2-40B4-BE49-F238E27FC236}">
                <a16:creationId xmlns:a16="http://schemas.microsoft.com/office/drawing/2014/main" id="{8E9AD71C-F229-44E7-9FFB-8534C952BA89}"/>
              </a:ext>
            </a:extLst>
          </p:cNvPr>
          <p:cNvGraphicFramePr/>
          <p:nvPr>
            <p:custDataLst>
              <p:tags r:id="rId48"/>
            </p:custDataLst>
          </p:nvPr>
        </p:nvGraphicFramePr>
        <p:xfrm>
          <a:off x="4895850" y="2393950"/>
          <a:ext cx="4892675" cy="3748088"/>
        </p:xfrm>
        <a:graphic>
          <a:graphicData uri="http://schemas.openxmlformats.org/drawingml/2006/chart">
            <c:chart xmlns:c="http://schemas.openxmlformats.org/drawingml/2006/chart" xmlns:r="http://schemas.openxmlformats.org/officeDocument/2006/relationships" r:id="rId88"/>
          </a:graphicData>
        </a:graphic>
      </p:graphicFrame>
      <p:sp useBgFill="1">
        <p:nvSpPr>
          <p:cNvPr id="103" name="テキスト プレースホルダ 9"/>
          <p:cNvSpPr>
            <a:spLocks noGrp="1"/>
          </p:cNvSpPr>
          <p:nvPr>
            <p:custDataLst>
              <p:tags r:id="rId49"/>
            </p:custDataLst>
          </p:nvPr>
        </p:nvSpPr>
        <p:spPr bwMode="gray">
          <a:xfrm>
            <a:off x="5418138" y="3603625"/>
            <a:ext cx="27940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62CDC81-A338-44C9-B1BD-ACA878BA4CC4}" type="datetime'''''''''''''''6''''''''''''''''7''.''''''''''''8'''''''''''''">
              <a:rPr lang="en-US" altLang="en-US" sz="1000" smtClean="0">
                <a:effectLst/>
              </a:rPr>
              <a:pPr/>
              <a:t>67.8</a:t>
            </a:fld>
            <a:endParaRPr kumimoji="0" lang="ja-JP" altLang="en-US" sz="1000" dirty="0">
              <a:sym typeface="+mn-lt"/>
            </a:endParaRPr>
          </a:p>
        </p:txBody>
      </p:sp>
      <p:sp>
        <p:nvSpPr>
          <p:cNvPr id="115" name="Text Placeholder 12"/>
          <p:cNvSpPr>
            <a:spLocks noGrp="1"/>
          </p:cNvSpPr>
          <p:nvPr>
            <p:custDataLst>
              <p:tags r:id="rId50"/>
            </p:custDataLst>
          </p:nvPr>
        </p:nvSpPr>
        <p:spPr bwMode="auto">
          <a:xfrm>
            <a:off x="4987925" y="2162175"/>
            <a:ext cx="11969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円</a:t>
            </a:r>
            <a:r>
              <a:rPr kumimoji="0" lang="en-US" altLang="ja-JP" sz="1000" b="0" dirty="0">
                <a:sym typeface="+mn-lt"/>
              </a:rPr>
              <a:t>/</a:t>
            </a:r>
            <a:r>
              <a:rPr kumimoji="0" lang="ja-JP" altLang="en-US" sz="1000" b="0" dirty="0">
                <a:sym typeface="+mn-lt"/>
              </a:rPr>
              <a:t>シンガポールドル</a:t>
            </a:r>
            <a:r>
              <a:rPr kumimoji="0" lang="en-US" altLang="ja-JP" sz="1000" b="0" dirty="0">
                <a:sym typeface="+mn-lt"/>
              </a:rPr>
              <a:t>)</a:t>
            </a:r>
            <a:endParaRPr kumimoji="0" lang="ja-JP" altLang="en-US" sz="1000" b="0" dirty="0">
              <a:sym typeface="+mn-lt"/>
            </a:endParaRPr>
          </a:p>
        </p:txBody>
      </p:sp>
      <p:sp>
        <p:nvSpPr>
          <p:cNvPr id="119" name="Text Placeholder 12"/>
          <p:cNvSpPr>
            <a:spLocks noGrp="1"/>
          </p:cNvSpPr>
          <p:nvPr>
            <p:custDataLst>
              <p:tags r:id="rId51"/>
            </p:custDataLst>
          </p:nvPr>
        </p:nvSpPr>
        <p:spPr bwMode="auto">
          <a:xfrm>
            <a:off x="60753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18543A2-3F90-4602-B822-9A51EE9A897B}" type="datetime'''''''''''''''''''''''''04'''''''''">
              <a:rPr lang="ja-JP" altLang="en-US" sz="1000" b="0"/>
              <a:pPr algn="ctr">
                <a:spcBef>
                  <a:spcPct val="0"/>
                </a:spcBef>
                <a:spcAft>
                  <a:spcPct val="0"/>
                </a:spcAft>
              </a:pPr>
              <a:t>04</a:t>
            </a:fld>
            <a:endParaRPr kumimoji="0" lang="ja-JP" altLang="en-US" sz="1000" b="0" dirty="0">
              <a:sym typeface="+mn-lt"/>
            </a:endParaRPr>
          </a:p>
        </p:txBody>
      </p:sp>
      <p:sp>
        <p:nvSpPr>
          <p:cNvPr id="107" name="Text Placeholder 12"/>
          <p:cNvSpPr>
            <a:spLocks noGrp="1"/>
          </p:cNvSpPr>
          <p:nvPr>
            <p:custDataLst>
              <p:tags r:id="rId52"/>
            </p:custDataLst>
          </p:nvPr>
        </p:nvSpPr>
        <p:spPr bwMode="auto">
          <a:xfrm>
            <a:off x="5214938" y="61293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F59D6E1-F7A9-48ED-BFBC-48A0ABA3BCCA}" type="datetime'''''''''''2''''''''''''0''''''''''''''''''''''''''''00'''''">
              <a:rPr lang="ja-JP" altLang="en-US" sz="1000" b="0"/>
              <a:pPr algn="ctr">
                <a:spcBef>
                  <a:spcPct val="0"/>
                </a:spcBef>
                <a:spcAft>
                  <a:spcPct val="0"/>
                </a:spcAft>
              </a:pPr>
              <a:t>2000</a:t>
            </a:fld>
            <a:endParaRPr kumimoji="0" lang="ja-JP" altLang="en-US" sz="1000" b="0" dirty="0">
              <a:sym typeface="+mn-lt"/>
            </a:endParaRPr>
          </a:p>
        </p:txBody>
      </p:sp>
      <p:sp>
        <p:nvSpPr>
          <p:cNvPr id="116" name="Text Placeholder 12"/>
          <p:cNvSpPr>
            <a:spLocks noGrp="1"/>
          </p:cNvSpPr>
          <p:nvPr>
            <p:custDataLst>
              <p:tags r:id="rId53"/>
            </p:custDataLst>
          </p:nvPr>
        </p:nvSpPr>
        <p:spPr bwMode="auto">
          <a:xfrm>
            <a:off x="54816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EE3D54-C7A5-4D5C-9E31-57F17480DFB2}" type="datetime'''''0''''''''''''''''''''''''''''''''1'''''''''''">
              <a:rPr lang="ja-JP" altLang="en-US" sz="1000" b="0"/>
              <a:pPr algn="ctr">
                <a:spcBef>
                  <a:spcPct val="0"/>
                </a:spcBef>
                <a:spcAft>
                  <a:spcPct val="0"/>
                </a:spcAft>
              </a:pPr>
              <a:t>01</a:t>
            </a:fld>
            <a:endParaRPr kumimoji="0" lang="ja-JP" altLang="en-US" sz="1000" b="0" dirty="0">
              <a:sym typeface="+mn-lt"/>
            </a:endParaRPr>
          </a:p>
        </p:txBody>
      </p:sp>
      <p:sp>
        <p:nvSpPr>
          <p:cNvPr id="127" name="Text Placeholder 12"/>
          <p:cNvSpPr>
            <a:spLocks noGrp="1"/>
          </p:cNvSpPr>
          <p:nvPr>
            <p:custDataLst>
              <p:tags r:id="rId54"/>
            </p:custDataLst>
          </p:nvPr>
        </p:nvSpPr>
        <p:spPr bwMode="auto">
          <a:xfrm>
            <a:off x="76549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45EB3E-C9AF-4A18-953E-F45E687779BD}" type="datetime'''''''''''''''''''''''''''''''''''''''''''''1''''2'''''''''">
              <a:rPr lang="ja-JP" altLang="en-US" sz="1000" b="0"/>
              <a:pPr algn="ctr">
                <a:spcBef>
                  <a:spcPct val="0"/>
                </a:spcBef>
                <a:spcAft>
                  <a:spcPct val="0"/>
                </a:spcAft>
              </a:pPr>
              <a:t>12</a:t>
            </a:fld>
            <a:endParaRPr kumimoji="0" lang="ja-JP" altLang="en-US" sz="1000" b="0" dirty="0">
              <a:sym typeface="+mn-lt"/>
            </a:endParaRPr>
          </a:p>
        </p:txBody>
      </p:sp>
      <p:sp>
        <p:nvSpPr>
          <p:cNvPr id="117" name="Text Placeholder 12"/>
          <p:cNvSpPr>
            <a:spLocks noGrp="1"/>
          </p:cNvSpPr>
          <p:nvPr>
            <p:custDataLst>
              <p:tags r:id="rId55"/>
            </p:custDataLst>
          </p:nvPr>
        </p:nvSpPr>
        <p:spPr bwMode="auto">
          <a:xfrm>
            <a:off x="56800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B9E1C18-88E5-4C1F-AEBC-5FF9B4161E64}" type="datetime'''''''''''''''''''0''''''''''''''''2'''''''''''">
              <a:rPr lang="ja-JP" altLang="en-US" sz="1000" b="0"/>
              <a:pPr algn="ctr">
                <a:spcBef>
                  <a:spcPct val="0"/>
                </a:spcBef>
                <a:spcAft>
                  <a:spcPct val="0"/>
                </a:spcAft>
              </a:pPr>
              <a:t>02</a:t>
            </a:fld>
            <a:endParaRPr kumimoji="0" lang="ja-JP" altLang="en-US" sz="1000" b="0" dirty="0">
              <a:sym typeface="+mn-lt"/>
            </a:endParaRPr>
          </a:p>
        </p:txBody>
      </p:sp>
      <p:sp useBgFill="1">
        <p:nvSpPr>
          <p:cNvPr id="145" name="テキスト プレースホルダ 9">
            <a:extLst>
              <a:ext uri="{FF2B5EF4-FFF2-40B4-BE49-F238E27FC236}">
                <a16:creationId xmlns:a16="http://schemas.microsoft.com/office/drawing/2014/main" id="{FDE451EA-66D6-4364-99F0-2165A209D6C4}"/>
              </a:ext>
            </a:extLst>
          </p:cNvPr>
          <p:cNvSpPr>
            <a:spLocks noGrp="1"/>
          </p:cNvSpPr>
          <p:nvPr>
            <p:custDataLst>
              <p:tags r:id="rId56"/>
            </p:custDataLst>
          </p:nvPr>
        </p:nvSpPr>
        <p:spPr bwMode="gray">
          <a:xfrm>
            <a:off x="6208713" y="3321050"/>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F023BEF-E358-46A1-A2C2-E4E95767C1E7}" type="datetime'''''''''''''6''''''6''''''''''''''''''.''''''''''''''''2'''''">
              <a:rPr lang="en-US" altLang="en-US" sz="1000" smtClean="0">
                <a:effectLst/>
                <a:sym typeface="+mn-lt"/>
              </a:rPr>
              <a:pPr marL="0" indent="0" algn="ctr">
                <a:spcBef>
                  <a:spcPct val="0"/>
                </a:spcBef>
                <a:buNone/>
              </a:pPr>
              <a:t>66.2</a:t>
            </a:fld>
            <a:endParaRPr lang="ja-JP" altLang="en-US" sz="1000" dirty="0">
              <a:sym typeface="+mn-lt"/>
            </a:endParaRPr>
          </a:p>
        </p:txBody>
      </p:sp>
      <p:sp>
        <p:nvSpPr>
          <p:cNvPr id="120" name="Text Placeholder 12"/>
          <p:cNvSpPr>
            <a:spLocks noGrp="1"/>
          </p:cNvSpPr>
          <p:nvPr>
            <p:custDataLst>
              <p:tags r:id="rId57"/>
            </p:custDataLst>
          </p:nvPr>
        </p:nvSpPr>
        <p:spPr bwMode="auto">
          <a:xfrm>
            <a:off x="62722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ACC981C-8F13-4A46-B239-260E2D84E7E4}" type="datetime'''''''''''''''''''''05'''''''''''''''''''''''''''''''''''''''">
              <a:rPr lang="ja-JP" altLang="en-US" sz="1000" b="0"/>
              <a:pPr algn="ctr">
                <a:spcBef>
                  <a:spcPct val="0"/>
                </a:spcBef>
                <a:spcAft>
                  <a:spcPct val="0"/>
                </a:spcAft>
              </a:pPr>
              <a:t>05</a:t>
            </a:fld>
            <a:endParaRPr kumimoji="0" lang="ja-JP" altLang="en-US" sz="1000" b="0" dirty="0">
              <a:sym typeface="+mn-lt"/>
            </a:endParaRPr>
          </a:p>
        </p:txBody>
      </p:sp>
      <p:sp useBgFill="1">
        <p:nvSpPr>
          <p:cNvPr id="146" name="テキスト プレースホルダ 9">
            <a:extLst>
              <a:ext uri="{FF2B5EF4-FFF2-40B4-BE49-F238E27FC236}">
                <a16:creationId xmlns:a16="http://schemas.microsoft.com/office/drawing/2014/main" id="{D3FF0788-C772-48D6-8159-AD9645A456CA}"/>
              </a:ext>
            </a:extLst>
          </p:cNvPr>
          <p:cNvSpPr>
            <a:spLocks noGrp="1"/>
          </p:cNvSpPr>
          <p:nvPr>
            <p:custDataLst>
              <p:tags r:id="rId58"/>
            </p:custDataLst>
          </p:nvPr>
        </p:nvSpPr>
        <p:spPr bwMode="gray">
          <a:xfrm>
            <a:off x="6405563" y="3059113"/>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9BE622C-364F-487C-8B1F-2460CA4C0048}" type="datetime'''''''''''''''''''''''''7''3''''''''''.2'''''''">
              <a:rPr lang="en-US" altLang="en-US" sz="1000" smtClean="0">
                <a:effectLst/>
                <a:sym typeface="+mn-lt"/>
              </a:rPr>
              <a:pPr marL="0" indent="0" algn="ctr">
                <a:spcBef>
                  <a:spcPct val="0"/>
                </a:spcBef>
                <a:buNone/>
              </a:pPr>
              <a:t>73.2</a:t>
            </a:fld>
            <a:endParaRPr lang="ja-JP" altLang="en-US" sz="1000" dirty="0">
              <a:sym typeface="+mn-lt"/>
            </a:endParaRPr>
          </a:p>
        </p:txBody>
      </p:sp>
      <p:sp>
        <p:nvSpPr>
          <p:cNvPr id="121" name="Text Placeholder 12"/>
          <p:cNvSpPr>
            <a:spLocks noGrp="1"/>
          </p:cNvSpPr>
          <p:nvPr>
            <p:custDataLst>
              <p:tags r:id="rId59"/>
            </p:custDataLst>
          </p:nvPr>
        </p:nvSpPr>
        <p:spPr bwMode="auto">
          <a:xfrm>
            <a:off x="64690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FE1468-8323-4A2C-95B5-D5F8E645B4C9}" type="datetime'0''''''''''''6'''''''''''''''''''''''''">
              <a:rPr lang="ja-JP" altLang="en-US" sz="1000" b="0"/>
              <a:pPr algn="ctr">
                <a:spcBef>
                  <a:spcPct val="0"/>
                </a:spcBef>
                <a:spcAft>
                  <a:spcPct val="0"/>
                </a:spcAft>
              </a:pPr>
              <a:t>06</a:t>
            </a:fld>
            <a:endParaRPr kumimoji="0" lang="ja-JP" altLang="en-US" sz="1000" b="0" dirty="0">
              <a:sym typeface="+mn-lt"/>
            </a:endParaRPr>
          </a:p>
        </p:txBody>
      </p:sp>
      <p:sp useBgFill="1">
        <p:nvSpPr>
          <p:cNvPr id="147" name="テキスト プレースホルダ 9">
            <a:extLst>
              <a:ext uri="{FF2B5EF4-FFF2-40B4-BE49-F238E27FC236}">
                <a16:creationId xmlns:a16="http://schemas.microsoft.com/office/drawing/2014/main" id="{92A18C9B-2A4F-42FD-8A86-EC60D26D1260}"/>
              </a:ext>
            </a:extLst>
          </p:cNvPr>
          <p:cNvSpPr>
            <a:spLocks noGrp="1"/>
          </p:cNvSpPr>
          <p:nvPr>
            <p:custDataLst>
              <p:tags r:id="rId60"/>
            </p:custDataLst>
          </p:nvPr>
        </p:nvSpPr>
        <p:spPr bwMode="gray">
          <a:xfrm>
            <a:off x="6604000" y="3219450"/>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338D2A8-8680-4BC1-BFF4-8EB7E24A8CE5}" type="datetime'''''''7''''''8''''''''''''''''''''''''''''''''.''''''1'''''">
              <a:rPr lang="en-US" altLang="en-US" sz="1000" smtClean="0">
                <a:effectLst/>
                <a:sym typeface="+mn-lt"/>
              </a:rPr>
              <a:pPr marL="0" indent="0" algn="ctr">
                <a:spcBef>
                  <a:spcPct val="0"/>
                </a:spcBef>
                <a:buNone/>
              </a:pPr>
              <a:t>78.1</a:t>
            </a:fld>
            <a:endParaRPr lang="ja-JP" altLang="en-US" sz="1000" dirty="0">
              <a:sym typeface="+mn-lt"/>
            </a:endParaRPr>
          </a:p>
        </p:txBody>
      </p:sp>
      <p:sp>
        <p:nvSpPr>
          <p:cNvPr id="122" name="Text Placeholder 12"/>
          <p:cNvSpPr>
            <a:spLocks noGrp="1"/>
          </p:cNvSpPr>
          <p:nvPr>
            <p:custDataLst>
              <p:tags r:id="rId61"/>
            </p:custDataLst>
          </p:nvPr>
        </p:nvSpPr>
        <p:spPr bwMode="auto">
          <a:xfrm>
            <a:off x="66675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4F7D07C-EE92-42B5-87CD-B5ACFAABCAE9}" type="datetime'''''''''''''''''''''''''0''''''''''''''''''7'''''''''''''''''">
              <a:rPr lang="ja-JP" altLang="en-US" sz="1000" b="0"/>
              <a:pPr algn="ctr">
                <a:spcBef>
                  <a:spcPct val="0"/>
                </a:spcBef>
                <a:spcAft>
                  <a:spcPct val="0"/>
                </a:spcAft>
              </a:pPr>
              <a:t>07</a:t>
            </a:fld>
            <a:endParaRPr kumimoji="0" lang="ja-JP" altLang="en-US" sz="1000" b="0" dirty="0">
              <a:sym typeface="+mn-lt"/>
            </a:endParaRPr>
          </a:p>
        </p:txBody>
      </p:sp>
      <p:sp useBgFill="1">
        <p:nvSpPr>
          <p:cNvPr id="148" name="テキスト プレースホルダ 9">
            <a:extLst>
              <a:ext uri="{FF2B5EF4-FFF2-40B4-BE49-F238E27FC236}">
                <a16:creationId xmlns:a16="http://schemas.microsoft.com/office/drawing/2014/main" id="{9F470898-ACC8-4C29-80C7-AF71BBE9EDFC}"/>
              </a:ext>
            </a:extLst>
          </p:cNvPr>
          <p:cNvSpPr>
            <a:spLocks noGrp="1"/>
          </p:cNvSpPr>
          <p:nvPr>
            <p:custDataLst>
              <p:tags r:id="rId62"/>
            </p:custDataLst>
          </p:nvPr>
        </p:nvSpPr>
        <p:spPr bwMode="gray">
          <a:xfrm>
            <a:off x="6800850" y="3059113"/>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A54676D-3B9B-4B5C-A6FC-6FA96AA5FDBD}" type="datetime'''''''''''''''''''''''''''''''''''''''''7''''''''3.''2'''''">
              <a:rPr lang="en-US" altLang="en-US" sz="1000" smtClean="0">
                <a:effectLst/>
                <a:sym typeface="+mn-lt"/>
              </a:rPr>
              <a:pPr marL="0" indent="0" algn="ctr">
                <a:spcBef>
                  <a:spcPct val="0"/>
                </a:spcBef>
                <a:buNone/>
              </a:pPr>
              <a:t>73.2</a:t>
            </a:fld>
            <a:endParaRPr lang="ja-JP" altLang="en-US" sz="1000" dirty="0">
              <a:sym typeface="+mn-lt"/>
            </a:endParaRPr>
          </a:p>
        </p:txBody>
      </p:sp>
      <p:sp>
        <p:nvSpPr>
          <p:cNvPr id="124" name="Text Placeholder 12"/>
          <p:cNvSpPr>
            <a:spLocks noGrp="1"/>
          </p:cNvSpPr>
          <p:nvPr>
            <p:custDataLst>
              <p:tags r:id="rId63"/>
            </p:custDataLst>
          </p:nvPr>
        </p:nvSpPr>
        <p:spPr bwMode="auto">
          <a:xfrm>
            <a:off x="70627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B814E7A-D22A-49DF-996E-1EB8577A5956}" type="datetime'0''''''''''''''9'''''''''">
              <a:rPr lang="ja-JP" altLang="en-US" sz="1000" b="0"/>
              <a:pPr algn="ctr">
                <a:spcBef>
                  <a:spcPct val="0"/>
                </a:spcBef>
                <a:spcAft>
                  <a:spcPct val="0"/>
                </a:spcAft>
              </a:pPr>
              <a:t>09</a:t>
            </a:fld>
            <a:endParaRPr kumimoji="0" lang="ja-JP" altLang="en-US" sz="1000" b="0" dirty="0">
              <a:sym typeface="+mn-lt"/>
            </a:endParaRPr>
          </a:p>
        </p:txBody>
      </p:sp>
      <p:sp>
        <p:nvSpPr>
          <p:cNvPr id="123" name="Text Placeholder 12"/>
          <p:cNvSpPr>
            <a:spLocks noGrp="1"/>
          </p:cNvSpPr>
          <p:nvPr>
            <p:custDataLst>
              <p:tags r:id="rId64"/>
            </p:custDataLst>
          </p:nvPr>
        </p:nvSpPr>
        <p:spPr bwMode="auto">
          <a:xfrm>
            <a:off x="68643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444A85-F576-4C1C-92AE-E7CBE74C6272}" type="datetime'''''''0''''''''''''''''''''''8'">
              <a:rPr lang="ja-JP" altLang="en-US" sz="1000" b="0"/>
              <a:pPr algn="ctr">
                <a:spcBef>
                  <a:spcPct val="0"/>
                </a:spcBef>
                <a:spcAft>
                  <a:spcPct val="0"/>
                </a:spcAft>
              </a:pPr>
              <a:t>08</a:t>
            </a:fld>
            <a:endParaRPr kumimoji="0" lang="ja-JP" altLang="en-US" sz="1000" b="0" dirty="0">
              <a:sym typeface="+mn-lt"/>
            </a:endParaRPr>
          </a:p>
        </p:txBody>
      </p:sp>
      <p:sp>
        <p:nvSpPr>
          <p:cNvPr id="118" name="Text Placeholder 12"/>
          <p:cNvSpPr>
            <a:spLocks noGrp="1"/>
          </p:cNvSpPr>
          <p:nvPr>
            <p:custDataLst>
              <p:tags r:id="rId65"/>
            </p:custDataLst>
          </p:nvPr>
        </p:nvSpPr>
        <p:spPr bwMode="auto">
          <a:xfrm>
            <a:off x="58769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ED87CFE-472E-43FF-96E8-B5AB68687F7E}" type="datetime'''''0''''''''''''''''''''''''''''''''''3'">
              <a:rPr lang="ja-JP" altLang="en-US" sz="1000" b="0"/>
              <a:pPr algn="ctr">
                <a:spcBef>
                  <a:spcPct val="0"/>
                </a:spcBef>
                <a:spcAft>
                  <a:spcPct val="0"/>
                </a:spcAft>
              </a:pPr>
              <a:t>03</a:t>
            </a:fld>
            <a:endParaRPr kumimoji="0" lang="ja-JP" altLang="en-US" sz="1000" b="0" dirty="0">
              <a:sym typeface="+mn-lt"/>
            </a:endParaRPr>
          </a:p>
        </p:txBody>
      </p:sp>
      <p:sp useBgFill="1">
        <p:nvSpPr>
          <p:cNvPr id="158" name="テキスト プレースホルダ 9">
            <a:extLst>
              <a:ext uri="{FF2B5EF4-FFF2-40B4-BE49-F238E27FC236}">
                <a16:creationId xmlns:a16="http://schemas.microsoft.com/office/drawing/2014/main" id="{45BE166B-B7F0-4967-AECA-3C43DFD4F507}"/>
              </a:ext>
            </a:extLst>
          </p:cNvPr>
          <p:cNvSpPr>
            <a:spLocks noGrp="1"/>
          </p:cNvSpPr>
          <p:nvPr>
            <p:custDataLst>
              <p:tags r:id="rId66"/>
            </p:custDataLst>
          </p:nvPr>
        </p:nvSpPr>
        <p:spPr bwMode="gray">
          <a:xfrm>
            <a:off x="9369425" y="2743200"/>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BCCEB5F-6A81-49C0-AF64-7507B9208696}" type="datetime'''''''''''''''8''''''''1''''''.''''''''''7'''''">
              <a:rPr lang="en-US" altLang="en-US" sz="1000" smtClean="0">
                <a:effectLst/>
                <a:sym typeface="+mn-lt"/>
              </a:rPr>
              <a:pPr marL="0" indent="0" algn="ctr">
                <a:spcBef>
                  <a:spcPct val="0"/>
                </a:spcBef>
                <a:buNone/>
              </a:pPr>
              <a:t>81.7</a:t>
            </a:fld>
            <a:endParaRPr lang="ja-JP" altLang="en-US" sz="1000" dirty="0">
              <a:sym typeface="+mn-lt"/>
            </a:endParaRPr>
          </a:p>
        </p:txBody>
      </p:sp>
      <p:sp>
        <p:nvSpPr>
          <p:cNvPr id="114" name="Text Placeholder 12"/>
          <p:cNvSpPr>
            <a:spLocks noGrp="1"/>
          </p:cNvSpPr>
          <p:nvPr>
            <p:custDataLst>
              <p:tags r:id="rId67"/>
            </p:custDataLst>
          </p:nvPr>
        </p:nvSpPr>
        <p:spPr bwMode="auto">
          <a:xfrm>
            <a:off x="923448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E294021-928A-4DFC-90AD-89444D3A33E9}" type="datetime'''''''''''''''''''''''''''''''''20'''''''''">
              <a:rPr lang="ja-JP" altLang="en-US" sz="1000" b="0"/>
              <a:pPr algn="ctr">
                <a:spcBef>
                  <a:spcPct val="0"/>
                </a:spcBef>
                <a:spcAft>
                  <a:spcPct val="0"/>
                </a:spcAft>
              </a:pPr>
              <a:t>20</a:t>
            </a:fld>
            <a:endParaRPr kumimoji="0" lang="ja-JP" altLang="en-US" sz="1000" b="0" dirty="0">
              <a:sym typeface="+mn-lt"/>
            </a:endParaRPr>
          </a:p>
        </p:txBody>
      </p:sp>
      <p:sp useBgFill="1">
        <p:nvSpPr>
          <p:cNvPr id="154" name="テキスト プレースホルダ 9">
            <a:extLst>
              <a:ext uri="{FF2B5EF4-FFF2-40B4-BE49-F238E27FC236}">
                <a16:creationId xmlns:a16="http://schemas.microsoft.com/office/drawing/2014/main" id="{9A93E69D-587F-4EE2-946E-339A0893285C}"/>
              </a:ext>
            </a:extLst>
          </p:cNvPr>
          <p:cNvSpPr>
            <a:spLocks noGrp="1"/>
          </p:cNvSpPr>
          <p:nvPr>
            <p:custDataLst>
              <p:tags r:id="rId68"/>
            </p:custDataLst>
          </p:nvPr>
        </p:nvSpPr>
        <p:spPr bwMode="gray">
          <a:xfrm>
            <a:off x="7788275" y="2881313"/>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A45DC9C-A7E3-4FC8-B903-F9B7D71DD363}" type="datetime'''''''78''.''''''''''''0'''''''''''''''''''">
              <a:rPr lang="en-US" altLang="en-US" sz="1000" smtClean="0">
                <a:effectLst/>
                <a:sym typeface="+mn-lt"/>
              </a:rPr>
              <a:pPr marL="0" indent="0" algn="ctr">
                <a:spcBef>
                  <a:spcPct val="0"/>
                </a:spcBef>
                <a:buNone/>
              </a:pPr>
              <a:t>78.0</a:t>
            </a:fld>
            <a:endParaRPr lang="ja-JP" altLang="en-US" sz="1000" dirty="0">
              <a:sym typeface="+mn-lt"/>
            </a:endParaRPr>
          </a:p>
        </p:txBody>
      </p:sp>
      <p:sp>
        <p:nvSpPr>
          <p:cNvPr id="126" name="Text Placeholder 12"/>
          <p:cNvSpPr>
            <a:spLocks noGrp="1"/>
          </p:cNvSpPr>
          <p:nvPr>
            <p:custDataLst>
              <p:tags r:id="rId69"/>
            </p:custDataLst>
          </p:nvPr>
        </p:nvSpPr>
        <p:spPr bwMode="auto">
          <a:xfrm>
            <a:off x="74580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6399331-6690-4EF4-8DB6-BD69996AE509}" type="datetime'''''''''''''1''''''''''''''''''''''''1'">
              <a:rPr lang="ja-JP" altLang="en-US" sz="1000" b="0"/>
              <a:pPr algn="ctr">
                <a:spcBef>
                  <a:spcPct val="0"/>
                </a:spcBef>
                <a:spcAft>
                  <a:spcPct val="0"/>
                </a:spcAft>
              </a:pPr>
              <a:t>11</a:t>
            </a:fld>
            <a:endParaRPr kumimoji="0" lang="ja-JP" altLang="en-US" sz="1000" b="0" dirty="0">
              <a:sym typeface="+mn-lt"/>
            </a:endParaRPr>
          </a:p>
        </p:txBody>
      </p:sp>
      <p:sp useBgFill="1">
        <p:nvSpPr>
          <p:cNvPr id="152" name="テキスト プレースホルダ 9">
            <a:extLst>
              <a:ext uri="{FF2B5EF4-FFF2-40B4-BE49-F238E27FC236}">
                <a16:creationId xmlns:a16="http://schemas.microsoft.com/office/drawing/2014/main" id="{E98CEA0D-113F-4B0C-A911-EA3B00A2DEA9}"/>
              </a:ext>
            </a:extLst>
          </p:cNvPr>
          <p:cNvSpPr>
            <a:spLocks noGrp="1"/>
          </p:cNvSpPr>
          <p:nvPr>
            <p:custDataLst>
              <p:tags r:id="rId70"/>
            </p:custDataLst>
          </p:nvPr>
        </p:nvSpPr>
        <p:spPr bwMode="gray">
          <a:xfrm>
            <a:off x="7591425" y="3408363"/>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20C6E0-AB48-4DE8-95A1-B78D3341E889}" type="datetime'''6''''''3''''''''''''.''''''''''''''''''''''9'''''">
              <a:rPr lang="en-US" altLang="en-US" sz="1000" smtClean="0">
                <a:effectLst/>
                <a:sym typeface="+mn-lt"/>
              </a:rPr>
              <a:pPr marL="0" indent="0" algn="ctr">
                <a:spcBef>
                  <a:spcPct val="0"/>
                </a:spcBef>
                <a:buNone/>
              </a:pPr>
              <a:t>63.9</a:t>
            </a:fld>
            <a:endParaRPr lang="ja-JP" altLang="en-US" sz="1000" dirty="0">
              <a:sym typeface="+mn-lt"/>
            </a:endParaRPr>
          </a:p>
        </p:txBody>
      </p:sp>
      <p:sp>
        <p:nvSpPr>
          <p:cNvPr id="108" name="Text Placeholder 12"/>
          <p:cNvSpPr>
            <a:spLocks noGrp="1"/>
          </p:cNvSpPr>
          <p:nvPr>
            <p:custDataLst>
              <p:tags r:id="rId71"/>
            </p:custDataLst>
          </p:nvPr>
        </p:nvSpPr>
        <p:spPr bwMode="auto">
          <a:xfrm>
            <a:off x="805021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7DA9CCF-D908-4D33-8872-BD548594F459}" type="datetime'''''''''''''''''''''''''''''''''''1''4'''''''''''''''''''">
              <a:rPr lang="ja-JP" altLang="en-US" sz="1000" b="0"/>
              <a:pPr algn="ctr">
                <a:spcBef>
                  <a:spcPct val="0"/>
                </a:spcBef>
                <a:spcAft>
                  <a:spcPct val="0"/>
                </a:spcAft>
              </a:pPr>
              <a:t>14</a:t>
            </a:fld>
            <a:endParaRPr kumimoji="0" lang="ja-JP" altLang="en-US" sz="1000" b="0" dirty="0">
              <a:sym typeface="+mn-lt"/>
            </a:endParaRPr>
          </a:p>
        </p:txBody>
      </p:sp>
      <p:sp>
        <p:nvSpPr>
          <p:cNvPr id="128" name="Text Placeholder 12"/>
          <p:cNvSpPr>
            <a:spLocks noGrp="1"/>
          </p:cNvSpPr>
          <p:nvPr>
            <p:custDataLst>
              <p:tags r:id="rId72"/>
            </p:custDataLst>
          </p:nvPr>
        </p:nvSpPr>
        <p:spPr bwMode="auto">
          <a:xfrm>
            <a:off x="785177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344439B-EDB3-47C3-9C4E-C7440BC6358C}" type="datetime'''''''''''''''''1''''''''''''''''''''3'">
              <a:rPr lang="ja-JP" altLang="en-US" sz="1000" b="0"/>
              <a:pPr algn="ctr">
                <a:spcBef>
                  <a:spcPct val="0"/>
                </a:spcBef>
                <a:spcAft>
                  <a:spcPct val="0"/>
                </a:spcAft>
              </a:pPr>
              <a:t>13</a:t>
            </a:fld>
            <a:endParaRPr kumimoji="0" lang="ja-JP" altLang="en-US" sz="1000" b="0" dirty="0">
              <a:sym typeface="+mn-lt"/>
            </a:endParaRPr>
          </a:p>
        </p:txBody>
      </p:sp>
      <p:sp>
        <p:nvSpPr>
          <p:cNvPr id="109" name="Text Placeholder 12"/>
          <p:cNvSpPr>
            <a:spLocks noGrp="1"/>
          </p:cNvSpPr>
          <p:nvPr>
            <p:custDataLst>
              <p:tags r:id="rId73"/>
            </p:custDataLst>
          </p:nvPr>
        </p:nvSpPr>
        <p:spPr bwMode="auto">
          <a:xfrm>
            <a:off x="8247063"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33A82C9-611D-4FBE-AAC6-B5F2AC8EA843}" type="datetime'''''''''''''''''15'''''''''''''''''''''''''">
              <a:rPr lang="ja-JP" altLang="en-US" sz="1000" b="0"/>
              <a:pPr algn="ctr">
                <a:spcBef>
                  <a:spcPct val="0"/>
                </a:spcBef>
                <a:spcAft>
                  <a:spcPct val="0"/>
                </a:spcAft>
              </a:pPr>
              <a:t>15</a:t>
            </a:fld>
            <a:endParaRPr kumimoji="0" lang="ja-JP" altLang="en-US" sz="1000" b="0" dirty="0">
              <a:sym typeface="+mn-lt"/>
            </a:endParaRPr>
          </a:p>
        </p:txBody>
      </p:sp>
      <p:sp useBgFill="1">
        <p:nvSpPr>
          <p:cNvPr id="155" name="テキスト プレースホルダ 9">
            <a:extLst>
              <a:ext uri="{FF2B5EF4-FFF2-40B4-BE49-F238E27FC236}">
                <a16:creationId xmlns:a16="http://schemas.microsoft.com/office/drawing/2014/main" id="{BD001C84-13D3-4007-9C37-246521BDFF0B}"/>
              </a:ext>
            </a:extLst>
          </p:cNvPr>
          <p:cNvSpPr>
            <a:spLocks noGrp="1"/>
          </p:cNvSpPr>
          <p:nvPr>
            <p:custDataLst>
              <p:tags r:id="rId74"/>
            </p:custDataLst>
          </p:nvPr>
        </p:nvSpPr>
        <p:spPr bwMode="gray">
          <a:xfrm>
            <a:off x="8382000" y="2854325"/>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F2BCA06-131E-479D-8747-58624CD42DDE}" type="datetime'''''''''''7''''''''''8''''''''''''''''''.7'''''">
              <a:rPr lang="en-US" altLang="en-US" sz="1000" smtClean="0">
                <a:effectLst/>
                <a:sym typeface="+mn-lt"/>
              </a:rPr>
              <a:pPr marL="0" indent="0" algn="ctr">
                <a:spcBef>
                  <a:spcPct val="0"/>
                </a:spcBef>
                <a:buNone/>
              </a:pPr>
              <a:t>78.7</a:t>
            </a:fld>
            <a:endParaRPr lang="ja-JP" altLang="en-US" sz="1000" dirty="0">
              <a:sym typeface="+mn-lt"/>
            </a:endParaRPr>
          </a:p>
        </p:txBody>
      </p:sp>
      <p:sp>
        <p:nvSpPr>
          <p:cNvPr id="110" name="Text Placeholder 12"/>
          <p:cNvSpPr>
            <a:spLocks noGrp="1"/>
          </p:cNvSpPr>
          <p:nvPr>
            <p:custDataLst>
              <p:tags r:id="rId75"/>
            </p:custDataLst>
          </p:nvPr>
        </p:nvSpPr>
        <p:spPr bwMode="auto">
          <a:xfrm>
            <a:off x="84455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56B52E-B986-41AE-8C06-187EB90FD48A}" type="datetime'''''''''''''''''''''1''''6'''''''''''''''">
              <a:rPr lang="ja-JP" altLang="en-US" sz="1000" b="0"/>
              <a:pPr algn="ctr">
                <a:spcBef>
                  <a:spcPct val="0"/>
                </a:spcBef>
                <a:spcAft>
                  <a:spcPct val="0"/>
                </a:spcAft>
              </a:pPr>
              <a:t>16</a:t>
            </a:fld>
            <a:endParaRPr kumimoji="0" lang="ja-JP" altLang="en-US" sz="1000" b="0" dirty="0">
              <a:sym typeface="+mn-lt"/>
            </a:endParaRPr>
          </a:p>
        </p:txBody>
      </p:sp>
      <p:sp>
        <p:nvSpPr>
          <p:cNvPr id="111" name="Text Placeholder 12"/>
          <p:cNvSpPr>
            <a:spLocks noGrp="1"/>
          </p:cNvSpPr>
          <p:nvPr>
            <p:custDataLst>
              <p:tags r:id="rId76"/>
            </p:custDataLst>
          </p:nvPr>
        </p:nvSpPr>
        <p:spPr bwMode="auto">
          <a:xfrm>
            <a:off x="864235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6169DAA-E21E-4C22-94ED-CC513B535C05}" type="datetime'''''''''''''''''''''''1''''''''''''''''''7'''''''''''''''''">
              <a:rPr lang="ja-JP" altLang="en-US" sz="1000" b="0"/>
              <a:pPr algn="ctr">
                <a:spcBef>
                  <a:spcPct val="0"/>
                </a:spcBef>
                <a:spcAft>
                  <a:spcPct val="0"/>
                </a:spcAft>
              </a:pPr>
              <a:t>17</a:t>
            </a:fld>
            <a:endParaRPr kumimoji="0" lang="ja-JP" altLang="en-US" sz="1000" b="0" dirty="0">
              <a:sym typeface="+mn-lt"/>
            </a:endParaRPr>
          </a:p>
        </p:txBody>
      </p:sp>
      <p:sp>
        <p:nvSpPr>
          <p:cNvPr id="112" name="Text Placeholder 12"/>
          <p:cNvSpPr>
            <a:spLocks noGrp="1"/>
          </p:cNvSpPr>
          <p:nvPr>
            <p:custDataLst>
              <p:tags r:id="rId77"/>
            </p:custDataLst>
          </p:nvPr>
        </p:nvSpPr>
        <p:spPr bwMode="auto">
          <a:xfrm>
            <a:off x="8839200"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3DA8481-5731-47E2-9336-40312B6B3216}" type="datetime'''''''1''''''''''''''''''''''''''''''''''''''''''''8'''''''">
              <a:rPr lang="ja-JP" altLang="en-US" sz="1000" b="0"/>
              <a:pPr algn="ctr">
                <a:spcBef>
                  <a:spcPct val="0"/>
                </a:spcBef>
                <a:spcAft>
                  <a:spcPct val="0"/>
                </a:spcAft>
              </a:pPr>
              <a:t>18</a:t>
            </a:fld>
            <a:endParaRPr kumimoji="0" lang="ja-JP" altLang="en-US" sz="1000" b="0" dirty="0">
              <a:sym typeface="+mn-lt"/>
            </a:endParaRPr>
          </a:p>
        </p:txBody>
      </p:sp>
      <p:sp useBgFill="1">
        <p:nvSpPr>
          <p:cNvPr id="159" name="テキスト プレースホルダ 9">
            <a:extLst>
              <a:ext uri="{FF2B5EF4-FFF2-40B4-BE49-F238E27FC236}">
                <a16:creationId xmlns:a16="http://schemas.microsoft.com/office/drawing/2014/main" id="{5CC7C6C5-2DDF-4ED9-9469-2ABFD7A82DC7}"/>
              </a:ext>
            </a:extLst>
          </p:cNvPr>
          <p:cNvSpPr>
            <a:spLocks noGrp="1"/>
          </p:cNvSpPr>
          <p:nvPr>
            <p:custDataLst>
              <p:tags r:id="rId78"/>
            </p:custDataLst>
          </p:nvPr>
        </p:nvSpPr>
        <p:spPr bwMode="gray">
          <a:xfrm>
            <a:off x="9566275" y="2700338"/>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BF9794-A2E9-4E11-989E-22D60BAAF548}" type="datetime'''''''''''9''''''''''''''''2''.''''''''''''0'''''">
              <a:rPr lang="en-US" altLang="en-US" sz="1000" smtClean="0">
                <a:effectLst/>
                <a:sym typeface="+mn-lt"/>
              </a:rPr>
              <a:pPr marL="0" indent="0" algn="ctr">
                <a:spcBef>
                  <a:spcPct val="0"/>
                </a:spcBef>
                <a:buNone/>
              </a:pPr>
              <a:t>92.0</a:t>
            </a:fld>
            <a:endParaRPr lang="ja-JP" altLang="en-US" sz="1000" dirty="0">
              <a:sym typeface="+mn-lt"/>
            </a:endParaRPr>
          </a:p>
        </p:txBody>
      </p:sp>
      <p:sp>
        <p:nvSpPr>
          <p:cNvPr id="113" name="Text Placeholder 12"/>
          <p:cNvSpPr>
            <a:spLocks noGrp="1"/>
          </p:cNvSpPr>
          <p:nvPr>
            <p:custDataLst>
              <p:tags r:id="rId79"/>
            </p:custDataLst>
          </p:nvPr>
        </p:nvSpPr>
        <p:spPr bwMode="auto">
          <a:xfrm>
            <a:off x="90376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101D891-3A4F-41E2-9A4C-A8667FA45C11}" type="datetime'1''''''''''''''''''''''''''''''''''''''''9'''''''''''''''">
              <a:rPr lang="ja-JP" altLang="en-US" sz="1000" b="0"/>
              <a:pPr algn="ctr">
                <a:spcBef>
                  <a:spcPct val="0"/>
                </a:spcBef>
                <a:spcAft>
                  <a:spcPct val="0"/>
                </a:spcAft>
              </a:pPr>
              <a:t>19</a:t>
            </a:fld>
            <a:endParaRPr kumimoji="0" lang="ja-JP" altLang="en-US" sz="1000" b="0" dirty="0">
              <a:sym typeface="+mn-lt"/>
            </a:endParaRPr>
          </a:p>
        </p:txBody>
      </p:sp>
      <p:sp>
        <p:nvSpPr>
          <p:cNvPr id="139" name="Text Placeholder 12"/>
          <p:cNvSpPr>
            <a:spLocks noGrp="1"/>
          </p:cNvSpPr>
          <p:nvPr>
            <p:custDataLst>
              <p:tags r:id="rId80"/>
            </p:custDataLst>
          </p:nvPr>
        </p:nvSpPr>
        <p:spPr bwMode="auto">
          <a:xfrm>
            <a:off x="9432925"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372B9E-9EDF-4C6C-A673-B35DD79D239E}" type="datetime'''''''''''21'''''''''''''''''''''''''">
              <a:rPr lang="en-US" altLang="en-US" sz="1000" b="0" smtClean="0"/>
              <a:pPr algn="ctr">
                <a:spcBef>
                  <a:spcPct val="0"/>
                </a:spcBef>
                <a:spcAft>
                  <a:spcPct val="0"/>
                </a:spcAft>
              </a:pPr>
              <a:t>21</a:t>
            </a:fld>
            <a:endParaRPr kumimoji="0" lang="ja-JP" altLang="en-US" sz="1000" b="0" dirty="0">
              <a:sym typeface="+mn-lt"/>
            </a:endParaRPr>
          </a:p>
        </p:txBody>
      </p:sp>
      <p:sp>
        <p:nvSpPr>
          <p:cNvPr id="140" name="Text Placeholder 12"/>
          <p:cNvSpPr>
            <a:spLocks noGrp="1"/>
          </p:cNvSpPr>
          <p:nvPr>
            <p:custDataLst>
              <p:tags r:id="rId81"/>
            </p:custDataLst>
          </p:nvPr>
        </p:nvSpPr>
        <p:spPr bwMode="auto">
          <a:xfrm>
            <a:off x="9605963" y="6129338"/>
            <a:ext cx="2000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F076B28-8DB4-4F69-BEB4-F50FBFEDB132}" type="datetime'2''''''''''''2'''''''''''''''''''''''''''''">
              <a:rPr lang="en-US" altLang="en-US" sz="1000" b="0" smtClean="0"/>
              <a:pPr algn="ctr">
                <a:spcBef>
                  <a:spcPct val="0"/>
                </a:spcBef>
                <a:spcAft>
                  <a:spcPct val="0"/>
                </a:spcAft>
              </a:pPr>
              <a:t>22</a:t>
            </a:fld>
            <a:r>
              <a:rPr lang="en-US" altLang="en-US" sz="1000" b="0" baseline="30000" dirty="0"/>
              <a:t>1</a:t>
            </a:r>
            <a:r>
              <a:rPr lang="en-US" altLang="en-US" sz="1000" b="0" dirty="0"/>
              <a:t> </a:t>
            </a:r>
            <a:endParaRPr kumimoji="0" lang="ja-JP" altLang="en-US" sz="1000" b="0" dirty="0">
              <a:sym typeface="+mn-lt"/>
            </a:endParaRPr>
          </a:p>
        </p:txBody>
      </p:sp>
      <p:sp>
        <p:nvSpPr>
          <p:cNvPr id="125" name="Text Placeholder 12"/>
          <p:cNvSpPr>
            <a:spLocks noGrp="1"/>
          </p:cNvSpPr>
          <p:nvPr>
            <p:custDataLst>
              <p:tags r:id="rId82"/>
            </p:custDataLst>
          </p:nvPr>
        </p:nvSpPr>
        <p:spPr bwMode="auto">
          <a:xfrm>
            <a:off x="7259638" y="61293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6B5A273-F21E-45D0-8F40-D7CC137B781F}" type="datetime'1''''''''''''''''''''''''''''''''''''''0'''">
              <a:rPr lang="ja-JP" altLang="en-US" sz="1000" b="0"/>
              <a:pPr algn="ctr">
                <a:spcBef>
                  <a:spcPct val="0"/>
                </a:spcBef>
                <a:spcAft>
                  <a:spcPct val="0"/>
                </a:spcAft>
              </a:pPr>
              <a:t>10</a:t>
            </a:fld>
            <a:endParaRPr kumimoji="0" lang="ja-JP" altLang="en-US" sz="1000" b="0" dirty="0">
              <a:sym typeface="+mn-lt"/>
            </a:endParaRPr>
          </a:p>
        </p:txBody>
      </p:sp>
      <p:sp>
        <p:nvSpPr>
          <p:cNvPr id="15" name="4. Footnote">
            <a:extLst>
              <a:ext uri="{FF2B5EF4-FFF2-40B4-BE49-F238E27FC236}">
                <a16:creationId xmlns:a16="http://schemas.microsoft.com/office/drawing/2014/main" id="{A8F63F1D-DFD6-47B4-B635-29D34E8140A1}"/>
              </a:ext>
            </a:extLst>
          </p:cNvPr>
          <p:cNvSpPr txBox="1"/>
          <p:nvPr>
            <p:custDataLst>
              <p:tags r:id="rId83"/>
            </p:custDataLst>
          </p:nvPr>
        </p:nvSpPr>
        <p:spPr>
          <a:xfrm>
            <a:off x="151383" y="6440488"/>
            <a:ext cx="2505854" cy="123111"/>
          </a:xfrm>
          <a:prstGeom prst="rect">
            <a:avLst/>
          </a:prstGeom>
          <a:noFill/>
        </p:spPr>
        <p:txBody>
          <a:bodyPr vert="horz" wrap="square" lIns="0" tIns="0" rIns="0" bIns="0" rtlCol="0" anchor="b" anchorCtr="0">
            <a:spAutoFit/>
          </a:bodyPr>
          <a:lstStyle/>
          <a:p>
            <a:pPr marL="203200" indent="-21272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1-9</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月の平均レート</a:t>
            </a:r>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6427067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SCLIENT" val="True"/>
  <p:tag name="THINKCELLPRESENTATIONDONOTDELETE" val="&lt;?xml version=&quot;1.0&quot; encoding=&quot;UTF-16&quot; standalone=&quot;yes&quot;?&gt;&lt;root reqver=&quot;27037&quot;&gt;&lt;version val=&quot;3297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6&quot;&gt;&lt;elem m_fUsage=&quot;4.02704135498453474895E+00&quot;&gt;&lt;m_msothmcolidx val=&quot;0&quot;/&gt;&lt;m_rgb r=&quot;80&quot; g=&quot;CC&quot; b=&quot;E8&quot;/&gt;&lt;/elem&gt;&lt;elem m_fUsage=&quot;2.57790599550390453487E+00&quot;&gt;&lt;m_msothmcolidx val=&quot;0&quot;/&gt;&lt;m_rgb r=&quot;C0&quot; g=&quot;E6&quot; b=&quot;F4&quot;/&gt;&lt;/elem&gt;&lt;elem m_fUsage=&quot;1.86707546270125623877E+00&quot;&gt;&lt;m_msothmcolidx val=&quot;0&quot;/&gt;&lt;m_rgb r=&quot;1F&quot; g=&quot;49&quot; b=&quot;7D&quot;/&gt;&lt;/elem&gt;&lt;elem m_fUsage=&quot;1.48037673518999990385E+00&quot;&gt;&lt;m_msothmcolidx val=&quot;0&quot;/&gt;&lt;m_rgb r=&quot;33&quot; g=&quot;99&quot; b=&quot;CC&quot;/&gt;&lt;/elem&gt;&lt;elem m_fUsage=&quot;2.50315550499324440681E-02&quot;&gt;&lt;m_msothmcolidx val=&quot;0&quot;/&gt;&lt;m_rgb r=&quot;F3&quot; g=&quot;F3&quot; b=&quot;F3&quot;/&gt;&lt;/elem&gt;&lt;elem m_fUsage=&quot;2.25398333562120273266E-02&quot;&gt;&lt;m_msothmcolidx val=&quot;0&quot;/&gt;&lt;m_rgb r=&quot;EC&quot; g=&quot;E5&quot; b=&quot;F4&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g37c26lAzOCHzfeVkw_Rt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2D8vHf3hvbJKh11nOkLJP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ebvpFlxynnWiXq.0d0.fT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2o.CM6g5FaRuBkXKZnTXj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IRBau5MUN.8tf_Jn9PC.e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8_8CZtvnzz.ntsiTcVfBV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Yx6zD62zL9uaNcxh_6iK3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8bdPDmWQPThkXL0GYCIDq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moriLTAQ9LnqiWwM7ISZz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fO5HNKRu8SNeX0W09llx9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iQih.ML05Z3YSCeN9mSoc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u31bBpOFE8MC1QhN2DqyU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9RNU9U0txrWLlFFNnl7vz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uk5LioALJ.k2oKqrVsDGs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3OtKbljUXtBPpic54PRD.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i3SqZVMY83o2gMn_9sUXg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asV0dJLrClLTfM.2EpFix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WJn7QvQokVKJ7gjyQvv_y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FDUtt5dwnbwO5OFNIIMqj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BeHC5EknaZaAoCDoJbj1X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Q07WZ_YNnINXIOrR0BbsA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lB49aNuz0JH_eQ6bZNPg_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XdXBUXDZwX18Iri98Meov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2yEUJSKakmO99_zuvnsu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NH6lxTWvEzZq.UfNpRr8.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arix7z_gvS1k.5Xqy3Cd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xInZ.IjUcdeZak2HrZWS6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IzKwFHwFDKY23q9mc9aZN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LHz56xpHT1wDxZBsDEvex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8HSlHW6W.2aJtTcPJYsom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CnvD4A7Rs_2pJgWOzBWXS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0Z3EkEL_zzZVoBTkc_5tK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R4oQyJIkU3rmYCPegbgtJ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oB6jbNfLSdO47plpCBUX4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vcke0ldrbmMpl_ID67asM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YsQEvFGMTGubaefTBivKV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ryby5Yi7DOUGE2K6fuT0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bVxGopR6bykekR2m9CJrg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F1Hue2EKJ4ZVistzRB2HV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4oaZXjWbHWiyoWdaJjnJI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W45Zuxd4h.tWybcatngVF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ua6YNwMBq6oLQ8Hf0O2G8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pPpB8Op2WSd4W3AMqQ89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XH3pSrmPAojHWklHbLQHY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dtKoQa8bxugUGO3NYshA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XBw6exkL9VsV7Q44k37xq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sFFI44OMBXyztaqm2oE_b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BB7bA58LUYrCJSv9o_wA0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3SRHUpRQxHuU5dyS_N4bw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1eXBZZihezKiRVncEn5U_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dw920nXkgMNGuNwEhePEj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6mStvzfYRtmUp54KrUJBA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r2h90e5eTauV3VIvkpJDf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Ls.ZKBP7UKnn4x9rYJB04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Urp2w8HbhtlmTTz.g7Q40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8znkInCqwGZZdkLlrpB2e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ps3bg.0pQJ.m_8IQe2Un0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ETNAsVz8l4vitejx.GmNU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Y0R_oXv3Tq6i3b3hBAh7o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JNKvQtUeYOzMnbrZr7o3u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16hVsiuN.W0BT6Deg4JT4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_UHVbg0jSL2n1xVmOT0aT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ur_HPod.Tb6iAHfk7.5JN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XskpSpEuStuC2E8JLX356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99vdqbO5STehHmjSXns5J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s5_AQHVuSh.ujgtenmwQ4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N7wb97obRXWXmesMv_atP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MByGmdpRxmKQeo0NZXF7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wrRLzUqVQhmXXJbrhX38v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mzdC56YUQ8WEH2nxr3eho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Itfp7L_4QjakPJ69R2A_A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w35AtPPZXCDKJ6ygBxoaf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alYtVMbCSLKs3IchFW0hG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krQCmkLoQHCfPu6KbnF2Q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QhTM0BcjTQGhKFZo3a2U4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x4KhVG16SmaZ2xf0LSl_s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oB1yWPRSQhiYf.LIcwgj.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PH4XE497R3i6E9UITZP5C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pgAlmZGjRP.EcXV_B1Irj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ZRFDzGYCRhKZjZE8WIK2M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z6QwCYh_S3Gvtmntj6Ab6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yZhlSBnWRcOp8ov9C63jY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erGPQoo3RkSgbEFfuPnw1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ksDlv5eXQ5CyEE.KVxVmA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6q_SijZHRni8psHOQ2lAg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IOOyB2o.SEq0OybOoke8i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5pfbdWPWSKWCJgGUM3wMH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jFZxVDxSQKKQaN_cSMjLu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2zevgGLWTyqCjEtmePfFF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RvMA4vlDQJucSXxt.zuR1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0XaGWV0mRkOKmgi9q2eKM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4SLRarFjRNqPYg6VHlhKq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N0QPCstTQ2w0qkzSSTIo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gNQPtaASLiBUS6T3o4JZ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ezsc6O4CRrmqqb7RBC_fm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Up0yNwBLSYObGYgP90whY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yjznz_26QISgEJA6bh2TD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Pw.XDD9YSqabh7zmN6i6f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C3i4JC_uStGNlc5eUTlZP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1w8dIpKkTz6cw7tuHtNnz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PRgL9yh3QhC9ghHAtDReP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Wrw2hyysRSizvtx29E35l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8R02NHCZQvSoK_hlE3McJ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9PUa_m24RGGNMjwpZfmlW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fjuD1HM1Si.tsnh5ZNMKm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Q7SGJFzaQqK_iKMZyRdDm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_G5K.40xTUKVt2VdPufyT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Sm5AtZbuSa6t.olOFaNAm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ASQ4aojOSDOLdlS_vtASq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vRggYnHJSg.yHHnph9T4X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yGnruozYR62_3nv.SpzU4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IPDCMVupQNChJ8jPFpbUn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XP_04kZvSMywlyclcxd18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Y0HtPXrBTTGxmEwiTXMEg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qm4e2UGT_uq.LqfUxkh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dPlbshEkRwuZbhhOf48oW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I79joHI.QmyWp3_WxNJvA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utHEXimUT7KKV2J5uFF_f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6HmlH8OSSiySyFK2mGl8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d9C.iZ_qR9mv8g6iYXZO.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z_pyAByJQnWSmkExhCJL0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svhiSPeN1mYm3iytkhaV_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IEBp7sgBPXG_dbufE0lGR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YShH8oLWPqB2DAlXIkou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sN_JaiuaSxKUpnyXM2y5k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KDRmmvaQRX.stbRIsbRXS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z2qqs7wlQVa.ZB.kK3xbl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_wBp0Q0hSYuu1gpsCnyt3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SQ_hUFNLRWulBUbetPCu2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drKWJu9pTmiSNj.wdnz3v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pzwbndD1Tge8j3l4oncUo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c7EcxgxcQQmJWj8k9rAuV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3j4NijwkElIVBEu8e1yF4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GHLsCEe3SjCX_X83RgNot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dlbbB8jLhpHvOpddcNJh.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zYm20.CA5AmX7kkuR575R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2UnAUg8PQamM.cZN.6JvM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eiBovaIHQnOVpZzIhZlq0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m1ludUlSRG2z1bjS06Df0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GLL2JfShQ9i2zXE6E6ewP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qV.IWzEwRT65WPpulO14P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JX5WO7wy9xoIeZ3l6xqBQ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yBn7b1LcNCPZrB3Dxpk6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3PQPSbPSQca9uc5_.2jYc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bC5KezbASbGYDz_yjEr_O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NVbpZsmGQBe6oZttjxK8o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9f2nizNqR7OCjct68VnPE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QqXVdVl8TAS3dTPELTFj4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GVgi1gl2ROC8KKYkgTWb5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zCKY4bqdSOmdSdyiWlFJ8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NwageCD5SmyWrSl58SGyA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Nt9VuZkfTQ639D5zfsfKS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k7IZbMbT8MqdIoaODchKr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IGnEUarSWCGPLBR3zWTf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7fx9iBYAQQOGuviIks_N7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j9wyQzozT9edddBor0nbO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4QepldvqKyK82v2IXrast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USixJSGjQASnNLIabsQf6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AtJFqjbkTWO894sEE55Ku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iEfek8pmQ.GlgfdftqcLa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7jUbbOJcS7CEBhoKb6234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lBN7tIhxTpqzu0F1KTCai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xDH8w0TTPztKWxyotUQEo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uHdPQ56vTROYf8XJPkS9r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f2dqPaY2GLwIr.D99ipX7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0dEX.BfLGWzZnEXrRtBm3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2cHr.UA23rh4ZMb7m.aXm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uJaeBRozbJ.kp297iW1n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lL0iqlRRlQjj_7Efw7zaQ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1fjvYC5LSJ0N4SFDrB9Ig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luRJ04xYhO7OoY5himUXr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wKxyiI9PsLTTTs1BHGHAr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gy9l0iiIS9anftSD__Cf7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gEoQngN18YiNxq7YXGQgF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ih4a4QvuRg6rOdelhpAY.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0XNc5FI.TciEt9GhOSWuR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dzyKwrlXTzac3mv6Uv9PP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W5hsAmFITWiXLpDsggixL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KJSuNy6aQ6qmo3g8CWRoe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rDoV85nQwy7.SCMqm5SV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rN5554npS7.HDs4gZDTC5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u0OZG5tnTpisnTFp35Vo1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w41idhCKSoq2Z3eUcvN4w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4ICs8jxfSje39IngqYuU5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z1VbMeTPQ5CIV9GT2qcPi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V12oxHYABVQo0zF7ttEA9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WWBXTrLkRDCjYNFfWA_MX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VCjd66zcTtClUzYVl_JR1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Y4UQGFeTRJmn53VnVOujG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dfXYGDqjR7WQt6K3Ur1rs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vOsYZ_XhScecoWMqQRlqp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M0IbG7t.T_C2eqHeIGNcD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em0aGw_TSY6YmYWjX4H4I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cE4uxVoRJecYNLmnYcnS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ty0TUeg.QZ6O84YcIEucy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AVS2dQryzeXEQy2OVeDxD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5454l8PyeYOSKmpN7pRxy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Udzezsmk5wHGqHoKV22yp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EJxnsAS2gUGrPqsgO_hf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geA4OfiUROeb1Jl9NjUy.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S6U4CpmaRMKlwWT9zZliZ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tceedmMDR9eiyO84VA9t6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ZpMe7PksRtC_XEQnvdbw0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nSEtb0klCck2b4l7VgIOf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pL3DogvyTvSwLvE3DjxQl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lz37A.z5NPc6qPNAotKVG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XJbmQPGaQ6CGesBfc20cP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_hinHrllQimtSUAAGnS_w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pCWEQmvSTr.Wxo1sDlzOl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ybCI9H0IT9yCQbU45qP_h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LO5nHISUR2G8rS38P8L1O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12tLa94QM.obzX2CUW8w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joqLL2TDRMWXYaEazu3Ab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35VeIu373aLlhf760fCou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gmKy9zpITyC5fKcuSci2o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say6vWtyToustPsjw4iJ4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9uUwUvUzRviiUvudZtEjo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PIE55Zy7T3aiEywtT1Xib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zJVkxtrdQBWmS.NGX_B3m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6cKeQ1Y7T3aVnVthRzL2D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JKT.G_NnSBG7HGEeqhWPb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F8c.6YdRTVqf3B5E_lHlG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xIdk9aauRyuMmRGt5x42H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yKozt1ozg5qbmoJs5u6Va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wyRbpji7RNCZ0a_GRZmnZ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BFjNpVceQH.Uz5O1nc6ms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OxkBlu_RQiuoG6skD5ilr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_yBdEfaSHCkOzZTyc0Py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Me_c9XtwTu6q4QaUS9Hmf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drMnA0GtR6GxHl_yYSR1N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mzI.z2gTNuyPp8TVyJpJ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k6.vG3pbGjBtD3H2Uvyd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VcLJnSEpQ7.0m5sjlmEPN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pTYqFl2F4hAE797Hs1ZS9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bXKu4a1lQFG23Uf9oG4Pf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79AHXMaORoyFpjO96huJe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mJ4jb5slMzwtRnX..dtyw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XiccX69OvQqEa6PbGxVFT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A8RDJY.rT8iUduXqOoOmB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mQH.uzamZ.cTYrk_hsWad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K9osU.HjduRJFoUhCAKMt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x9VJ4YCOBOZFXLhnOCqP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vs3OcTFMR4kV_Y6z2muiI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4X.566V74vJlUDm2Y_U9J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ieo0tqy3iwhaV7mlVz2SC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JhRcFKEx70Zg5_U2HJ9VM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YNlREi3iSuSMin.QDvT8l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m2Gy1h5lQv6yq99_t8vt.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dgqrV2g.QgufRVGxXQvN.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yXI0mMqFivJSw6euCwH6o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J0FQOzmrSvm8zR3SbpUgV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6QxwGtZxQL2SbRmZEUjHK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iJvZbSJDQXO7FwYTxfZy_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pFZOuBNTRDuJsBbGy7Yp8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2M2tNTFxHhlxSEH3b3RAU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pBrBE2C.SLWaUKPCTgCaW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sEG8pz16oZWdBT0wM3hSn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bpZMPcbuQ.aRxlZqdIefQ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8vSXAXWT97asT2lTkEsDe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5FTtqinfQKOi8W9ye1HXS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8XI7zN9gTFSlgbwagszsy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P_z6qqLJykdMMs.f0H8sF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LxhDRNXnTpKvEvazy2q3p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7vbeLkd2QQyzMUG3_VT69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4G2qAMKaSLGvEVv3_ATAD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K9AXvefctNohuLSEv.zVM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rJhB69jlTtqgSCi_r3zew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TwRbuKKjRNOB9rlKsNEtu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bjWwcT6TF2P3bRcBKwMc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01ZqETkkS.asE5RL4g1PB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p_1_I6wQT76bQ_MCmzj2n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z6hOSA2yToecF9abH1550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WcuW.c..TheOjsGZ1iSrK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sGS05Gd8QGmENpba8Dg2Y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mIH4zFQ6TgOfTCBK.E78Q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_nIfMD.cRNKMA.IpwkpAm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iQRtTemwStO4SkfPSbG9f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YgYY40d0TuKlI079cQGoW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SU0nXCTwSOw_xjEXCp_O.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f3X8L8fZT3ST2gmVXSH9l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CKlgN.q7PkdSRtS7PvIsi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mQhXELO77m09ge62Y3g1M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KiygPIQfT76nKxDCSO_QG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5V3pjIKsR76L1DHkhpVI2Q"/>
</p:tagLst>
</file>

<file path=ppt/tags/tag381.xml><?xml version="1.0" encoding="utf-8"?>
<p:tagLst xmlns:a="http://schemas.openxmlformats.org/drawingml/2006/main" xmlns:r="http://schemas.openxmlformats.org/officeDocument/2006/relationships" xmlns:p="http://schemas.openxmlformats.org/presentationml/2006/main">
  <p:tag name="NAME" val="4. Footno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ocseGFRrnSMzMTW0F_RSF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NwtytWA7R2OKRMUXjS1dn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9sn8ApQ9QFyQvF3_bB454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8Bw0L6K0TMCRbQQa5hdrK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NkQwIFxTTT.l73Vnhqa00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uR1IB3liTdi4zObMrbrz9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Y7cGRgmmQuummj9BnomZs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EY6FLZbzRp6OFJg_BA1p7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wc7Ivbo2QbCNhelP9LYju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GVN6E5TtTIuiDUNPK7e.M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LnpqBNZFSCSly2skOgCPO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YXZax.bcT6Wk5JdCIXRVq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2ZXmMEdpTpSx7S3vU9rC3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tP2SFGGhRcSJDBMKnKd4w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6YL.4rwHShaDH1OaBcu0i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vKRPH.o0TpS1sDvkzaB9X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p8cVsPnyQ5CJskWXujieA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dTXwPmV7a1g.SAgf1VCtW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BMl6NVjOSr6QxAK_xdl9q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b6.xwnnvQguA4uLkbvAOL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5fiAE5khY76P41X.ylRtQ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s9VLd5HRPuePMkIwCOa4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yS7QkJjPQXyzZo8ibghfZ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xY6IFQQbRhOywsoBSpY6Z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rA6oW21REaTjrZ_d_M5t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Scr9UDKfTMaq57hkAIQOG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mPra3t2AIv7hlEDlTeoUr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vgCQb_wiQ2akhuyuj2PeS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xkQt2KrsQqOHxQVtm9gpl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Ma1WQ6_tTYqSkFT5lW9Aj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qYzJhrDLTLer9nEvyZXoA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BMsoVhtrSeyHxWgLDgT.N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vsRciBlMR8ax6jihPyP6E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F.kexmBCjLFsuY9TbwGe5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Dckp4oKrCQCmVUXsKlEmn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LMLH1qyzSQi63RDrPo.sT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1.YzVGp7Sg6lF0RfYFhhZ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Z2TemvO4S7WHnVUVk5ok0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yxKPyNowT8uq79QHtCLxA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kmDMRSdvQxy1c0iYsKkNr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qun_MuQ2SnS_FQAbVgt7x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ynFbMiaLQeOsVDRNfv_PS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O1jcOB_5_Au6Bp2J6QGpw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0hUGFeSWR9q8C_p2gms..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ffS1qqFaq4wSuSw2JyzVt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cgoUGU7TRQic0xaqLtD7I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n2UEpC4dTaeikamwzwCmN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iJIfIDchQQGmY4qu4HXb9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5hLtu86qSrmt9OKWwJ8m8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5hhh95ErRnGXxmGypq6Mj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Ax3qtMQO7zg6VsKBePtJV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tXQPUMNVbYpy93djOx1Zo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8oxhzbRl9YmB0nyg.BMZj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u1afavENQm6HxTTd0.bhj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60IJwDfhSVOnmuaC3ZasU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RvVGERnTR1ueiZ8He7oO5A"/>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3XxfBYfGLd8z8PNOk6KSv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ow5_XAjZSY2_VHV_TIetg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4UPwMs0FaZYYuvpAgNNwo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pLyDm2geJi5d_r0gwmn6U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PcjHc.40wYEAT_je7kxik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RirXwCbMKGJKimYhqD4e5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rjGJTXcuSOSxv4gwef1WH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iXsf87_RQCCSvxL34b4wo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PbEKxzVSRf2X7B1IY8QeF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tXMbtot0SlOrYjvM6bIV8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asQlButuTMWcrhpjB7Qg4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Yi4TvlW3QnqHp4V2MZZs4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AeGarELbTdSKhnqekpN6B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c4B7Y8C1T.qviUFf_wzE8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SxwVHB7xUngv5hfGs75ze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7tC2o1uoSE2r4jqf8V6aR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WjYGH4dtTE6hQY5dbPi7p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blRMGMLFTT2q6BV3Aht9p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rBq5KZQyT3._OCB1aXcJB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5Sq_y2xlfnNdutkfbaXgH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4aueIqH9S6xl__F9FORwA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GgPKNOWsCewIiYxA4Hxed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v4._wysUbfZjTYRzuHus4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ccdMoAZL53yZaK4hecTOJ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knx_LvMXPtxsiYmj.cd8I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gzG1DH4_tiYz.xM9PeFvx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cEhLhrIw_fq_nJE3sKz6y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VdYNDu6N.VRiZaJf4I6wd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eG2auE.KI.NQcbigRWfjR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IVDjLADte2nMMFAjbFEEr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eZ0Dh2jDR6WQYD.1aFaiF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lMJLrKx8Rs.cyJbfoL2RD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SdOG4TrvUSRn6TcSPw9Km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nHmEqB3eVsjrotseSKSo8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c7.xVOP8S22DWXJHPYRPH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iqj4lAgZSNiJBAS6yqnY5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ErdaQObrSkiwAqWeC5.c0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DaP9m50JQZuodzPQ7Nlz9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qSReY4FuRw2skU_teJBil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UqgoVzWxdC.5R8luBzDnT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EFiIfIJSh6OQlI_HFKFv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LGGMOq91Qlym5alwG5zL_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dFay4JyTdjOSGyTJtaXnJ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rqKlh2vEvQ.gUEDvJvhk0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4hb60QxIQtiaSI4N8QAM7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UodAA8tSSIqQJrEeUIdmq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tBVCPzcmReyI8mXCn7qdp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7Kab0XKFQd2ifpHDro4cD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kJ_xXZs2c7YIqoHuWvSpV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Pxg9HVZ0TN2x9jJ0EX9Y0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jx4va6o0T6Sez940NsKcy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TG5DLQRLSgmDb8p6ZZyWI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L5UXm5csQyS_uHUlgPVfp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AZu1feSmTJK7F.xMyM.Sw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w3JkyKf3RFKkFffU_YNJy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Tck3LjweR3id.vZVw3sUC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itcHiR7GTS2TVzjWXm_0H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tWyLXeWmTQyee83VgTfDB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I4ETzk7aRmCv86VRsLrlh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2r6nGIYeQiCzwlZMw4rKk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NEJmRX4.wCYpG.8epwVyq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che9get3eTND_ZfmLGSPC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QOeZboTDqH2DZEFMNtPbJ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P5LwVwhNQwqYyloOdPn2S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2QfSAnO5RzGGgpt0c3uV4g"/>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Jbm29JZiSFStM8dIXXXfX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ikX6yfBOSH2B0mYUnhg4o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DsNftynbTSCYi3RbhRijM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76tvzJmiT9yzBVFDVigiz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MA9h451WR8.wKsIIl1g14g"/>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U5ZVqlIvSIC5c1OVnThxh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3j1Jv4UWTWWtRFGP1Sd1d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yuPjfSB6TvOADzSm4Tgs4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atPYvjp0dlq0CdIZhzWN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JnPnxDt7T1m2PiEJDsk3z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RlAJ3rMpZbDUdvHjbpPqD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YL7hT7ctpjsLxJyvgKSFS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H6HqSB.zTw2Kjugsd1yp1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Ew5Eml01SJ.VY0hhCvoIsw"/>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SjyXG6ceHg0LEH2xzSnWq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RXH5mRCKTLCDwoyu.3hwOg"/>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vRqS3SZzzrjCphwnSyljQ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0HOUUb59Qu634qPwxUARq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EIGsqRwJQimaqnpHswUV1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PP7pUMx2Rs2RWR1SNlWKR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xebuJQbFTfy0NfKshRBG0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0FR2iNVrSlaeV7r4fibpY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qEUM.YVtG37bmL4dlzYea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itL1YiBvYSVyPquPMcL8Sw"/>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QxODdI5Vycu9.xdHkFsYw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napX8FFeQutMNDJic_1Yj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rJI97r.2RVVM6VGfaVve2A"/>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xC3L6RWLs_a4rdbGlru79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_ThjoJZHOwDl3Pblzfg6P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virQ8jOK3s9fbDCLq6cwjA"/>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aAEgVCfq34hiuJrgNwimX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KuDEDD8HTByfDPPTGqFNy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mKHw_f17Vl0DOUl7IHzgp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UQMH.t55VZCo8A5IPK5wRA"/>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mODN1eoHG.UlORX5ZpH3J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2ZSQ1cvm8J1DuQ2MC2o2t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eas.JkgPKHH.uBYFNjmt1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8DCE2oe3SWPfpdStMUvQE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gqBjB81gcgS6lFkj47adw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70XvC0WvObW2erhDSCl9J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TPJT13ZHH3I1adsW1oJu4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JN56qVhaVaIbSn8zNwVUL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waNpbR2EzGpwOGCmQEkW9w"/>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oaiLn9sgjW86O6QCgRCx7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PBeTdIuYsmKg3Q_gDFcmD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Zl3Q2fxHQ1EgydJXgnr7g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UW0jsFIru.jfq4dh8vxYa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wCWJcSX8NqkPhoiJtHSNC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dmHQ92AU_Pd.2KzVYg8GH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TFZP2tyT9gvby_GGm_sQG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DwYNmq6v718Urz9tqZreV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kroMe6t1MoYIbEjkzsanzg"/>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pUyiQlm7QmCvHPYCel8tU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nIbVekH9Ram7R315hFxzL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IQcl.Pw4Q2SWKCmz_mtEZQ"/>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WnT_sGrCTp2.JaU68p3yY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kjPfIDAnTyGUVpU53N6KQ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IVaBE6SGTlaxF3tgyhP7L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LNEs7ks_RPGs.EZnrB3.k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B9VyEGz15gXVFpQy_.F4M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f.h7fjnwC29FuSQLcab_G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ctlddKQBQMGTOFC_g4QO3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3PCbkeySaC94lLYp1Apg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IJYXsA8ueOWUjL5n77g7o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_jQxZtCjiNM.EwZa1Yk0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qpuu_3XVpv07.LlwC7plS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qwUOzZyOHkpbHFDyHkUBw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_d3n5oco8eUMFhONU0mAk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alHqZlBQzW94gEoFAAeU7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Kz85QFFKQxWb8QSQvr0.K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dPfW9WwzcoK_j7xq7MafL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JG_R6nFYRL8Sml7PyBFi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LHjv.DneeYriB7qbM_2bS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9usOoU4w13460lrrvDsgZ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jtQoK.g7Hqs9XcUYDuR3X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_x1YJmwUe8n.ppLZL3UGu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2E.7G57GTi_whzy9_zZEM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eu4JibcORKY6omftEonjXA"/>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RG5zhtljpKjEgIDAcqmiy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76CJx5x5MvY1LEDGBUXr_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v4AIShCMYVIsNiuMSv.inA"/>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qO21UY3hoci296gyelfHPw"/>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z1fUg1CLoHgZB3lAh2zIeQ"/>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Ge5pE3mT5JmV6L8t8nqCY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rodoK2coo1R1n1E4EDmrhg"/>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ZX1s73Iq8IYhCNX2LAYy5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2ZfWFdF9Ukv7MCcHfnzU7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fajHH_R38Gt9JsScd_KW2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CzuROfslT_9WEO3JZlPBN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_3BQEk9Epy4nLBO88tyS1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Beejr0GFG65U7PsOxzpa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SpZb1Ig5f05g1ieGmRsQIA"/>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VDS93QUgGUlHU4JUDN57Pg"/>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aLU1Fa.KcKsUQNKAr6D4.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BvUoBn46oAkFo3h5KfBwL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CfNIUkUjd7rswyqlWVlgaQ"/>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RQttK0s0RUgML7cy_GGrZ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_9LfGvGQNK2T2j19M3TDCA"/>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BnbTrgVtx4V1IGSmU67UCA"/>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DIEZXf9xMZCFT.Xywjvxl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fNjKw1sLkhKpsGpRywWpI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v0U41KcXCKgx0m8dnhre7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WeE_gpiRLC.o.pJyDwmbB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YAqyx1YJvtS0S3EPjgjby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3aFKm50WgRgiB5CzXsp5_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YcBrsU5n0zaLsshE_Wmx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fThuITIN3hxiZiTfK9L.l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dPQy86yEPdQvHQ5Ih090cw"/>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BtfS4bz72WTLwrj6RFh63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X.MjLnW_8V39aQNjiNVTN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KuqK9rS6Tq98.PSjG2Oxc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WPrI80kheyPMMuYFgz.3K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ThUMatAiOwvDMHyaouDy7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7Cf_LR4LrWPntKYWzOoFt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xX3kK5s.Ro_RmPcREaGKv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t.9DQdgeuHaI5h3AVINGg"/>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N_oVGE0Z.ONY2c9GrGiV7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SszH0sK46d5ZxIfXf3.ee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uwwTaq9lha4Se_W2ABOHbg"/>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6iSIcnzkiyzgV5dG4.40I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yJL5Xg6auIuXXLEOkR20Gg"/>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e5is.fMTarwZ4k1bfhXD6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shfzT9BGfMCcuuMzds9elQ"/>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jh62Brg85Ysz98GesOvlm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iVMI7uZnMubp22tv3oHPR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eFMAKIIwl5t9HAYFCI1yz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16hdIGnqUznoyonsfta_S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e4urv_oxUmZlGDqHU6mUN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dNOQCyIHPKIiI7AqPhwwh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zBRy7p_cKw_tDe9fFThhM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vGcRyV8HMxZR5rTHa6vSr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rjzkbYowXblSenQja.C54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jb1LaYvVazkYs8VrHzU3VA"/>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JvahDV2f0pOMu16HeKp3B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HJCEkth.X2.co8S1NQW48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3DZn8ZJn8t6tIxZ.JW.J0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QPY4JUxidxyZrPOSxiQYaA"/>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XcNmoQstMQbrP0ufdXRO7g"/>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Su4IRmx_QSPZl65zRCdKo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HhrNjoYf_ire85.SyMYhV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rsEVBm54.4FlZkqJgAu6h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CSil8vfL.2seh1Ze.LbuQg"/>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rVyv4GbCa5nUkarnFHq0Vg"/>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yisRe7T1ZZB0niblh753Vw"/>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Jen4mvWmTBW_mcxgB0LSm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PUeQ_38Un7Qq1bu8dnI8L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1fJcz9UgrOyEXUx1wAmgO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FTw.cT8iBRkI8RDrzDaKM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YwUwhXvH79hMzA9IDwVgh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25mHekkKS1AQ5DrWaU4Yp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WL.2esGEnTqlbc189nL5W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nteUEvpYjIt5Cz.v2J67I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wNA653dYu0JG_skGPHHw1A"/>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YRhy6g6MgR1nwFoFJiuYm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u6w1UNLR7fGrwwgk4uSmDA"/>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N2928DtxMenTU4Ex13yrA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VgWtEXTDiYG6BI0VHI8Rd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EMOjUz_SwdHEHepItF4wFQ"/>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p67uLcK4b2RHKTFAt8N3g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nLH5k0UlK9l_Av_P0D4gp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R49.TsZBeD0J6wQvJ3cIG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Om_we3suBSRDRF0Zp44S.w"/>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nTJpv_WmBjLQ_tv_mQ961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vrAxLCy0tmIRAwUTgWNqew"/>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H_GODUoptDO_Q59etQyGcw"/>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h_uXNWGTbDWRItaS408lS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EDLxEtUXITEiH61tqXu7V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gXX7YafInQw_nsm3zxTv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isiY0NPYnqf9xwyjJlqgXA"/>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S6o3lnMQjTqJYDqysg1rBg"/>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ve5vubpspLuiQYmEjnaem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dUL4uP73Vw1lwJ6H.TZbF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NgWYP3LpDsNxjk8ghmLScg"/>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_nbeomOjPCi0iIu1vfT_Ww"/>
</p:tagLst>
</file>

<file path=ppt/tags/tag675.xml><?xml version="1.0" encoding="utf-8"?>
<p:tagLst xmlns:a="http://schemas.openxmlformats.org/drawingml/2006/main" xmlns:r="http://schemas.openxmlformats.org/officeDocument/2006/relationships" xmlns:p="http://schemas.openxmlformats.org/presentationml/2006/main">
  <p:tag name="NAME" val="4. Footnote"/>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EesL2M.rzKpS.JZBUZBnf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NWdMm66q364yX3esQm1dV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QlXw8bB_V3fiBky5M8V0wA"/>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noEzvo3v7oYpaPR1WVb9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8bWkyTu0tw9z0uGqO1D_g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vOzvBv.Is_HiouKIaC4Zs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ijGDLELrjjOkf8CvPVZW4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Ie1xAdd3JfdjJlGgh2x1t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xNzKBOTO1eEPEB7634hOv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nb_1ZYI0uqILu3VUMp2Rf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DGO8ultkSNpdlU7dmPhr7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rFcopoh5MILKZhg0SMeOj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GYCnJJkSSpVi2w7U_kWcM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Du6klBfqm2fwyPXHt4O2nw"/>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76xf3SJr_FJ0XF96qb37A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WzBvjNQegne_gNT_J0U4Tw"/>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j2cc0CScImpuUVCu1OQk3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2VIzjpmzNaAMrAliWZgJmA"/>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AVf5e_R1mpMGwKlf8tCFuA"/>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wyUBqDil2pbbVjM4T3e9.Q"/>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5D.AKx.Yy9m_KmowPJi34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6.xml><?xml version="1.0" encoding="utf-8"?>
<p:tagLst xmlns:a="http://schemas.openxmlformats.org/drawingml/2006/main" xmlns:r="http://schemas.openxmlformats.org/officeDocument/2006/relationships" xmlns:p="http://schemas.openxmlformats.org/presentationml/2006/main">
  <p:tag name="NAME" val="4. Footnote"/>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NAME" val="4. Footnot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1xjVU1dI4jQqSAEt_ErPWw"/>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sPkG02.UQE2X7J3FZdkuH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uUZVJNwMfzYBmny0uYE7t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UT8dhcMnQqaG0Aon_hBcvg"/>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mxtkJ_Ky.sd1AOgEnajD2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X7uveOE_6sseCe4QYooc4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8tEL.b22.Vxw.iYn_AJdC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bNW5ZWboNFUVAo4bHq0fx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i7O0byuVRFCzp7z5zzx5_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GDIR2i.7BRJeJK8iaI4dAg"/>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Gp0uQg8S3CfMP7N.ryje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d9NOv0BXAgwnMeYpEtqGg"/>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L81WJmBTScaT.qN6.8Tyv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_qKBoCzUS.C7lfOqGtLG3g"/>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kqzTeyOySgyoMFpXxi7WE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PhigclLUS_iLml.I2F4Dgg"/>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5RtdThwJ84jIWzCWBlZP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KB8Q2TmHt0o6cDX7JU6Gq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7iurQnObUCQ6jM4qU.gW2A"/>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9WulcR4vACNa6LD3wNHRW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Gk8heQfxRAmcA8aG76lPZg"/>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BRwtcuYYR2KiSWnaUzCz0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Ct4AoGgILhltO8glDP9lQ"/>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E__R4bRrQDijUVoFhrFfD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aOJkM3O6GLX2FXoNNjdK1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OEcefj8YT9.r5GFALZ5YUQ"/>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4AWUQGQXTOOyDq3Pg_DQP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5cfsdBPiRACwX7ZUQUSZQQ"/>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XTB4zQduCq2qZCkZer28W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qW2NP3AZQ2mokBYFep6I9g"/>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kngNgSa1QJqhojHIeg7Ze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JrYgqeQfQkKvBWCs87Ij3w"/>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2LJowSfCjGoQ9GW4pSI5o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UA_De0hxHPNpgP398PlfIA"/>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HRrCwD1CKAyr29hiFE3jpg"/>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7FZAI5qxv06aQnOmx0QLj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NyWXFLpzRfS7Lw.Zla878g"/>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KAbRYdytS6mIHfRjpZJeA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A0FC3XaPRc6hAdo.pLp53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Jw6eUbbTTquclGMoyNn1g"/>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PxMGlqkdTGSgbMVfh_pPn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31pl4yGnuxXr6p0JeTHJMA"/>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fDUc0pWLSeKdXsTFch65Sw"/>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B9z2CxUHTjutR9Ck5C1YR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sD9Lt8PsIjuHpiwKozCRq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kdnY0U4fsJaPfmx8qXDwEw"/>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TsT7D.b6V65Pv4Zt3tcb7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c.yYCyOYsjA76PPjSos3.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92hpEp2qaOFsR6stAoEq.g"/>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1t_ByzvMumFxM0ave02Sr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C0NKTtp5SFWobSojEjiu4w"/>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M.Umx3B9QcyYqTVcxKD.4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TNOR7knnTcGqAcuAEE9nqQ"/>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xnDeF_kv8yXhYcCrVDMWp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NTXItVxeRSePi9zw1QMFh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oMD4NPQJNUn1D3cODlJ.cQ"/>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GjsRT8BUTASGvJ8DS2rCfw"/>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Dx.PZqXIRImM6wcHtmf.AQ"/>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TotqWW4A6yt7uiKhee491w"/>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7.GYCKF8TRy_pOC9fHHJc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vP_tvj_5QfS5bfUoSyFfHw"/>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tWFCEVerRIaQ6kHQamjnp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BBQnc9JNeXjGvO9M9.GUfQ"/>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yQfZVF8C8aSuw_ettd9nag"/>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U8UhNDgejwEF1s7IIgSXO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7FcGiopPb2pKNDgFSTbFEg"/>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e0YRQkmY6CSvyAVFS9JPf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4l.Z_rn4UVxAnq7uiESsC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ghb3ofl5iF.130op3CNJI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MZb6U_AT7sxFr2io5zxVAA"/>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wHpWV_to0E4zka9RLl3BBA"/>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GV7KtPq.BjU_2uBY4.d2Fg"/>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n34OXX8MXP_DyopvJUaF3w"/>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C6C6LPKM5hmrF1LlgKKGg"/>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vagYkky69H9C9FFeAfcdBQ"/>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E44xVNhSFfoenqQU1pOaCQ"/>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guPKgAX2EyrUm2_iheOIZA"/>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jBkmrApWoc1xJtMlj11tl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En5UWCYqOCV2R3tNcZX04A"/>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Xs_VRKKOPDXbejI.k9l6Kg"/>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AOs0yv5KkLI2J1A1dTbnh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5ME7JSYqqimko5m_Yt5cjg"/>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LjLeclwnSalqHOiBsF8gOA"/>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ZqzNkp0m05TJy_nZ7uOuz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1pF73hU87hLwMbyeaj5nNw"/>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h.V3M8B5.2opDkjM4pnNYw"/>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P24A6pK7XqpRqIIamilTww"/>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e1DCBWfGiUPlSr3uWSSYy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vqv0XVW824XJe1qAMJvbIg"/>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tl8BILQ6Oi0w98zngksxHQ"/>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xl.WipLq0rWm49n8v4ogKg"/>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EKcrbXW.6d0Nm.mPRC5ndg"/>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AL34fVwVnjDPRCq37mgmLQ"/>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MbjCsAdzOVyL7EnFeungkA"/>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IkSWMuxj2Y8f3mjxbC1cU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uIr5m5LOITDhqBEYUBChVg"/>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mMhQu5UsPCjbeCJAbNSniA"/>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n4.3DiNYFEi0bx_nKVjBB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z4l9WsRxs8buzYJweFmQqw"/>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8.xml><?xml version="1.0" encoding="utf-8"?>
<p:tagLst xmlns:a="http://schemas.openxmlformats.org/drawingml/2006/main" xmlns:r="http://schemas.openxmlformats.org/officeDocument/2006/relationships" xmlns:p="http://schemas.openxmlformats.org/presentationml/2006/main">
  <p:tag name="NAME" val="Sticky"/>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v6A3BgUUu7SOytFffyhhVg"/>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O7opQGcwR.iQiHhOlho0XQ"/>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53E10B6PQpCg9HWuV1UwSQ"/>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O.zoKt.0w3fOk5Yxbyh1Nw"/>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TxR7HhqTQlSNCutECaPFmA"/>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eTlILkuqRjiaLdbFj4c_dA"/>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_rvaCVTJSsypfbBg.mN3tw"/>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_0bqEXLoR22RFDAC4Cabu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uqp3ySuoSfa2OAx8KIXE9A"/>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3wP3bUQ0mqtD8OfzEnBsw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SQBh4EBeRoqP0Z_vAf5_qQ"/>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1.6_enLQR22x.Vn_lOnmXw"/>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kDMDWkXZR06FH4W.lGKVPQ"/>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sQSrsd7KRkq6ojHPVb4yq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pbOjwvECJQb6zB4vp0wo9w"/>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wUqLrbm2TuWn01q00vjUYg"/>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784wksSsQUqZpw9w3sSBpA"/>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CgY4d.NYSdydnG9kSP4oJw"/>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En7jfvpATLKDFTv8uvnSg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er710nYf_rOt7UsAZUqB8g"/>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xJ6Jt7WORb7jNOoOS9CUFQ"/>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omPnmqDEhIYthULrnqyawA"/>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tp8xs43h6CZhGgRxZE4hn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j767FlkTcWR2rB2zRM_vYg"/>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h6TzM.4MuSRTsl4HBA2kjg"/>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62l9B6dBJv8dE_sP.UntF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n8NoZk03SGfyxkp9In30wg"/>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1Wv.8EKllAUPE329wDH_BA"/>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zh79yRdbuF0EKxnD0HRXtA"/>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_T7nU82.M40z23Qw4Aw_XA"/>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3yskHzDhlEluHc_EteA02w"/>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XrK8bNTdRMbBfKeXo4vN4g"/>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lbEzXxppRmWiGQzIO2rLBg"/>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XgXNrFKWTYWroY5yC2Ang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OpWZJUuXHAgUIgQ5niiyqg"/>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U62eN.xsQeqsSPdV1v6n.g"/>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XHUOCmkjSmuPN_t2drnnWw"/>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GgymP6L6RryQf19r81JqVg"/>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wY4ZYHYue5brIIM1mPzajw"/>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Hyp5e9f5KdTOMMrOsyP5iA"/>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koscXEUvCJQkbJJeJXDJzQ"/>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Rt70m5FRD82nPPcUGboFvg"/>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UlWU.1bxyfpK49Y4OVLS7w"/>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Q1LmsGSR7kCkf04lgaIISQ"/>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2zR8i1aqGXGWcnCJCpFV4g"/>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4N9uMa9DQX9_vo8P3mqbr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czA8KALvT1Jjj7l117zzQw"/>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vQsQ4Pq4KhLjTYnDsCjN8g"/>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f77Eq7nWAJC8FlhtkgF9cA"/>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wKAZY2H32JvtZ9DgqLQmbg"/>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PVqV0UsGdnRr4MvSb_kESQ"/>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9d4qCGOnk.0u.drVBoodMg"/>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ZlPkurXUqML6quCwHqsQq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wegZsuVtg7l228y2MUPNbA"/>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RC4RN2Bg.tzH9IH6_ngA_A"/>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x_QYMDY41331FZpbvDz9y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V9lire2Z6wVUZ2ZNddMPSg"/>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Rlt5QkN7A1a2tctTzpTVD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jVeQoQU54AbmFnVs5tIpM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xXSPKQkcQDvZxxHsNWXSZA"/>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h5bQToFZjZ_e70rSTmmyDg"/>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Sxwjzp2ajakVKHpTIHTFiw"/>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NDN0C1WBXUKCFX.xuKh7cw"/>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a93cPzpWuVShtaDOy9Ivew"/>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W4tpx88inoNxK4RTU_j_DQ"/>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4LTJ9MqXCQV.TM2KYjTubw"/>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_U0JguvLRjyVgWz6FViQZw"/>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KT.c4EEAQMWrlTZ813ck4w"/>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6lYJdni.SMGUdJG.uNgwc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x5UmRJbMNJqmR1kaz4.s1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CmUIYtAdTLqUGnCgr6hQLA"/>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AOQa98SYQy2a2MJ.V5PMkg"/>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w8giTCeeRL.dsoqIEaoZCw"/>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3ar52lwXqIEbT.Fz7H2MmA"/>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Ahb0VKtUjSkkcj73NM1.MQ"/>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IXrTtL30HmC8JZ2L4T1Qk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q9lxCFA93sbb8gVwKxgimw"/>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PdKNBzS2sEqK7i2ae82Nng"/>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ksSJbw.78v9KiU3oQOVjDQ"/>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1_Ymb8_8wQF4tglWWscoXA"/>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Psxknz.EXjgGkKKwTCAyYQ"/>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FBwq.A3Ll4RLd37dr4Xtzg"/>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dcoQoR.SMp64d9hpikr6bA"/>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YBJrvubKegJkx2wsddbFmg"/>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ag4wOuA6uDHdJiZ76gouCA"/>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gh2l.TSiDXy7KzQOeIDVrg"/>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nmJ8Z4GFMkMtsh4D1F78e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fxFuxE1bfvrLZStkrG_5b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ob.awPbHcxoxc0LdQ8pGxw"/>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fu2Z3Lij61TlanT6i8iKtw"/>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dnQMVMHniBSdIgYdueW4w"/>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lesrXQZsZYozZGcAEra9Bw"/>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kScxwE9ATdA_e2BHu7oZB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Dp6Lw13qYFJYw73S3ZWD0A"/>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leTxi0xb9WpTa_M7g.wggA"/>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xwlYDkAvVUidXBns0MQ3Sg"/>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uQxe0Gi0TjbAekOHvb0gDw"/>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JWruHBrcp5VwLJvzx7jpA"/>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RxwLNHouFWi2F.3XIs7ACA"/>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YfPXGz._5dLp.tkmb05i6g"/>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5yq4yzEEF1eLoWWJ.9szJA"/>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9VyEz4x5tQlVTyR4We02gw"/>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yYIJd8Zk8L.lQUQ7OO70pA"/>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pg1G2TwfUbXK_YMDPdvdmQ"/>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xALeohw35PPzpohPDF_1A"/>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ZJkq2pjLMQTE5JXLG334iQ"/>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Tw6OxYuGaGIqU2OIHi2NUA"/>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8.xml><?xml version="1.0" encoding="utf-8"?>
<p:tagLst xmlns:a="http://schemas.openxmlformats.org/drawingml/2006/main" xmlns:r="http://schemas.openxmlformats.org/officeDocument/2006/relationships" xmlns:p="http://schemas.openxmlformats.org/presentationml/2006/main">
  <p:tag name="NAME" val="4. Footnote"/>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CamHypxKS6xG0g7sgUVrM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VPydqJVEQMClgGr73_.7xQ"/>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vsKiJ809Tra6IbtQYx.8O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zttg7_TlRQOe7KLUJ2Nku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hjMVCl08T8GVWd900B65Ng"/>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LBcLeOcXRSODKpH.MZkOig"/>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ZfYVdGUxcsMRiknCC2J0Vw"/>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Rd4_NA7MEV.REMomrfp8_A"/>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GMhnbe.WiJ7Ra30AeyWKjQ"/>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Wi3kHCwI5QpxubpGTgYQfA"/>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74tS8GFUY5NuxzaE5u8uS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Snd1deOw12Opai_I6Xfzm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gzvFOdXDAe4BcvrS_Gin.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aI395.x.pHxCTPrQ8WP_Ag"/>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9164</Words>
  <Application>Microsoft Office PowerPoint</Application>
  <PresentationFormat>A4 Paper (210x297 mm)</PresentationFormat>
  <Paragraphs>2362</Paragraphs>
  <Slides>71</Slides>
  <Notes>4</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2</vt:i4>
      </vt:variant>
      <vt:variant>
        <vt:lpstr>Slide Titles</vt:lpstr>
      </vt:variant>
      <vt:variant>
        <vt:i4>71</vt:i4>
      </vt:variant>
    </vt:vector>
  </HeadingPairs>
  <TitlesOfParts>
    <vt:vector size="85" baseType="lpstr">
      <vt:lpstr>Arial Unicode MS</vt:lpstr>
      <vt:lpstr>HGP創英角ｺﾞｼｯｸUB</vt:lpstr>
      <vt:lpstr>Meiryo UI</vt:lpstr>
      <vt:lpstr>ＭＳ Ｐゴシック</vt:lpstr>
      <vt:lpstr>Noto Sans JP</vt:lpstr>
      <vt:lpstr>ヒラギノ角ゴ Pro W3</vt:lpstr>
      <vt:lpstr>Arial</vt:lpstr>
      <vt:lpstr>Arial Black</vt:lpstr>
      <vt:lpstr>Georgia</vt:lpstr>
      <vt:lpstr>Segoe UI</vt:lpstr>
      <vt:lpstr>Wingdings</vt:lpstr>
      <vt:lpstr>NRI Template</vt:lpstr>
      <vt:lpstr>think-cell Slide</vt:lpstr>
      <vt:lpstr>Worksheet</vt:lpstr>
      <vt:lpstr>PowerPoint Presentation</vt:lpstr>
      <vt:lpstr>PowerPoint Presentation</vt:lpstr>
      <vt:lpstr>PowerPoint Presentation</vt:lpstr>
      <vt:lpstr>一般概況</vt:lpstr>
      <vt:lpstr>シンガポール／一般概況</vt:lpstr>
      <vt:lpstr>シンガポール／一般概況／経済</vt:lpstr>
      <vt:lpstr>シンガポール／一般概況／経済</vt:lpstr>
      <vt:lpstr>シンガポール／一般概況／経済</vt:lpstr>
      <vt:lpstr>シンガポール／一般概況／経済</vt:lpstr>
      <vt:lpstr>シンガポール／一般概況／規制</vt:lpstr>
      <vt:lpstr>シンガポール／一般概況／規制</vt:lpstr>
      <vt:lpstr>シンガポール／一般概況／規制</vt:lpstr>
      <vt:lpstr>シンガポール／一般概況／規制</vt:lpstr>
      <vt:lpstr>シンガポール／一般概況／規制</vt:lpstr>
      <vt:lpstr>医療関連</vt:lpstr>
      <vt:lpstr>シンガポール／医療関連／医療・公衆衛生</vt:lpstr>
      <vt:lpstr>シンガポール／医療関連／医療・公衆衛生</vt:lpstr>
      <vt:lpstr>シンガポール／医療関連／医療・公衆衛生</vt:lpstr>
      <vt:lpstr>シンガポール／医療関連／医療・公衆衛生</vt:lpstr>
      <vt:lpstr>シンガポール／医療関連／医療・公衆衛生</vt:lpstr>
      <vt:lpstr>シンガポール／医療関連／医療・公衆衛生</vt:lpstr>
      <vt:lpstr>シンガポール／医療関連／医療・公衆衛生</vt:lpstr>
      <vt:lpstr>シンガポール／医療関連／医療・公衆衛生</vt:lpstr>
      <vt:lpstr>シンガポール／医療関連／制度</vt:lpstr>
      <vt:lpstr>シンガポール／医療関連／制度</vt:lpstr>
      <vt:lpstr>シンガポール／医療関連／制度</vt:lpstr>
      <vt:lpstr>シンガポール／医療関連／制度</vt:lpstr>
      <vt:lpstr>シンガポール／医療関連／制度</vt:lpstr>
      <vt:lpstr>シンガポール／医療関連／制度</vt:lpstr>
      <vt:lpstr>シンガポール／医療関連／制度</vt:lpstr>
      <vt:lpstr>シンガポール／医療関連／制度</vt:lpstr>
      <vt:lpstr>シンガポール／医療関連／制度</vt:lpstr>
      <vt:lpstr>シンガポール／医療関連／制度</vt:lpstr>
      <vt:lpstr>シンガポール／医療関連／制度</vt:lpstr>
      <vt:lpstr>シンガポール／医療関連／制度</vt:lpstr>
      <vt:lpstr>シンガポール／医療関連／医療サービス</vt:lpstr>
      <vt:lpstr>シンガポール／医療関連／医療機器</vt:lpstr>
      <vt:lpstr>シンガポール／医療関連／医療機器</vt:lpstr>
      <vt:lpstr>シンガポール／医療関連／医療機器</vt:lpstr>
      <vt:lpstr>シンガポール／医療関連／医療機器</vt:lpstr>
      <vt:lpstr>シンガポール／医療関連／医療機器</vt:lpstr>
      <vt:lpstr>シンガポール／医療関連／医療機器</vt:lpstr>
      <vt:lpstr>シンガポール／医療関連／医療機器</vt:lpstr>
      <vt:lpstr>シンガポール／医療関連／医療機器</vt:lpstr>
      <vt:lpstr>シンガポール／医療関連／医療機器</vt:lpstr>
      <vt:lpstr>シンガポール／医療関連／医療機器</vt:lpstr>
      <vt:lpstr>シンガポール／医療関連／医薬品</vt:lpstr>
      <vt:lpstr>シンガポール／医療関連／医薬品</vt:lpstr>
      <vt:lpstr>シンガポール／医療関連／医薬品</vt:lpstr>
      <vt:lpstr>シンガポール／医療関連／介護</vt:lpstr>
      <vt:lpstr>シンガポール／医療関連／歯科</vt:lpstr>
      <vt:lpstr>その他</vt:lpstr>
      <vt:lpstr>シンガポール／医療関連／その他</vt:lpstr>
      <vt:lpstr>シンガポール／医療関連／その他</vt:lpstr>
      <vt:lpstr>シンガポール／医療関連／その他</vt:lpstr>
      <vt:lpstr>シンガポール／医療関連／その他</vt:lpstr>
      <vt:lpstr>シンガポール／医療関連／その他</vt:lpstr>
      <vt:lpstr>政策動向</vt:lpstr>
      <vt:lpstr>シンガポール／政策動向</vt:lpstr>
      <vt:lpstr>日本との関わり</vt:lpstr>
      <vt:lpstr>シンガポール／日本との関わり</vt:lpstr>
      <vt:lpstr>シンガポール／日本との関わり</vt:lpstr>
      <vt:lpstr>シンガポール／日本との関わり</vt:lpstr>
      <vt:lpstr>シンガポール／日本との関わり</vt:lpstr>
      <vt:lpstr>シンガポール／日本との関わり</vt:lpstr>
      <vt:lpstr>シンガポール／日本との関わり</vt:lpstr>
      <vt:lpstr>シンガポール／日本との関わり</vt:lpstr>
      <vt:lpstr>シンガポール／日本との関わり</vt:lpstr>
      <vt:lpstr>シンガポール／日本との関わり</vt:lpstr>
      <vt:lpstr>ケニア／日本との関わり</vt:lpstr>
      <vt:lpstr>シンガポール／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5-11-09T06:22:56Z</dcterms:created>
  <dcterms:modified xsi:type="dcterms:W3CDTF">2023-03-29T00:18:29Z</dcterms:modified>
</cp:coreProperties>
</file>